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35"/>
  </p:notesMasterIdLst>
  <p:sldIdLst>
    <p:sldId id="2566" r:id="rId5"/>
    <p:sldId id="2539" r:id="rId6"/>
    <p:sldId id="2770" r:id="rId7"/>
    <p:sldId id="2777" r:id="rId8"/>
    <p:sldId id="2468" r:id="rId9"/>
    <p:sldId id="2469" r:id="rId10"/>
    <p:sldId id="2480" r:id="rId11"/>
    <p:sldId id="2470" r:id="rId12"/>
    <p:sldId id="2482" r:id="rId13"/>
    <p:sldId id="2484" r:id="rId14"/>
    <p:sldId id="2471" r:id="rId15"/>
    <p:sldId id="2464" r:id="rId16"/>
    <p:sldId id="2472" r:id="rId17"/>
    <p:sldId id="2473" r:id="rId18"/>
    <p:sldId id="2474" r:id="rId19"/>
    <p:sldId id="2475" r:id="rId20"/>
    <p:sldId id="2481" r:id="rId21"/>
    <p:sldId id="2485" r:id="rId22"/>
    <p:sldId id="2776" r:id="rId23"/>
    <p:sldId id="2772" r:id="rId24"/>
    <p:sldId id="2774" r:id="rId25"/>
    <p:sldId id="2778" r:id="rId26"/>
    <p:sldId id="2779" r:id="rId27"/>
    <p:sldId id="2463" r:id="rId28"/>
    <p:sldId id="2479" r:id="rId29"/>
    <p:sldId id="2476" r:id="rId30"/>
    <p:sldId id="2553" r:id="rId31"/>
    <p:sldId id="2483" r:id="rId32"/>
    <p:sldId id="2537" r:id="rId33"/>
    <p:sldId id="2780" r:id="rId3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3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iryanova, Viktoria" initials="KV" lastIdx="231" clrIdx="0">
    <p:extLst>
      <p:ext uri="{19B8F6BF-5375-455C-9EA6-DF929625EA0E}">
        <p15:presenceInfo xmlns:p15="http://schemas.microsoft.com/office/powerpoint/2012/main" userId="S-1-5-21-2800664165-146498085-484308319-261690" providerId="AD"/>
      </p:ext>
    </p:extLst>
  </p:cmAuthor>
  <p:cmAuthor id="2" name="Dubanevych, Olga" initials="DO [2]" lastIdx="373" clrIdx="1">
    <p:extLst>
      <p:ext uri="{19B8F6BF-5375-455C-9EA6-DF929625EA0E}">
        <p15:presenceInfo xmlns:p15="http://schemas.microsoft.com/office/powerpoint/2012/main" userId="S-1-5-21-2800664165-146498085-484308319-261009" providerId="AD"/>
      </p:ext>
    </p:extLst>
  </p:cmAuthor>
  <p:cmAuthor id="3" name="Dubanevych, Olga" initials="DO" lastIdx="29" clrIdx="2">
    <p:extLst>
      <p:ext uri="{19B8F6BF-5375-455C-9EA6-DF929625EA0E}">
        <p15:presenceInfo xmlns:p15="http://schemas.microsoft.com/office/powerpoint/2012/main" userId="Dubanevych, Olga" providerId="None"/>
      </p:ext>
    </p:extLst>
  </p:cmAuthor>
  <p:cmAuthor id="4" name="Burdikova, Irina" initials="BI" lastIdx="9" clrIdx="3">
    <p:extLst>
      <p:ext uri="{19B8F6BF-5375-455C-9EA6-DF929625EA0E}">
        <p15:presenceInfo xmlns:p15="http://schemas.microsoft.com/office/powerpoint/2012/main" userId="S-1-5-21-2800664165-146498085-484308319-262292" providerId="AD"/>
      </p:ext>
    </p:extLst>
  </p:cmAuthor>
  <p:cmAuthor id="5" name="Askerova, Esra" initials="AE" lastIdx="6" clrIdx="4">
    <p:extLst>
      <p:ext uri="{19B8F6BF-5375-455C-9EA6-DF929625EA0E}">
        <p15:presenceInfo xmlns:p15="http://schemas.microsoft.com/office/powerpoint/2012/main" userId="S-1-5-21-2800664165-146498085-484308319-26255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0A65"/>
    <a:srgbClr val="AAF1F1"/>
    <a:srgbClr val="1BD7D3"/>
    <a:srgbClr val="F2F2F2"/>
    <a:srgbClr val="B1C7F7"/>
    <a:srgbClr val="F1E8F8"/>
    <a:srgbClr val="3A07DF"/>
    <a:srgbClr val="2112AE"/>
    <a:srgbClr val="D8E3FB"/>
    <a:srgbClr val="CAC5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D552D9-3FDF-4C85-926C-7C6EEBE984D4}" v="1" dt="2023-05-25T11:43:49.614"/>
    <p1510:client id="{77AB37AB-41CE-42B2-B5C6-CE181A393934}" v="2" dt="2023-05-25T11:20:55.79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408" autoAdjust="0"/>
    <p:restoredTop sz="97468" autoAdjust="0"/>
  </p:normalViewPr>
  <p:slideViewPr>
    <p:cSldViewPr snapToGrid="0">
      <p:cViewPr varScale="1">
        <p:scale>
          <a:sx n="106" d="100"/>
          <a:sy n="106" d="100"/>
        </p:scale>
        <p:origin x="138" y="114"/>
      </p:cViewPr>
      <p:guideLst>
        <p:guide pos="3840"/>
        <p:guide orient="horz" pos="213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birov, Salayjon" userId="5acc22ea-36fd-4e21-aa19-017a3f2d902a" providerId="ADAL" clId="{46D552D9-3FDF-4C85-926C-7C6EEBE984D4}"/>
    <pc:docChg chg="undo custSel modSld modMainMaster">
      <pc:chgData name="Sabirov, Salayjon" userId="5acc22ea-36fd-4e21-aa19-017a3f2d902a" providerId="ADAL" clId="{46D552D9-3FDF-4C85-926C-7C6EEBE984D4}" dt="2023-05-25T11:43:51.316" v="3" actId="478"/>
      <pc:docMkLst>
        <pc:docMk/>
      </pc:docMkLst>
      <pc:sldChg chg="modSp mod">
        <pc:chgData name="Sabirov, Salayjon" userId="5acc22ea-36fd-4e21-aa19-017a3f2d902a" providerId="ADAL" clId="{46D552D9-3FDF-4C85-926C-7C6EEBE984D4}" dt="2023-05-25T11:43:38.731" v="1" actId="1076"/>
        <pc:sldMkLst>
          <pc:docMk/>
          <pc:sldMk cId="320116735" sldId="2537"/>
        </pc:sldMkLst>
        <pc:spChg chg="mod">
          <ac:chgData name="Sabirov, Salayjon" userId="5acc22ea-36fd-4e21-aa19-017a3f2d902a" providerId="ADAL" clId="{46D552D9-3FDF-4C85-926C-7C6EEBE984D4}" dt="2023-05-25T11:43:38.731" v="1" actId="1076"/>
          <ac:spMkLst>
            <pc:docMk/>
            <pc:sldMk cId="320116735" sldId="2537"/>
            <ac:spMk id="2" creationId="{5EBCB6E7-0715-4606-9F34-E4EDF91DAB9D}"/>
          </ac:spMkLst>
        </pc:spChg>
      </pc:sldChg>
      <pc:sldMasterChg chg="modSldLayout">
        <pc:chgData name="Sabirov, Salayjon" userId="5acc22ea-36fd-4e21-aa19-017a3f2d902a" providerId="ADAL" clId="{46D552D9-3FDF-4C85-926C-7C6EEBE984D4}" dt="2023-05-25T11:43:51.316" v="3" actId="478"/>
        <pc:sldMasterMkLst>
          <pc:docMk/>
          <pc:sldMasterMk cId="3736847910" sldId="2147483661"/>
        </pc:sldMasterMkLst>
        <pc:sldLayoutChg chg="addSp delSp modSp mod">
          <pc:chgData name="Sabirov, Salayjon" userId="5acc22ea-36fd-4e21-aa19-017a3f2d902a" providerId="ADAL" clId="{46D552D9-3FDF-4C85-926C-7C6EEBE984D4}" dt="2023-05-25T11:43:51.316" v="3" actId="478"/>
          <pc:sldLayoutMkLst>
            <pc:docMk/>
            <pc:sldMasterMk cId="3736847910" sldId="2147483661"/>
            <pc:sldLayoutMk cId="3749260027" sldId="2147483663"/>
          </pc:sldLayoutMkLst>
          <pc:picChg chg="add mod">
            <ac:chgData name="Sabirov, Salayjon" userId="5acc22ea-36fd-4e21-aa19-017a3f2d902a" providerId="ADAL" clId="{46D552D9-3FDF-4C85-926C-7C6EEBE984D4}" dt="2023-05-25T11:43:49.614" v="2"/>
            <ac:picMkLst>
              <pc:docMk/>
              <pc:sldMasterMk cId="3736847910" sldId="2147483661"/>
              <pc:sldLayoutMk cId="3749260027" sldId="2147483663"/>
              <ac:picMk id="3" creationId="{9E20D0E9-798A-66CA-C2CA-4ADB28A2FCAA}"/>
            </ac:picMkLst>
          </pc:picChg>
          <pc:picChg chg="del">
            <ac:chgData name="Sabirov, Salayjon" userId="5acc22ea-36fd-4e21-aa19-017a3f2d902a" providerId="ADAL" clId="{46D552D9-3FDF-4C85-926C-7C6EEBE984D4}" dt="2023-05-25T11:43:51.316" v="3" actId="478"/>
            <ac:picMkLst>
              <pc:docMk/>
              <pc:sldMasterMk cId="3736847910" sldId="2147483661"/>
              <pc:sldLayoutMk cId="3749260027" sldId="2147483663"/>
              <ac:picMk id="38" creationId="{383551C4-6971-4557-9DDC-4BE1085343BF}"/>
            </ac:picMkLst>
          </pc:picChg>
        </pc:sldLayoutChg>
      </pc:sldMasterChg>
    </pc:docChg>
  </pc:docChgLst>
  <pc:docChgLst>
    <pc:chgData name="Azimova, Nozima" userId="2bc8a0e9-4b78-4c5b-8207-5d08b713b85a" providerId="ADAL" clId="{77AB37AB-41CE-42B2-B5C6-CE181A393934}"/>
    <pc:docChg chg="modMainMaster">
      <pc:chgData name="Azimova, Nozima" userId="2bc8a0e9-4b78-4c5b-8207-5d08b713b85a" providerId="ADAL" clId="{77AB37AB-41CE-42B2-B5C6-CE181A393934}" dt="2023-05-25T11:20:55.799" v="1" actId="571"/>
      <pc:docMkLst>
        <pc:docMk/>
      </pc:docMkLst>
      <pc:sldMasterChg chg="modSldLayout">
        <pc:chgData name="Azimova, Nozima" userId="2bc8a0e9-4b78-4c5b-8207-5d08b713b85a" providerId="ADAL" clId="{77AB37AB-41CE-42B2-B5C6-CE181A393934}" dt="2023-05-25T11:20:55.799" v="1" actId="571"/>
        <pc:sldMasterMkLst>
          <pc:docMk/>
          <pc:sldMasterMk cId="3736847910" sldId="2147483661"/>
        </pc:sldMasterMkLst>
        <pc:sldLayoutChg chg="addSp modSp">
          <pc:chgData name="Azimova, Nozima" userId="2bc8a0e9-4b78-4c5b-8207-5d08b713b85a" providerId="ADAL" clId="{77AB37AB-41CE-42B2-B5C6-CE181A393934}" dt="2023-05-25T11:20:55.799" v="1" actId="571"/>
          <pc:sldLayoutMkLst>
            <pc:docMk/>
            <pc:sldMasterMk cId="3736847910" sldId="2147483661"/>
            <pc:sldLayoutMk cId="989705907" sldId="2147483662"/>
          </pc:sldLayoutMkLst>
          <pc:spChg chg="add mod">
            <ac:chgData name="Azimova, Nozima" userId="2bc8a0e9-4b78-4c5b-8207-5d08b713b85a" providerId="ADAL" clId="{77AB37AB-41CE-42B2-B5C6-CE181A393934}" dt="2023-05-25T11:20:55.799" v="1" actId="571"/>
            <ac:spMkLst>
              <pc:docMk/>
              <pc:sldMasterMk cId="3736847910" sldId="2147483661"/>
              <pc:sldLayoutMk cId="989705907" sldId="2147483662"/>
              <ac:spMk id="6" creationId="{BD176217-D81E-B95F-BA8D-E6F6D0E065F7}"/>
            </ac:spMkLst>
          </pc:spChg>
          <pc:picChg chg="add mod">
            <ac:chgData name="Azimova, Nozima" userId="2bc8a0e9-4b78-4c5b-8207-5d08b713b85a" providerId="ADAL" clId="{77AB37AB-41CE-42B2-B5C6-CE181A393934}" dt="2023-05-25T11:20:55.799" v="1" actId="571"/>
            <ac:picMkLst>
              <pc:docMk/>
              <pc:sldMasterMk cId="3736847910" sldId="2147483661"/>
              <pc:sldLayoutMk cId="989705907" sldId="2147483662"/>
              <ac:picMk id="3" creationId="{1B8614F5-BD40-28B1-B12C-560345E8DB71}"/>
            </ac:picMkLst>
          </pc:picChg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askerova\Desktop\proposal\&#1057;&#1090;&#1072;&#1090;&#1080;&#1089;&#1090;&#1080;&#1082;&#1072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Наводка</c:v>
                </c:pt>
                <c:pt idx="1">
                  <c:v>Внутренний аудит</c:v>
                </c:pt>
                <c:pt idx="2">
                  <c:v>Проверка менеджментом</c:v>
                </c:pt>
                <c:pt idx="3">
                  <c:v>Проверка документов</c:v>
                </c:pt>
                <c:pt idx="4">
                  <c:v>Случайно</c:v>
                </c:pt>
                <c:pt idx="5">
                  <c:v>Бухгалтерская проверка</c:v>
                </c:pt>
                <c:pt idx="6">
                  <c:v>Автоматизированный мониторинг транзакций / мониторинг данных</c:v>
                </c:pt>
                <c:pt idx="7">
                  <c:v>Внешний аудит</c:v>
                </c:pt>
                <c:pt idx="8">
                  <c:v>Наблюдение / мониторинг</c:v>
                </c:pt>
                <c:pt idx="9">
                  <c:v>Уведомление правоохранительных органов</c:v>
                </c:pt>
                <c:pt idx="10">
                  <c:v>Признание</c:v>
                </c:pt>
                <c:pt idx="11">
                  <c:v>Прочие </c:v>
                </c:pt>
              </c:strCache>
            </c:strRef>
          </c:cat>
          <c:val>
            <c:numRef>
              <c:f>Sheet1!$B$2:$B$13</c:f>
              <c:numCache>
                <c:formatCode>0%</c:formatCode>
                <c:ptCount val="12"/>
                <c:pt idx="0">
                  <c:v>0.42</c:v>
                </c:pt>
                <c:pt idx="1">
                  <c:v>0.16</c:v>
                </c:pt>
                <c:pt idx="2">
                  <c:v>0.12</c:v>
                </c:pt>
                <c:pt idx="3">
                  <c:v>0.06</c:v>
                </c:pt>
                <c:pt idx="4">
                  <c:v>0.05</c:v>
                </c:pt>
                <c:pt idx="5">
                  <c:v>0.05</c:v>
                </c:pt>
                <c:pt idx="6">
                  <c:v>0.04</c:v>
                </c:pt>
                <c:pt idx="7">
                  <c:v>0.04</c:v>
                </c:pt>
                <c:pt idx="8">
                  <c:v>0.03</c:v>
                </c:pt>
                <c:pt idx="9">
                  <c:v>0.02</c:v>
                </c:pt>
                <c:pt idx="10">
                  <c:v>0.01</c:v>
                </c:pt>
                <c:pt idx="11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40-4DFD-B205-24FEF90EDF0B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1844359855"/>
        <c:axId val="1835495935"/>
      </c:barChart>
      <c:catAx>
        <c:axId val="184435985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35495935"/>
        <c:crosses val="autoZero"/>
        <c:auto val="1"/>
        <c:lblAlgn val="ctr"/>
        <c:lblOffset val="100"/>
        <c:noMultiLvlLbl val="0"/>
      </c:catAx>
      <c:valAx>
        <c:axId val="183549593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443598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0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9763FD-7D6E-4F23-AF32-E6A82B2C4A61}" type="datetimeFigureOut">
              <a:rPr lang="en-US" smtClean="0"/>
              <a:t>9/1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8A9F04-E808-4984-8439-FD0A87A3E3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2192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а данном слайде представлены результаты исследования международной Ассоциации сертифицированных специалистов по расследованию мошенничеств, которое показывает на сколько сокращается ущерб причиненный внутренним мошенничеством и коррупцией в компаниях, в которых есть специальные контроли. Например, при наличии практики ротации и отпуска для работников средний размер ущерба снижается со 140 тыс. долларов США до 64 тыс. долларов США.</a:t>
            </a:r>
          </a:p>
          <a:p>
            <a:r>
              <a:rPr lang="ru-RU" dirty="0"/>
              <a:t>Также согласно приведенным данным обучение сотрудников и регулярный мониторинг позволяют снизить размер потерь на 45 и 47 процентов соответственно.</a:t>
            </a:r>
            <a:br>
              <a:rPr lang="ru-RU" dirty="0"/>
            </a:br>
            <a:r>
              <a:rPr lang="ru-RU" dirty="0"/>
              <a:t>Согласно классификации Ассоциации сертифицированных специалистов по расследованию мошенничеств коррупция является видом мошенничества и не выделяется в исследовании отдельно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00659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. </a:t>
            </a:r>
            <a:r>
              <a:rPr lang="ru-RU" dirty="0"/>
              <a:t>Карта коррупционных рисков, представленная на слайде не является точь-в-точь похожей на ту, что по форме в Методике. В методике, например, такие подразделы:</a:t>
            </a:r>
          </a:p>
          <a:p>
            <a:endParaRPr lang="ru-RU" dirty="0"/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. Наименование структурного подразделения*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1. Наименование функции государственной организации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	1. Имя функционального отношения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		1. Имя процесса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I.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форме карты, которая в Методике, столбцы 5 и 6 перепутаны местами, т.е. в той форме сначала меры, потом уровень ост. кор. риска. Должно быть наоборот (отражено на слайде). 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28520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5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Обложка">
    <p:bg>
      <p:bgPr>
        <a:solidFill>
          <a:srgbClr val="2112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4990376-C681-43B1-A327-6F286227C438}"/>
              </a:ext>
            </a:extLst>
          </p:cNvPr>
          <p:cNvSpPr/>
          <p:nvPr userDrawn="1"/>
        </p:nvSpPr>
        <p:spPr>
          <a:xfrm>
            <a:off x="11259879" y="6273800"/>
            <a:ext cx="765544" cy="447089"/>
          </a:xfrm>
          <a:prstGeom prst="rect">
            <a:avLst/>
          </a:prstGeom>
          <a:solidFill>
            <a:srgbClr val="2112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7253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CAB4FB-938D-423A-91EB-8F4BFA88D4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8150" y="3428238"/>
            <a:ext cx="4685587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12700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0F33D205-0B56-4E97-BBC6-C1C0E62E6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82"/>
          <a:stretch/>
        </p:blipFill>
        <p:spPr>
          <a:xfrm rot="16200000" flipH="1">
            <a:off x="6055953" y="735705"/>
            <a:ext cx="5990690" cy="539558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F7706D8-CFEF-C11C-AE69-BF25BD923605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3" name="LOGO Title 4f">
            <a:extLst>
              <a:ext uri="{FF2B5EF4-FFF2-40B4-BE49-F238E27FC236}">
                <a16:creationId xmlns:a16="http://schemas.microsoft.com/office/drawing/2014/main" id="{4AD7D374-AE50-0317-8117-EBF4B115166E}"/>
              </a:ext>
            </a:extLst>
          </p:cNvPr>
          <p:cNvGrpSpPr/>
          <p:nvPr userDrawn="1"/>
        </p:nvGrpSpPr>
        <p:grpSpPr>
          <a:xfrm>
            <a:off x="554011" y="519245"/>
            <a:ext cx="5435496" cy="1779245"/>
            <a:chOff x="611952" y="504678"/>
            <a:chExt cx="5435496" cy="1779245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12F5C3E6-8BF5-0894-9C96-4596BC329D07}"/>
                </a:ext>
              </a:extLst>
            </p:cNvPr>
            <p:cNvGrpSpPr/>
            <p:nvPr userDrawn="1"/>
          </p:nvGrpSpPr>
          <p:grpSpPr>
            <a:xfrm>
              <a:off x="3375570" y="504678"/>
              <a:ext cx="1537418" cy="1779245"/>
              <a:chOff x="443521" y="49468"/>
              <a:chExt cx="1537418" cy="1779245"/>
            </a:xfrm>
          </p:grpSpPr>
          <p:pic>
            <p:nvPicPr>
              <p:cNvPr id="56" name="Picture 55">
                <a:extLst>
                  <a:ext uri="{FF2B5EF4-FFF2-40B4-BE49-F238E27FC236}">
                    <a16:creationId xmlns:a16="http://schemas.microsoft.com/office/drawing/2014/main" id="{33444104-EE5D-6BD1-ABDA-CA91F3716321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04" b="804"/>
              <a:stretch/>
            </p:blipFill>
            <p:spPr>
              <a:xfrm>
                <a:off x="601980" y="49468"/>
                <a:ext cx="1223074" cy="1221871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57" name="TextBox 2">
                <a:extLst>
                  <a:ext uri="{FF2B5EF4-FFF2-40B4-BE49-F238E27FC236}">
                    <a16:creationId xmlns:a16="http://schemas.microsoft.com/office/drawing/2014/main" id="{214CBE3E-6DBB-AC82-50F2-C00DC284965B}"/>
                  </a:ext>
                </a:extLst>
              </p:cNvPr>
              <p:cNvSpPr txBox="1"/>
              <p:nvPr userDrawn="1"/>
            </p:nvSpPr>
            <p:spPr>
              <a:xfrm>
                <a:off x="443521" y="1300730"/>
                <a:ext cx="1537418" cy="52798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54610" tIns="54610" rIns="54610" bIns="54610" rtlCol="0" anchor="ctr">
                <a:noAutofit/>
              </a:bodyPr>
              <a:lstStyle>
                <a:defPPr>
                  <a:defRPr lang="en-US"/>
                </a:defPPr>
                <a:lvl1pPr algn="ctr">
                  <a:spcAft>
                    <a:spcPts val="600"/>
                  </a:spcAft>
                  <a:defRPr sz="800" b="1">
                    <a:solidFill>
                      <a:schemeClr val="bg2">
                        <a:lumMod val="25000"/>
                      </a:schemeClr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/>
                <a:r>
                  <a:rPr lang="ru-RU" dirty="0" err="1">
                    <a:solidFill>
                      <a:schemeClr val="bg2">
                        <a:lumMod val="25000"/>
                      </a:schemeClr>
                    </a:solidFill>
                  </a:rPr>
                  <a:t>Ўзбекистон</a:t>
                </a:r>
                <a:r>
                  <a:rPr lang="ru-RU" dirty="0">
                    <a:solidFill>
                      <a:schemeClr val="bg2">
                        <a:lumMod val="25000"/>
                      </a:schemeClr>
                    </a:solidFill>
                  </a:rPr>
                  <a:t> </a:t>
                </a:r>
                <a:r>
                  <a:rPr lang="ru-RU" dirty="0" err="1">
                    <a:solidFill>
                      <a:schemeClr val="bg2">
                        <a:lumMod val="25000"/>
                      </a:schemeClr>
                    </a:solidFill>
                  </a:rPr>
                  <a:t>Республикаси</a:t>
                </a:r>
                <a:r>
                  <a:rPr lang="ru-RU" dirty="0">
                    <a:solidFill>
                      <a:schemeClr val="bg2">
                        <a:lumMod val="25000"/>
                      </a:schemeClr>
                    </a:solidFill>
                  </a:rPr>
                  <a:t> </a:t>
                </a:r>
                <a:r>
                  <a:rPr lang="ru-RU" dirty="0" err="1">
                    <a:solidFill>
                      <a:schemeClr val="bg2">
                        <a:lumMod val="25000"/>
                      </a:schemeClr>
                    </a:solidFill>
                  </a:rPr>
                  <a:t>коррупцияга</a:t>
                </a:r>
                <a:r>
                  <a:rPr lang="ru-RU" dirty="0">
                    <a:solidFill>
                      <a:schemeClr val="bg2">
                        <a:lumMod val="25000"/>
                      </a:schemeClr>
                    </a:solidFill>
                  </a:rPr>
                  <a:t> </a:t>
                </a:r>
                <a:r>
                  <a:rPr lang="ru-RU" dirty="0" err="1">
                    <a:solidFill>
                      <a:schemeClr val="bg2">
                        <a:lumMod val="25000"/>
                      </a:schemeClr>
                    </a:solidFill>
                  </a:rPr>
                  <a:t>қарши</a:t>
                </a:r>
                <a:r>
                  <a:rPr lang="ru-RU" dirty="0">
                    <a:solidFill>
                      <a:schemeClr val="bg2">
                        <a:lumMod val="25000"/>
                      </a:schemeClr>
                    </a:solidFill>
                  </a:rPr>
                  <a:t> </a:t>
                </a:r>
                <a:r>
                  <a:rPr lang="ru-RU" dirty="0" err="1">
                    <a:solidFill>
                      <a:schemeClr val="bg2">
                        <a:lumMod val="25000"/>
                      </a:schemeClr>
                    </a:solidFill>
                  </a:rPr>
                  <a:t>курашиш</a:t>
                </a:r>
                <a:r>
                  <a:rPr lang="ru-RU" dirty="0">
                    <a:solidFill>
                      <a:schemeClr val="bg2">
                        <a:lumMod val="25000"/>
                      </a:schemeClr>
                    </a:solidFill>
                  </a:rPr>
                  <a:t> </a:t>
                </a:r>
                <a:r>
                  <a:rPr lang="ru-RU" dirty="0" err="1">
                    <a:solidFill>
                      <a:schemeClr val="bg2">
                        <a:lumMod val="25000"/>
                      </a:schemeClr>
                    </a:solidFill>
                  </a:rPr>
                  <a:t>агентлиги</a:t>
                </a:r>
                <a:endParaRPr lang="en-US" dirty="0" err="1">
                  <a:solidFill>
                    <a:schemeClr val="bg2">
                      <a:lumMod val="25000"/>
                    </a:schemeClr>
                  </a:solidFill>
                </a:endParaRPr>
              </a:p>
            </p:txBody>
          </p: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1D630424-65A7-FA96-ABFC-4F791DA5A219}"/>
                </a:ext>
              </a:extLst>
            </p:cNvPr>
            <p:cNvGrpSpPr/>
            <p:nvPr userDrawn="1"/>
          </p:nvGrpSpPr>
          <p:grpSpPr>
            <a:xfrm>
              <a:off x="611952" y="504678"/>
              <a:ext cx="1169846" cy="1687167"/>
              <a:chOff x="2231230" y="50939"/>
              <a:chExt cx="1169846" cy="1687167"/>
            </a:xfrm>
          </p:grpSpPr>
          <p:sp>
            <p:nvSpPr>
              <p:cNvPr id="54" name="TextBox 4">
                <a:extLst>
                  <a:ext uri="{FF2B5EF4-FFF2-40B4-BE49-F238E27FC236}">
                    <a16:creationId xmlns:a16="http://schemas.microsoft.com/office/drawing/2014/main" id="{3CBA6F2E-B935-C593-8905-7674B5A3B279}"/>
                  </a:ext>
                </a:extLst>
              </p:cNvPr>
              <p:cNvSpPr txBox="1"/>
              <p:nvPr userDrawn="1"/>
            </p:nvSpPr>
            <p:spPr>
              <a:xfrm>
                <a:off x="2231230" y="1366475"/>
                <a:ext cx="1169846" cy="37163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54610" tIns="54610" rIns="54610" bIns="54610" rtlCol="0" anchor="ctr">
                <a:noAutofit/>
              </a:bodyPr>
              <a:lstStyle>
                <a:defPPr>
                  <a:defRPr lang="en-US"/>
                </a:defPPr>
                <a:lvl1pPr lvl="0" algn="ctr">
                  <a:spcAft>
                    <a:spcPts val="600"/>
                  </a:spcAft>
                  <a:defRPr sz="800" b="1">
                    <a:solidFill>
                      <a:schemeClr val="bg2">
                        <a:lumMod val="25000"/>
                      </a:schemeClr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/>
                <a:r>
                  <a:rPr lang="ru-RU" dirty="0" err="1">
                    <a:solidFill>
                      <a:schemeClr val="bg2">
                        <a:lumMod val="25000"/>
                      </a:schemeClr>
                    </a:solidFill>
                  </a:rPr>
                  <a:t>Ўзбекистон</a:t>
                </a:r>
                <a:r>
                  <a:rPr lang="ru-RU" dirty="0">
                    <a:solidFill>
                      <a:schemeClr val="bg2">
                        <a:lumMod val="25000"/>
                      </a:schemeClr>
                    </a:solidFill>
                  </a:rPr>
                  <a:t> Республикаси Адлия вазирлиги</a:t>
                </a:r>
                <a:endParaRPr lang="en-US" dirty="0">
                  <a:solidFill>
                    <a:schemeClr val="bg2">
                      <a:lumMod val="25000"/>
                    </a:schemeClr>
                  </a:solidFill>
                </a:endParaRPr>
              </a:p>
            </p:txBody>
          </p:sp>
          <p:pic>
            <p:nvPicPr>
              <p:cNvPr id="55" name="Picture 54">
                <a:extLst>
                  <a:ext uri="{FF2B5EF4-FFF2-40B4-BE49-F238E27FC236}">
                    <a16:creationId xmlns:a16="http://schemas.microsoft.com/office/drawing/2014/main" id="{50F84172-C651-25D9-6E18-F0078517109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9376" t="4959" r="8599" b="3778"/>
              <a:stretch/>
            </p:blipFill>
            <p:spPr>
              <a:xfrm>
                <a:off x="2245180" y="50939"/>
                <a:ext cx="1126874" cy="1253784"/>
              </a:xfrm>
              <a:prstGeom prst="rect">
                <a:avLst/>
              </a:prstGeom>
              <a:ln>
                <a:noFill/>
              </a:ln>
            </p:spPr>
          </p:pic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B127FD4B-8FBD-A8AB-184D-DFC3E6E749A9}"/>
                </a:ext>
              </a:extLst>
            </p:cNvPr>
            <p:cNvGrpSpPr/>
            <p:nvPr userDrawn="1"/>
          </p:nvGrpSpPr>
          <p:grpSpPr>
            <a:xfrm>
              <a:off x="2096502" y="504678"/>
              <a:ext cx="1074049" cy="1685830"/>
              <a:chOff x="3768308" y="41911"/>
              <a:chExt cx="1074049" cy="1685830"/>
            </a:xfrm>
          </p:grpSpPr>
          <p:pic>
            <p:nvPicPr>
              <p:cNvPr id="52" name="Picture 51">
                <a:extLst>
                  <a:ext uri="{FF2B5EF4-FFF2-40B4-BE49-F238E27FC236}">
                    <a16:creationId xmlns:a16="http://schemas.microsoft.com/office/drawing/2014/main" id="{821B12FA-C9BA-5143-DFE2-E9FAA26C09F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823927" y="41911"/>
                <a:ext cx="952353" cy="1242586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53" name="TextBox 9">
                <a:extLst>
                  <a:ext uri="{FF2B5EF4-FFF2-40B4-BE49-F238E27FC236}">
                    <a16:creationId xmlns:a16="http://schemas.microsoft.com/office/drawing/2014/main" id="{305B20EC-B0D0-9470-6412-08AA25EA3285}"/>
                  </a:ext>
                </a:extLst>
              </p:cNvPr>
              <p:cNvSpPr txBox="1"/>
              <p:nvPr userDrawn="1"/>
            </p:nvSpPr>
            <p:spPr>
              <a:xfrm>
                <a:off x="3768308" y="1356110"/>
                <a:ext cx="1074049" cy="37163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54610" tIns="54610" rIns="54610" bIns="54610" rtlCol="0" anchor="ctr">
                <a:noAutofit/>
              </a:bodyPr>
              <a:lstStyle>
                <a:defPPr>
                  <a:defRPr lang="en-US"/>
                </a:defPPr>
                <a:lvl1pPr lvl="0" algn="ctr">
                  <a:spcAft>
                    <a:spcPts val="600"/>
                  </a:spcAft>
                  <a:defRPr sz="800" b="1">
                    <a:solidFill>
                      <a:schemeClr val="bg2">
                        <a:lumMod val="25000"/>
                      </a:schemeClr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/>
                <a:r>
                  <a:rPr lang="uz-Cyrl-UZ" dirty="0">
                    <a:solidFill>
                      <a:schemeClr val="bg2">
                        <a:lumMod val="25000"/>
                      </a:schemeClr>
                    </a:solidFill>
                  </a:rPr>
                  <a:t>Ўзбекистон Республикаси бош прокуратураси</a:t>
                </a:r>
                <a:endParaRPr lang="en-US" dirty="0">
                  <a:solidFill>
                    <a:schemeClr val="bg2">
                      <a:lumMod val="25000"/>
                    </a:schemeClr>
                  </a:solidFill>
                </a:endParaRPr>
              </a:p>
            </p:txBody>
          </p: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FA18584A-6217-43D8-0146-E95739882991}"/>
                </a:ext>
              </a:extLst>
            </p:cNvPr>
            <p:cNvGrpSpPr/>
            <p:nvPr userDrawn="1"/>
          </p:nvGrpSpPr>
          <p:grpSpPr>
            <a:xfrm>
              <a:off x="4979347" y="504678"/>
              <a:ext cx="1068101" cy="1776874"/>
              <a:chOff x="4948867" y="41911"/>
              <a:chExt cx="1068101" cy="1776874"/>
            </a:xfrm>
          </p:grpSpPr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2FF2381E-DCAF-77A0-CEBA-79624C54BDDD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4486" t="16259" r="24461" b="15945"/>
              <a:stretch/>
            </p:blipFill>
            <p:spPr>
              <a:xfrm>
                <a:off x="5175551" y="41911"/>
                <a:ext cx="614734" cy="1242586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51" name="TextBox 4">
                <a:extLst>
                  <a:ext uri="{FF2B5EF4-FFF2-40B4-BE49-F238E27FC236}">
                    <a16:creationId xmlns:a16="http://schemas.microsoft.com/office/drawing/2014/main" id="{23BD5D04-CC72-7483-C7B6-A7BE6125A422}"/>
                  </a:ext>
                </a:extLst>
              </p:cNvPr>
              <p:cNvSpPr txBox="1"/>
              <p:nvPr userDrawn="1"/>
            </p:nvSpPr>
            <p:spPr>
              <a:xfrm>
                <a:off x="4948867" y="1293173"/>
                <a:ext cx="1068101" cy="5256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54610" tIns="54610" rIns="54610" bIns="5461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ts val="600"/>
                  </a:spcAft>
                </a:pPr>
                <a:r>
                  <a:rPr lang="ru-RU" sz="800" b="1" dirty="0">
                    <a:solidFill>
                      <a:schemeClr val="bg2">
                        <a:lumMod val="25000"/>
                      </a:schemeClr>
                    </a:solidFill>
                  </a:rPr>
                  <a:t>Бирлашган Миллатлар Ташкилотининг Тараққиёт Дастури</a:t>
                </a:r>
                <a:endParaRPr lang="en-US" sz="800" b="1" dirty="0">
                  <a:solidFill>
                    <a:schemeClr val="bg2">
                      <a:lumMod val="25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99694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B45DFE0-9E29-41CD-8814-BFEA920809FA}"/>
              </a:ext>
            </a:extLst>
          </p:cNvPr>
          <p:cNvSpPr/>
          <p:nvPr userDrawn="1"/>
        </p:nvSpPr>
        <p:spPr>
          <a:xfrm>
            <a:off x="-1" y="0"/>
            <a:ext cx="348904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4798" y="438150"/>
            <a:ext cx="7964290" cy="4349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94630" y="221942"/>
            <a:ext cx="7964290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grpSp>
        <p:nvGrpSpPr>
          <p:cNvPr id="6" name="Graphic 169">
            <a:extLst>
              <a:ext uri="{FF2B5EF4-FFF2-40B4-BE49-F238E27FC236}">
                <a16:creationId xmlns:a16="http://schemas.microsoft.com/office/drawing/2014/main" id="{9EEE69B6-C43D-4F84-B584-10B5CEB264F4}"/>
              </a:ext>
            </a:extLst>
          </p:cNvPr>
          <p:cNvGrpSpPr/>
          <p:nvPr userDrawn="1"/>
        </p:nvGrpSpPr>
        <p:grpSpPr>
          <a:xfrm>
            <a:off x="8351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BD1BB6AA-036A-430F-B8FB-844D38B02EC8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5427424-5AA3-447E-9316-45247C447F6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73A88C2-D9B2-402D-A11D-EB5CB5C2C524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3378AE4-79FB-475B-8AA3-28C53CD53F03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E6C77E00-EB39-499B-84D3-D4BE88DF5889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DBEBA0B-5417-4605-8DD6-EC22A04DADB7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8C355CC-12BC-4970-963B-273A37F4AE72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81BB2F1-BE4F-4A2F-A117-0D32AE9C492E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8BC4B50-EA3B-4E45-8E42-2FEEDB3C653E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7255F05-822B-4A77-96FB-3870FE37DA92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9920A06-35DB-4773-B624-CBEDE3509235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8C4E244-1407-4AC4-8F9C-FE9AB50CF9AD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1B1721F-BD43-409A-87E6-058764FDA512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6B8C18B-A504-4780-9F2D-C5C44E326E05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AC8639B-1AF4-4D6A-BB40-2323952FF091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C8E7C64-A4A0-4C93-B2AC-2854C0C8D4EF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A75CC45-BA7F-49B5-B199-7655E3E9FFD6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89BFB3-D90F-4CF8-B1B1-54AFB6722CE3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273901B-C0E0-4685-A57D-F1289D60A4C6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3A9F9C2-5E3C-4242-93F1-82556A06223C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4ADB496-BCD4-48BD-8638-BF8054870BE0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28A7203-EB10-46D3-8595-0B665BEC0B42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2D94A98-3A7B-4A6B-BF56-6CAC55BB7ABA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AE6838E-E0B9-47AA-B765-C1FBEFE4C2E8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5D0050F4-52D0-45FA-1D60-4BB593DB32CC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32" name="LOGO_4F">
            <a:extLst>
              <a:ext uri="{FF2B5EF4-FFF2-40B4-BE49-F238E27FC236}">
                <a16:creationId xmlns:a16="http://schemas.microsoft.com/office/drawing/2014/main" id="{6DA45C4E-1D0D-7FA8-E044-45CC6DF3ABC7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77D36CCD-4204-4F26-DD04-3E98432DFF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250447C3-8663-C57E-3332-A09430B8944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7381372B-F308-3A1D-46B8-F19ED09F98A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2CEA52E2-7E1C-BB03-F75C-9A45294C581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9065177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B45DFE0-9E29-41CD-8814-BFEA920809FA}"/>
              </a:ext>
            </a:extLst>
          </p:cNvPr>
          <p:cNvSpPr/>
          <p:nvPr userDrawn="1"/>
        </p:nvSpPr>
        <p:spPr>
          <a:xfrm>
            <a:off x="-1" y="0"/>
            <a:ext cx="520700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150" y="438150"/>
            <a:ext cx="7964290" cy="4349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7982" y="221942"/>
            <a:ext cx="7964290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grpSp>
        <p:nvGrpSpPr>
          <p:cNvPr id="6" name="Graphic 169">
            <a:extLst>
              <a:ext uri="{FF2B5EF4-FFF2-40B4-BE49-F238E27FC236}">
                <a16:creationId xmlns:a16="http://schemas.microsoft.com/office/drawing/2014/main" id="{9EEE69B6-C43D-4F84-B584-10B5CEB264F4}"/>
              </a:ext>
            </a:extLst>
          </p:cNvPr>
          <p:cNvGrpSpPr/>
          <p:nvPr userDrawn="1"/>
        </p:nvGrpSpPr>
        <p:grpSpPr>
          <a:xfrm>
            <a:off x="8351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BD1BB6AA-036A-430F-B8FB-844D38B02EC8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5427424-5AA3-447E-9316-45247C447F6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73A88C2-D9B2-402D-A11D-EB5CB5C2C524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3378AE4-79FB-475B-8AA3-28C53CD53F03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E6C77E00-EB39-499B-84D3-D4BE88DF5889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DBEBA0B-5417-4605-8DD6-EC22A04DADB7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8C355CC-12BC-4970-963B-273A37F4AE72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81BB2F1-BE4F-4A2F-A117-0D32AE9C492E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8BC4B50-EA3B-4E45-8E42-2FEEDB3C653E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7255F05-822B-4A77-96FB-3870FE37DA92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9920A06-35DB-4773-B624-CBEDE3509235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8C4E244-1407-4AC4-8F9C-FE9AB50CF9AD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1B1721F-BD43-409A-87E6-058764FDA512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6B8C18B-A504-4780-9F2D-C5C44E326E05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AC8639B-1AF4-4D6A-BB40-2323952FF091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C8E7C64-A4A0-4C93-B2AC-2854C0C8D4EF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A75CC45-BA7F-49B5-B199-7655E3E9FFD6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89BFB3-D90F-4CF8-B1B1-54AFB6722CE3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273901B-C0E0-4685-A57D-F1289D60A4C6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3A9F9C2-5E3C-4242-93F1-82556A06223C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4ADB496-BCD4-48BD-8638-BF8054870BE0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28A7203-EB10-46D3-8595-0B665BEC0B42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2D94A98-3A7B-4A6B-BF56-6CAC55BB7ABA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AE6838E-E0B9-47AA-B765-C1FBEFE4C2E8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9465A985-8A7C-4218-30DC-A5C2CE006E40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32" name="LOGO_4F">
            <a:extLst>
              <a:ext uri="{FF2B5EF4-FFF2-40B4-BE49-F238E27FC236}">
                <a16:creationId xmlns:a16="http://schemas.microsoft.com/office/drawing/2014/main" id="{9E5B9C8A-D426-D250-F07A-0CCF8E8A4255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45E7A5C9-5DA8-C7CF-E9B5-7939472FFEC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3535EF67-6CEE-120C-F505-D483906A4DA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86848EF0-35ED-E8F2-7D3D-FBFDE150664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EBD4CE01-14A4-6D37-877C-7F1C0637EA9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404054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>
            <a:extLst>
              <a:ext uri="{FF2B5EF4-FFF2-40B4-BE49-F238E27FC236}">
                <a16:creationId xmlns:a16="http://schemas.microsoft.com/office/drawing/2014/main" id="{5B5FFFF2-4346-4073-BABD-58EBED0B12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3489044" cy="6858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4798" y="438150"/>
            <a:ext cx="7964290" cy="4349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94630" y="221942"/>
            <a:ext cx="7964290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45DFE0-9E29-41CD-8814-BFEA920809FA}"/>
              </a:ext>
            </a:extLst>
          </p:cNvPr>
          <p:cNvSpPr/>
          <p:nvPr userDrawn="1"/>
        </p:nvSpPr>
        <p:spPr>
          <a:xfrm>
            <a:off x="0" y="0"/>
            <a:ext cx="3489045" cy="65532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0300">
                <a:srgbClr val="FFFFFF">
                  <a:alpha val="70000"/>
                </a:srgb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D1DC39-FED7-4A92-179C-F4DCC1E8877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686021" y="142875"/>
            <a:ext cx="542889" cy="82813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3A67CBC-4632-E27F-644E-D2F851B78BC1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6" name="LOGO_4F">
            <a:extLst>
              <a:ext uri="{FF2B5EF4-FFF2-40B4-BE49-F238E27FC236}">
                <a16:creationId xmlns:a16="http://schemas.microsoft.com/office/drawing/2014/main" id="{41C26BDB-D388-29FA-7D36-E2BC2B5FF22E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E9D9540-F5A0-EC85-2976-4D2BABD03D3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2059D11-2AB6-5521-30C9-9E61457BE9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48FE26A-399D-DFC3-C0C6-639E00CA9F0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FE03981-4A64-C586-69A7-F6A476DBE51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1004729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1317089" cy="4349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4060FEA-0E14-CE04-9580-35FE5F6BA6F6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5" name="LOGO_4F">
            <a:extLst>
              <a:ext uri="{FF2B5EF4-FFF2-40B4-BE49-F238E27FC236}">
                <a16:creationId xmlns:a16="http://schemas.microsoft.com/office/drawing/2014/main" id="{994552CC-A053-E649-71B3-020BB58FEFE0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323F586-3362-D2F9-0A78-470AB81897D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CF80C20-373A-D465-5D29-19855071A4B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D00AA6E-38AE-6FE4-6CEB-EBBD5982CAC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FDBCD0A8-52A9-A300-6494-723A75FD9F0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6682184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423258C-5CDD-48F3-A917-08811068E6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DB8E60E-D74E-4562-9AF2-351F704A18A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oundRect">
            <a:avLst>
              <a:gd name="adj" fmla="val 0"/>
            </a:avLst>
          </a:prstGeom>
          <a:solidFill>
            <a:schemeClr val="bg1">
              <a:alpha val="64000"/>
            </a:schemeClr>
          </a:solidFill>
          <a:ln>
            <a:noFill/>
          </a:ln>
        </p:spPr>
        <p:txBody>
          <a:bodyPr lIns="91440" tIns="91440" rIns="91440" bIns="91440">
            <a:noAutofit/>
          </a:bodyPr>
          <a:lstStyle/>
          <a:p>
            <a:pPr>
              <a:spcAft>
                <a:spcPts val="300"/>
              </a:spcAft>
            </a:pPr>
            <a:endParaRPr lang="ru-RU" sz="900">
              <a:solidFill>
                <a:schemeClr val="tx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1317089" cy="4349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EC5C10F6-3471-4F40-BD00-4DEFCD511E52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CACBAC-4CE4-D09C-4695-28982E147EDF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8" name="LOGO_4F">
            <a:extLst>
              <a:ext uri="{FF2B5EF4-FFF2-40B4-BE49-F238E27FC236}">
                <a16:creationId xmlns:a16="http://schemas.microsoft.com/office/drawing/2014/main" id="{C6A0AFEB-DB64-711E-26D9-3299ADC8F4AB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3DA7762-DEC7-AB20-345F-1FD0825688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E476B74-74BB-6ADC-F4A8-405DF28F703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72430B4-2310-0B0A-D209-CA137F3A8A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D82A177-817D-F816-7693-4BEED7B0FE9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1121311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78FDFC-5D62-5AD5-4E1E-A8299D1C571B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5" name="LOGO_4F">
            <a:extLst>
              <a:ext uri="{FF2B5EF4-FFF2-40B4-BE49-F238E27FC236}">
                <a16:creationId xmlns:a16="http://schemas.microsoft.com/office/drawing/2014/main" id="{67B0395B-DEB4-FF56-44D6-E8AFE98961A9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273BAF17-4B8E-1A12-689C-1C7C525855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FB538F3-C8CD-86A2-C252-757179262C5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668A964-F56E-B5D4-B8CC-5F20577BD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D1CF148-C222-4C33-A3AA-A5516EF043E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778552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423258C-5CDD-48F3-A917-08811068E6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DB8E60E-D74E-4562-9AF2-351F704A18A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oundRect">
            <a:avLst>
              <a:gd name="adj" fmla="val 0"/>
            </a:avLst>
          </a:prstGeom>
          <a:solidFill>
            <a:schemeClr val="bg1">
              <a:alpha val="64000"/>
            </a:schemeClr>
          </a:solidFill>
          <a:ln>
            <a:noFill/>
          </a:ln>
        </p:spPr>
        <p:txBody>
          <a:bodyPr lIns="91440" tIns="91440" rIns="91440" bIns="91440">
            <a:noAutofit/>
          </a:bodyPr>
          <a:lstStyle/>
          <a:p>
            <a:pPr>
              <a:spcAft>
                <a:spcPts val="300"/>
              </a:spcAft>
            </a:pPr>
            <a:endParaRPr lang="ru-RU" sz="900">
              <a:solidFill>
                <a:schemeClr val="tx2"/>
              </a:solidFill>
            </a:endParaRP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EC5C10F6-3471-4F40-BD00-4DEFCD511E52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grpSp>
        <p:nvGrpSpPr>
          <p:cNvPr id="2" name="LOGO_4F">
            <a:extLst>
              <a:ext uri="{FF2B5EF4-FFF2-40B4-BE49-F238E27FC236}">
                <a16:creationId xmlns:a16="http://schemas.microsoft.com/office/drawing/2014/main" id="{720BDF16-0C9E-688B-9E0A-113FD0764F36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E1044946-73A6-42F6-CBF3-E6E29F11E1C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2DC2A7E-5934-99A0-10A4-CB6E8A1275B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08F36CD6-35FF-A45A-4349-F4733CE5A5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72C415AE-F991-D458-CC22-79BD0A7F13D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0400098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Обложка">
    <p:bg>
      <p:bgPr>
        <a:solidFill>
          <a:srgbClr val="2112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CAB4FB-938D-423A-91EB-8F4BFA88D4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918231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297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0069EF1C-53E7-4912-8E3D-718C396F6D78}"/>
              </a:ext>
            </a:extLst>
          </p:cNvPr>
          <p:cNvSpPr/>
          <p:nvPr userDrawn="1"/>
        </p:nvSpPr>
        <p:spPr>
          <a:xfrm>
            <a:off x="371026" y="5177962"/>
            <a:ext cx="7083467" cy="13597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r>
              <a:rPr lang="ru-RU" sz="8800" b="1" spc="-150">
                <a:ln>
                  <a:solidFill>
                    <a:srgbClr val="2112AE"/>
                  </a:solidFill>
                </a:ln>
                <a:solidFill>
                  <a:schemeClr val="bg1">
                    <a:lumMod val="95000"/>
                  </a:schemeClr>
                </a:solidFill>
                <a:ea typeface="Golos Text" panose="020B0503020202020204" pitchFamily="34" charset="0"/>
              </a:rPr>
              <a:t>Блок 8.</a:t>
            </a:r>
            <a:endParaRPr lang="en-US" sz="7200" b="1" spc="-150">
              <a:ln>
                <a:solidFill>
                  <a:srgbClr val="2112AE"/>
                </a:solidFill>
              </a:ln>
              <a:solidFill>
                <a:schemeClr val="bg1">
                  <a:lumMod val="95000"/>
                </a:schemeClr>
              </a:solidFill>
              <a:ea typeface="Golos Text" panose="020B0503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16A424E-82E7-4276-ADE5-EC86C46B0361}"/>
              </a:ext>
            </a:extLst>
          </p:cNvPr>
          <p:cNvSpPr/>
          <p:nvPr userDrawn="1"/>
        </p:nvSpPr>
        <p:spPr>
          <a:xfrm>
            <a:off x="11259879" y="6273800"/>
            <a:ext cx="765544" cy="447089"/>
          </a:xfrm>
          <a:prstGeom prst="rect">
            <a:avLst/>
          </a:prstGeom>
          <a:solidFill>
            <a:srgbClr val="2112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F214457-0ED4-4315-9466-7FC334033B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8151" y="438149"/>
            <a:ext cx="4921248" cy="469712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6CF38DA-908F-2A9E-308B-E1A9D0C883C2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6" name="LOGO_4F">
            <a:extLst>
              <a:ext uri="{FF2B5EF4-FFF2-40B4-BE49-F238E27FC236}">
                <a16:creationId xmlns:a16="http://schemas.microsoft.com/office/drawing/2014/main" id="{83CC4434-C89F-D6F9-9725-5BCE1545E6D7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C988148-2151-CEB0-A086-9E0E6A0800A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AF50D80-8C37-88C1-CFDD-83F79E4473E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54E1AEFD-4B06-3D40-51A2-7054D941CDB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F91FD474-BBB2-254C-A394-DFB5C17956A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764768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Обложка">
    <p:bg>
      <p:bgPr>
        <a:solidFill>
          <a:srgbClr val="2112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CAB4FB-938D-423A-91EB-8F4BFA88D4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918231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297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AB2E796A-C058-497F-A7E9-4C567C867A0D}"/>
              </a:ext>
            </a:extLst>
          </p:cNvPr>
          <p:cNvSpPr/>
          <p:nvPr userDrawn="1"/>
        </p:nvSpPr>
        <p:spPr>
          <a:xfrm>
            <a:off x="11259879" y="6273800"/>
            <a:ext cx="765544" cy="447089"/>
          </a:xfrm>
          <a:prstGeom prst="rect">
            <a:avLst/>
          </a:prstGeom>
          <a:solidFill>
            <a:srgbClr val="2112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7F51C054-C77A-4C98-BE6B-50280BEB5F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3548" y="438150"/>
            <a:ext cx="4895850" cy="58356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C6C9049-17AC-8E80-A679-F3891B0AA232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5" name="LOGO_4F">
            <a:extLst>
              <a:ext uri="{FF2B5EF4-FFF2-40B4-BE49-F238E27FC236}">
                <a16:creationId xmlns:a16="http://schemas.microsoft.com/office/drawing/2014/main" id="{88A333A7-78D9-0671-35E5-D70EA6B87D2A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4FDFC07-6F21-41BF-4D33-C3C1CADF1C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CFC9BD8D-E986-2D37-FD13-6DC988C00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1898580-E901-9556-DAD9-821F73F84D3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5AEA34D0-6F62-728C-F0C8-E5EA7F756BD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611391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44F078D-CE21-48F0-BA1C-C69994CFF5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999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A566112-DAA8-4FCE-A53B-57C7E204B010}"/>
              </a:ext>
            </a:extLst>
          </p:cNvPr>
          <p:cNvSpPr/>
          <p:nvPr userDrawn="1"/>
        </p:nvSpPr>
        <p:spPr>
          <a:xfrm rot="5400000" flipH="1">
            <a:off x="2667001" y="-2667001"/>
            <a:ext cx="6857999" cy="12192000"/>
          </a:xfrm>
          <a:prstGeom prst="roundRect">
            <a:avLst>
              <a:gd name="adj" fmla="val 0"/>
            </a:avLst>
          </a:prstGeom>
          <a:gradFill>
            <a:gsLst>
              <a:gs pos="31000">
                <a:schemeClr val="bg1">
                  <a:alpha val="24000"/>
                </a:schemeClr>
              </a:gs>
              <a:gs pos="85000">
                <a:schemeClr val="bg1"/>
              </a:gs>
            </a:gsLst>
            <a:lin ang="0" scaled="1"/>
          </a:gradFill>
          <a:ln>
            <a:noFill/>
          </a:ln>
        </p:spPr>
        <p:txBody>
          <a:bodyPr lIns="91440" tIns="91440" rIns="91440" bIns="91440">
            <a:noAutofit/>
          </a:bodyPr>
          <a:lstStyle/>
          <a:p>
            <a:pPr>
              <a:spcAft>
                <a:spcPts val="300"/>
              </a:spcAft>
            </a:pPr>
            <a:endParaRPr lang="ru-RU" sz="900">
              <a:solidFill>
                <a:schemeClr val="tx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1317089" cy="4349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2DF04385-700A-474C-BC47-FAD1E3B41768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04754D3-F05D-BCB1-E421-96878FB5B22C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8" name="LOGO_4F">
            <a:extLst>
              <a:ext uri="{FF2B5EF4-FFF2-40B4-BE49-F238E27FC236}">
                <a16:creationId xmlns:a16="http://schemas.microsoft.com/office/drawing/2014/main" id="{D36BD7FF-545F-27AB-32C8-3661B7084BDB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E8D6201-D847-8D2A-D7AD-AEB86EAF410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B68A36A-CFAF-DD72-860F-DDAF1D4CCB8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12DD3EE-91C8-D5AB-6281-1C500591C67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A2EFD7B-0368-94F5-6CD0-F71ECF14B2F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6672487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97F5620-770A-4287-914C-142BC28805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7327900" y="3615944"/>
            <a:ext cx="4864100" cy="3242056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A566112-DAA8-4FCE-A53B-57C7E204B010}"/>
              </a:ext>
            </a:extLst>
          </p:cNvPr>
          <p:cNvSpPr/>
          <p:nvPr userDrawn="1"/>
        </p:nvSpPr>
        <p:spPr>
          <a:xfrm rot="5400000" flipH="1">
            <a:off x="2666999" y="-2667000"/>
            <a:ext cx="6857999" cy="12192000"/>
          </a:xfrm>
          <a:prstGeom prst="roundRect">
            <a:avLst>
              <a:gd name="adj" fmla="val 0"/>
            </a:avLst>
          </a:prstGeom>
          <a:gradFill>
            <a:gsLst>
              <a:gs pos="28000">
                <a:schemeClr val="bg1">
                  <a:alpha val="0"/>
                </a:schemeClr>
              </a:gs>
              <a:gs pos="99465">
                <a:schemeClr val="bg1"/>
              </a:gs>
              <a:gs pos="42000">
                <a:srgbClr val="FCFDFD"/>
              </a:gs>
            </a:gsLst>
            <a:lin ang="0" scaled="1"/>
          </a:gradFill>
          <a:ln>
            <a:noFill/>
          </a:ln>
        </p:spPr>
        <p:txBody>
          <a:bodyPr lIns="91440" tIns="91440" rIns="91440" bIns="91440">
            <a:noAutofit/>
          </a:bodyPr>
          <a:lstStyle/>
          <a:p>
            <a:pPr>
              <a:spcAft>
                <a:spcPts val="300"/>
              </a:spcAft>
            </a:pPr>
            <a:endParaRPr lang="ru-RU" sz="900">
              <a:solidFill>
                <a:schemeClr val="tx2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1C0391C-2610-4AB0-824D-A88BBABE93D4}"/>
              </a:ext>
            </a:extLst>
          </p:cNvPr>
          <p:cNvSpPr/>
          <p:nvPr userDrawn="1"/>
        </p:nvSpPr>
        <p:spPr>
          <a:xfrm flipH="1">
            <a:off x="-4" y="0"/>
            <a:ext cx="12192004" cy="6858000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bg1">
                  <a:alpha val="0"/>
                </a:schemeClr>
              </a:gs>
              <a:gs pos="99465">
                <a:schemeClr val="bg1"/>
              </a:gs>
              <a:gs pos="38000">
                <a:srgbClr val="FCFDFD"/>
              </a:gs>
            </a:gsLst>
            <a:lin ang="0" scaled="1"/>
          </a:gradFill>
          <a:ln>
            <a:noFill/>
          </a:ln>
        </p:spPr>
        <p:txBody>
          <a:bodyPr lIns="91440" tIns="91440" rIns="91440" bIns="91440">
            <a:noAutofit/>
          </a:bodyPr>
          <a:lstStyle/>
          <a:p>
            <a:pPr>
              <a:spcAft>
                <a:spcPts val="300"/>
              </a:spcAft>
            </a:pPr>
            <a:endParaRPr lang="ru-RU" sz="900">
              <a:solidFill>
                <a:schemeClr val="tx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1317089" cy="4349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2DF04385-700A-474C-BC47-FAD1E3B41768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68E180-B4D3-9F5F-6189-C9373096194B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9" name="LOGO_4F">
            <a:extLst>
              <a:ext uri="{FF2B5EF4-FFF2-40B4-BE49-F238E27FC236}">
                <a16:creationId xmlns:a16="http://schemas.microsoft.com/office/drawing/2014/main" id="{C71F1022-DE78-D335-EFB7-C89389F71810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4E74031-45E7-DFAE-D9CF-585D3927805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5C4F2F9D-7FBB-3288-FE81-C455968CE50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FBFF33F-B68A-B528-8F66-181C1C7BBE2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F1871857-14B3-7BFC-0923-9A47912DE88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171101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28E559C-AB0D-476B-9BD0-E5E3305DC7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4048" y="0"/>
            <a:ext cx="9327952" cy="6858000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AA58943-98F9-43FE-B648-98F91F94466C}"/>
              </a:ext>
            </a:extLst>
          </p:cNvPr>
          <p:cNvSpPr/>
          <p:nvPr userDrawn="1"/>
        </p:nvSpPr>
        <p:spPr>
          <a:xfrm flipH="1">
            <a:off x="-2" y="0"/>
            <a:ext cx="12192001" cy="6858000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bg1">
                  <a:alpha val="24000"/>
                </a:schemeClr>
              </a:gs>
              <a:gs pos="71000">
                <a:schemeClr val="bg1"/>
              </a:gs>
            </a:gsLst>
            <a:lin ang="0" scaled="1"/>
          </a:gradFill>
          <a:ln>
            <a:noFill/>
          </a:ln>
        </p:spPr>
        <p:txBody>
          <a:bodyPr lIns="91440" tIns="91440" rIns="91440" bIns="91440">
            <a:noAutofit/>
          </a:bodyPr>
          <a:lstStyle/>
          <a:p>
            <a:pPr>
              <a:spcAft>
                <a:spcPts val="300"/>
              </a:spcAft>
            </a:pPr>
            <a:endParaRPr lang="ru-RU" sz="900">
              <a:solidFill>
                <a:schemeClr val="tx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1317089" cy="4349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831" y="221942"/>
            <a:ext cx="9950865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2DF04385-700A-474C-BC47-FAD1E3B41768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1479E80-F5AE-18B2-0EFC-C948770FECBD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9" name="LOGO_4F">
            <a:extLst>
              <a:ext uri="{FF2B5EF4-FFF2-40B4-BE49-F238E27FC236}">
                <a16:creationId xmlns:a16="http://schemas.microsoft.com/office/drawing/2014/main" id="{87CBBCDC-39F5-F947-9814-4861A1F1DBFA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66C3772-0C09-6E47-45C7-5FEF359DE2D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4EFC9D6-A69F-86AB-ECA5-6C6EF71C1F3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1A59AD7-B16E-3A61-0E23-6673838129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430FEC2-89B1-AB37-B324-840CF46A206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3511022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4C43468-E7B8-4696-B152-CBC2ED7CA9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00" y="0"/>
            <a:ext cx="4572000" cy="6858000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AA58943-98F9-43FE-B648-98F91F94466C}"/>
              </a:ext>
            </a:extLst>
          </p:cNvPr>
          <p:cNvSpPr/>
          <p:nvPr userDrawn="1"/>
        </p:nvSpPr>
        <p:spPr>
          <a:xfrm flipH="1">
            <a:off x="-6" y="0"/>
            <a:ext cx="12192005" cy="6858000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bg1">
                  <a:alpha val="24000"/>
                </a:schemeClr>
              </a:gs>
              <a:gs pos="31500">
                <a:srgbClr val="FFFFFF"/>
              </a:gs>
              <a:gs pos="63000">
                <a:schemeClr val="bg1"/>
              </a:gs>
            </a:gsLst>
            <a:lin ang="0" scaled="1"/>
          </a:gradFill>
          <a:ln>
            <a:noFill/>
          </a:ln>
        </p:spPr>
        <p:txBody>
          <a:bodyPr lIns="91440" tIns="91440" rIns="91440" bIns="91440">
            <a:noAutofit/>
          </a:bodyPr>
          <a:lstStyle/>
          <a:p>
            <a:pPr>
              <a:spcAft>
                <a:spcPts val="300"/>
              </a:spcAft>
            </a:pPr>
            <a:endParaRPr lang="ru-RU" sz="900">
              <a:solidFill>
                <a:schemeClr val="tx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1317089" cy="4349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831" y="221942"/>
            <a:ext cx="9950865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2DF04385-700A-474C-BC47-FAD1E3B41768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60A2FF-AFE7-D7CE-BDDD-AAD8EAC4855C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7" name="LOGO_4F">
            <a:extLst>
              <a:ext uri="{FF2B5EF4-FFF2-40B4-BE49-F238E27FC236}">
                <a16:creationId xmlns:a16="http://schemas.microsoft.com/office/drawing/2014/main" id="{86A0E207-93F0-D005-17AD-95D62DB7A730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42BA515-3F6B-4034-8CA5-7887106D7F3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24FE3C7D-C3DB-44E6-4342-424A1FDFB83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C766BEE-FB45-EDE2-10AA-0B64E8CE987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F72263E-81E5-065E-2FA2-BE400994D4C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1514360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8D71660-09B5-4778-B99F-C963E26B75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620619" y="0"/>
            <a:ext cx="10571381" cy="6858000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AA58943-98F9-43FE-B648-98F91F94466C}"/>
              </a:ext>
            </a:extLst>
          </p:cNvPr>
          <p:cNvSpPr/>
          <p:nvPr userDrawn="1"/>
        </p:nvSpPr>
        <p:spPr>
          <a:xfrm flipH="1">
            <a:off x="-8" y="0"/>
            <a:ext cx="12192007" cy="6858000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bg1">
                  <a:alpha val="24000"/>
                </a:schemeClr>
              </a:gs>
              <a:gs pos="58000">
                <a:srgbClr val="FFFFFF"/>
              </a:gs>
              <a:gs pos="100000">
                <a:schemeClr val="bg1"/>
              </a:gs>
            </a:gsLst>
            <a:lin ang="0" scaled="1"/>
          </a:gradFill>
          <a:ln>
            <a:noFill/>
          </a:ln>
        </p:spPr>
        <p:txBody>
          <a:bodyPr lIns="91440" tIns="91440" rIns="91440" bIns="91440">
            <a:noAutofit/>
          </a:bodyPr>
          <a:lstStyle/>
          <a:p>
            <a:pPr>
              <a:spcAft>
                <a:spcPts val="300"/>
              </a:spcAft>
            </a:pPr>
            <a:endParaRPr lang="ru-RU" sz="900">
              <a:solidFill>
                <a:schemeClr val="tx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1317089" cy="4349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831" y="221942"/>
            <a:ext cx="9950865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2DF04385-700A-474C-BC47-FAD1E3B41768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bg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C1D567C-3D5F-EC5B-9A8F-DBE4E3C4F903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9" name="LOGO_4F">
            <a:extLst>
              <a:ext uri="{FF2B5EF4-FFF2-40B4-BE49-F238E27FC236}">
                <a16:creationId xmlns:a16="http://schemas.microsoft.com/office/drawing/2014/main" id="{75BF6253-6B10-943D-8C8A-18241BD5E3E9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27250E0-A696-EDAF-BBBB-6B9FDEB742D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08CDFE1D-73BA-AB53-4B5D-943891E2188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3AB0497-6E99-811B-41AD-741C832974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102E39B-3836-8FC8-FEAB-DB6F3E5F7C3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110339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1317089" cy="4349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831" y="221942"/>
            <a:ext cx="9950865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26C917-BB29-93D5-2385-585265930791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6" name="LOGO_4F">
            <a:extLst>
              <a:ext uri="{FF2B5EF4-FFF2-40B4-BE49-F238E27FC236}">
                <a16:creationId xmlns:a16="http://schemas.microsoft.com/office/drawing/2014/main" id="{BCAD0506-E238-5BB6-F2CC-D835E771544D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2114E1F-A969-591B-DC07-3361032606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C4A3450-C561-5755-486B-268FA0E11DF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B9EA202B-FA77-E20B-2955-5556B286525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73B0D71-DFF4-2A5F-AF8A-FD8294D06E0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1393229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74D263D-C605-4939-85EC-2A61D03C2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1310136" cy="4349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hape 8">
            <a:extLst>
              <a:ext uri="{FF2B5EF4-FFF2-40B4-BE49-F238E27FC236}">
                <a16:creationId xmlns:a16="http://schemas.microsoft.com/office/drawing/2014/main" id="{ECE98A82-66C1-4E45-965C-840A48B2EF6E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06C1BA0-20CE-43B3-BC4E-53F0456BB7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049" y="1296001"/>
            <a:ext cx="11318487" cy="4977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ru-RU"/>
          </a:p>
          <a:p>
            <a:pPr lvl="4"/>
            <a:endParaRPr lang="ru-RU"/>
          </a:p>
          <a:p>
            <a:pPr lvl="4"/>
            <a:endParaRPr lang="en-US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15EEECF-8944-4DD0-8A68-B269F42781F4}"/>
              </a:ext>
            </a:extLst>
          </p:cNvPr>
          <p:cNvGrpSpPr/>
          <p:nvPr/>
        </p:nvGrpSpPr>
        <p:grpSpPr>
          <a:xfrm>
            <a:off x="12428854" y="438150"/>
            <a:ext cx="1578422" cy="632808"/>
            <a:chOff x="3634369" y="318226"/>
            <a:chExt cx="1578422" cy="632808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B89E3CB2-0140-4585-B311-61EDF662845F}"/>
                </a:ext>
              </a:extLst>
            </p:cNvPr>
            <p:cNvSpPr/>
            <p:nvPr/>
          </p:nvSpPr>
          <p:spPr>
            <a:xfrm>
              <a:off x="3634371" y="318226"/>
              <a:ext cx="1305312" cy="21288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>
                <a:spcBef>
                  <a:spcPts val="1000"/>
                </a:spcBef>
                <a:spcAft>
                  <a:spcPts val="300"/>
                </a:spcAft>
              </a:pPr>
              <a:r>
                <a:rPr lang="ru-RU" sz="800" b="1">
                  <a:solidFill>
                    <a:srgbClr val="6B6F77"/>
                  </a:solidFill>
                  <a:latin typeface="Arial" panose="020B0604020202020204" pitchFamily="34" charset="0"/>
                </a:rPr>
                <a:t>Основная палитра</a:t>
              </a:r>
              <a:endParaRPr lang="en-US" sz="800" b="1" err="1">
                <a:solidFill>
                  <a:srgbClr val="6B6F77"/>
                </a:solidFill>
                <a:latin typeface="Arial" panose="020B0604020202020204" pitchFamily="34" charset="0"/>
              </a:endParaRPr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A55EF4C1-D134-4023-AA33-B72016BAB269}"/>
                </a:ext>
              </a:extLst>
            </p:cNvPr>
            <p:cNvGrpSpPr/>
            <p:nvPr/>
          </p:nvGrpSpPr>
          <p:grpSpPr>
            <a:xfrm>
              <a:off x="3634369" y="468810"/>
              <a:ext cx="1578422" cy="482224"/>
              <a:chOff x="3634369" y="496518"/>
              <a:chExt cx="1868455" cy="570832"/>
            </a:xfrm>
          </p:grpSpPr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681F78EF-5A66-48AB-A8BB-8E1BD6561A0C}"/>
                  </a:ext>
                </a:extLst>
              </p:cNvPr>
              <p:cNvSpPr/>
              <p:nvPr/>
            </p:nvSpPr>
            <p:spPr>
              <a:xfrm>
                <a:off x="3957661" y="496518"/>
                <a:ext cx="252000" cy="252000"/>
              </a:xfrm>
              <a:prstGeom prst="ellipse">
                <a:avLst/>
              </a:prstGeom>
              <a:solidFill>
                <a:srgbClr val="2112A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8F2B72B9-973B-417B-8E1B-713276A02136}"/>
                  </a:ext>
                </a:extLst>
              </p:cNvPr>
              <p:cNvSpPr/>
              <p:nvPr/>
            </p:nvSpPr>
            <p:spPr>
              <a:xfrm>
                <a:off x="4280951" y="496518"/>
                <a:ext cx="252000" cy="252000"/>
              </a:xfrm>
              <a:prstGeom prst="ellipse">
                <a:avLst/>
              </a:prstGeom>
              <a:solidFill>
                <a:srgbClr val="3A07D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137CFFBA-E827-4843-8B7F-26250F2E2C6E}"/>
                  </a:ext>
                </a:extLst>
              </p:cNvPr>
              <p:cNvSpPr/>
              <p:nvPr/>
            </p:nvSpPr>
            <p:spPr>
              <a:xfrm>
                <a:off x="4604243" y="496518"/>
                <a:ext cx="252000" cy="252000"/>
              </a:xfrm>
              <a:prstGeom prst="ellipse">
                <a:avLst/>
              </a:prstGeom>
              <a:solidFill>
                <a:srgbClr val="1BD7D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8176509A-4369-442D-96CE-8D35979E5074}"/>
                  </a:ext>
                </a:extLst>
              </p:cNvPr>
              <p:cNvSpPr/>
              <p:nvPr/>
            </p:nvSpPr>
            <p:spPr>
              <a:xfrm>
                <a:off x="4927533" y="496518"/>
                <a:ext cx="252000" cy="252000"/>
              </a:xfrm>
              <a:prstGeom prst="ellipse">
                <a:avLst/>
              </a:prstGeom>
              <a:solidFill>
                <a:srgbClr val="B1C7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1D48014E-EC49-4416-B9EA-70C751C40E4F}"/>
                  </a:ext>
                </a:extLst>
              </p:cNvPr>
              <p:cNvSpPr/>
              <p:nvPr/>
            </p:nvSpPr>
            <p:spPr>
              <a:xfrm>
                <a:off x="5250824" y="496518"/>
                <a:ext cx="252000" cy="25200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0B828926-A81B-4A69-ABCD-9944546C2FE3}"/>
                  </a:ext>
                </a:extLst>
              </p:cNvPr>
              <p:cNvSpPr/>
              <p:nvPr userDrawn="1"/>
            </p:nvSpPr>
            <p:spPr>
              <a:xfrm>
                <a:off x="3634369" y="496518"/>
                <a:ext cx="252000" cy="252000"/>
              </a:xfrm>
              <a:prstGeom prst="ellipse">
                <a:avLst/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98A4553-662B-4155-85CC-1C5D2375215A}"/>
                  </a:ext>
                </a:extLst>
              </p:cNvPr>
              <p:cNvSpPr/>
              <p:nvPr userDrawn="1"/>
            </p:nvSpPr>
            <p:spPr>
              <a:xfrm>
                <a:off x="4604243" y="815350"/>
                <a:ext cx="252000" cy="252000"/>
              </a:xfrm>
              <a:prstGeom prst="ellipse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31108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bg2">
              <a:lumMod val="25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400" b="1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None/>
        <a:defRPr sz="10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4pPr>
      <a:lvl5pPr marL="719138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6">
          <p15:clr>
            <a:srgbClr val="F26B43"/>
          </p15:clr>
        </p15:guide>
        <p15:guide id="2" orient="horz" pos="4052">
          <p15:clr>
            <a:srgbClr val="F26B43"/>
          </p15:clr>
        </p15:guide>
        <p15:guide id="3" pos="276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808">
          <p15:clr>
            <a:srgbClr val="F26B43"/>
          </p15:clr>
        </p15:guide>
        <p15:guide id="6" orient="horz" pos="550">
          <p15:clr>
            <a:srgbClr val="F26B43"/>
          </p15:clr>
        </p15:guide>
        <p15:guide id="7" orient="horz" pos="3952">
          <p15:clr>
            <a:srgbClr val="F26B43"/>
          </p15:clr>
        </p15:guide>
        <p15:guide id="8" pos="3795">
          <p15:clr>
            <a:srgbClr val="F26B43"/>
          </p15:clr>
        </p15:guide>
        <p15:guide id="9" pos="388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www.justice.gov/criminal-fraud/foreign-corrupt-practices-act" TargetMode="Externa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9.png"/><Relationship Id="rId4" Type="http://schemas.microsoft.com/office/2007/relationships/hdphoto" Target="../media/hdphoto2.wdp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hyperlink" Target="https://www.gazeta.uz/ru/" TargetMode="External"/><Relationship Id="rId7" Type="http://schemas.openxmlformats.org/officeDocument/2006/relationships/image" Target="../media/image18.png"/><Relationship Id="rId2" Type="http://schemas.openxmlformats.org/officeDocument/2006/relationships/hyperlink" Target="https://kun.uz/ru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www.nytimes.com/section/world" TargetMode="External"/><Relationship Id="rId5" Type="http://schemas.openxmlformats.org/officeDocument/2006/relationships/hyperlink" Target="https://www.theguardian.com/international" TargetMode="External"/><Relationship Id="rId4" Type="http://schemas.openxmlformats.org/officeDocument/2006/relationships/hyperlink" Target="https://edition.cnn.com/" TargetMode="External"/><Relationship Id="rId9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9.png"/><Relationship Id="rId4" Type="http://schemas.microsoft.com/office/2007/relationships/hdphoto" Target="../media/hdphoto2.wdp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5.emf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microsoft.com/office/2007/relationships/hdphoto" Target="../media/hdphoto2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D99B428-DB08-4054-8B70-F1BEBC5A0D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8150" y="2744932"/>
            <a:ext cx="5454650" cy="1521626"/>
          </a:xfrm>
        </p:spPr>
        <p:txBody>
          <a:bodyPr>
            <a:noAutofit/>
          </a:bodyPr>
          <a:lstStyle/>
          <a:p>
            <a:r>
              <a:rPr lang="ru-RU" sz="3600" b="1" dirty="0"/>
              <a:t>Давлат </a:t>
            </a:r>
            <a:r>
              <a:rPr lang="ru-RU" sz="3600" b="1" dirty="0" err="1"/>
              <a:t>органлари</a:t>
            </a:r>
            <a:r>
              <a:rPr lang="ru-RU" sz="3600" b="1" dirty="0"/>
              <a:t> </a:t>
            </a:r>
            <a:r>
              <a:rPr lang="ru-RU" sz="3600" b="1" dirty="0" err="1"/>
              <a:t>ва</a:t>
            </a:r>
            <a:r>
              <a:rPr lang="ru-RU" sz="3600" b="1" dirty="0"/>
              <a:t> </a:t>
            </a:r>
            <a:r>
              <a:rPr lang="ru-RU" sz="3600" b="1" dirty="0" err="1"/>
              <a:t>муассасаларида</a:t>
            </a:r>
            <a:r>
              <a:rPr lang="ru-RU" sz="3600" b="1" dirty="0"/>
              <a:t> коррупцияга </a:t>
            </a:r>
            <a:r>
              <a:rPr lang="ru-RU" sz="3600" b="1" dirty="0" err="1"/>
              <a:t>қарши</a:t>
            </a:r>
            <a:r>
              <a:rPr lang="ru-RU" sz="3600" b="1" dirty="0"/>
              <a:t> </a:t>
            </a:r>
            <a:r>
              <a:rPr lang="ru-RU" sz="3600" b="1" dirty="0" err="1"/>
              <a:t>самарали</a:t>
            </a:r>
            <a:r>
              <a:rPr lang="ru-RU" sz="3600" b="1" dirty="0"/>
              <a:t> комплаенс </a:t>
            </a:r>
            <a:r>
              <a:rPr lang="ru-RU" sz="3600" b="1" dirty="0" err="1"/>
              <a:t>тизимларини</a:t>
            </a:r>
            <a:r>
              <a:rPr lang="ru-RU" sz="3600" b="1" dirty="0"/>
              <a:t> </a:t>
            </a:r>
            <a:r>
              <a:rPr lang="ru-RU" sz="3600" b="1" dirty="0" err="1"/>
              <a:t>яратиш</a:t>
            </a:r>
            <a:r>
              <a:rPr lang="ru-RU" sz="3600" b="1" dirty="0"/>
              <a:t> </a:t>
            </a:r>
            <a:r>
              <a:rPr lang="ru-RU" sz="3600" b="1" dirty="0" err="1"/>
              <a:t>ва</a:t>
            </a:r>
            <a:r>
              <a:rPr lang="ru-RU" sz="3600" b="1" dirty="0"/>
              <a:t> </a:t>
            </a:r>
            <a:r>
              <a:rPr lang="ru-RU" sz="3600" b="1" dirty="0" err="1"/>
              <a:t>жорий</a:t>
            </a:r>
            <a:r>
              <a:rPr lang="ru-RU" sz="3600" b="1" dirty="0"/>
              <a:t> </a:t>
            </a:r>
            <a:r>
              <a:rPr lang="ru-RU" sz="3600" b="1" dirty="0" err="1"/>
              <a:t>этиш</a:t>
            </a:r>
            <a:endParaRPr lang="en-US" sz="3600" b="1" dirty="0"/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1FB1BC05-F0E3-4BA3-94A5-E0210FA90BFB}"/>
              </a:ext>
            </a:extLst>
          </p:cNvPr>
          <p:cNvSpPr txBox="1">
            <a:spLocks/>
          </p:cNvSpPr>
          <p:nvPr/>
        </p:nvSpPr>
        <p:spPr>
          <a:xfrm>
            <a:off x="438150" y="6180314"/>
            <a:ext cx="5454650" cy="15216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0" kern="12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2000" dirty="0" err="1"/>
              <a:t>Ўқув</a:t>
            </a:r>
            <a:r>
              <a:rPr lang="ru-RU" sz="2000" dirty="0"/>
              <a:t> </a:t>
            </a:r>
            <a:r>
              <a:rPr lang="ru-RU" sz="2000" dirty="0" err="1"/>
              <a:t>дастури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3771318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7F47B3A-8C00-453D-8DA0-B964B6D727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200" dirty="0"/>
              <a:t>ISO 37001: 2016 “</a:t>
            </a:r>
            <a:r>
              <a:rPr lang="ru-RU" sz="2200" dirty="0" err="1"/>
              <a:t>Порахўрликка</a:t>
            </a:r>
            <a:r>
              <a:rPr lang="ru-RU" sz="2200" dirty="0"/>
              <a:t> </a:t>
            </a:r>
            <a:r>
              <a:rPr lang="ru-RU" sz="2200" dirty="0" err="1"/>
              <a:t>қарши</a:t>
            </a:r>
            <a:r>
              <a:rPr lang="ru-RU" sz="2200" dirty="0"/>
              <a:t> </a:t>
            </a:r>
            <a:r>
              <a:rPr lang="ru-RU" sz="2200" dirty="0" err="1"/>
              <a:t>бошқарув</a:t>
            </a:r>
            <a:r>
              <a:rPr lang="ru-RU" sz="2200" dirty="0"/>
              <a:t> </a:t>
            </a:r>
            <a:r>
              <a:rPr lang="ru-RU" sz="2200" dirty="0" err="1"/>
              <a:t>тизимлари</a:t>
            </a:r>
            <a:r>
              <a:rPr lang="ru-RU" sz="2200" dirty="0"/>
              <a:t>”: коррупцияга </a:t>
            </a:r>
            <a:r>
              <a:rPr lang="ru-RU" sz="2200" dirty="0" err="1"/>
              <a:t>қарши</a:t>
            </a:r>
            <a:r>
              <a:rPr lang="ru-RU" sz="2200" dirty="0"/>
              <a:t> </a:t>
            </a:r>
            <a:r>
              <a:rPr lang="ru-RU" sz="2200" dirty="0" err="1"/>
              <a:t>курашиш</a:t>
            </a:r>
            <a:r>
              <a:rPr lang="ru-RU" sz="2200" dirty="0"/>
              <a:t> </a:t>
            </a:r>
            <a:r>
              <a:rPr lang="ru-RU" sz="2200" dirty="0" err="1"/>
              <a:t>тизимини</a:t>
            </a:r>
            <a:r>
              <a:rPr lang="ru-RU" sz="2200" dirty="0"/>
              <a:t> мониторинг </a:t>
            </a:r>
            <a:r>
              <a:rPr lang="ru-RU" sz="2200" dirty="0" err="1"/>
              <a:t>ва</a:t>
            </a:r>
            <a:r>
              <a:rPr lang="ru-RU" sz="2200" dirty="0"/>
              <a:t> </a:t>
            </a:r>
            <a:r>
              <a:rPr lang="ru-RU" sz="2200" dirty="0" err="1"/>
              <a:t>назорат</a:t>
            </a:r>
            <a:r>
              <a:rPr lang="ru-RU" sz="2200" dirty="0"/>
              <a:t> </a:t>
            </a:r>
            <a:r>
              <a:rPr lang="ru-RU" sz="2200" dirty="0" err="1"/>
              <a:t>қилиш</a:t>
            </a:r>
            <a:r>
              <a:rPr lang="ru-RU" sz="2200" dirty="0"/>
              <a:t> </a:t>
            </a:r>
            <a:r>
              <a:rPr lang="ru-RU" dirty="0"/>
              <a:t>(4/4)</a:t>
            </a:r>
            <a:endParaRPr lang="en-US" dirty="0"/>
          </a:p>
        </p:txBody>
      </p:sp>
      <p:sp>
        <p:nvSpPr>
          <p:cNvPr id="9" name="object 15">
            <a:extLst>
              <a:ext uri="{FF2B5EF4-FFF2-40B4-BE49-F238E27FC236}">
                <a16:creationId xmlns:a16="http://schemas.microsoft.com/office/drawing/2014/main" id="{178210E6-2D2D-4DC7-A916-BC2AD019329E}"/>
              </a:ext>
            </a:extLst>
          </p:cNvPr>
          <p:cNvSpPr txBox="1"/>
          <p:nvPr/>
        </p:nvSpPr>
        <p:spPr>
          <a:xfrm>
            <a:off x="1271992" y="1808310"/>
            <a:ext cx="4752571" cy="1487226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Раҳбарият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томонидан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мониторинг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мақсади</a:t>
            </a:r>
            <a:endParaRPr lang="ru-RU" sz="1400" b="1" spc="-4" dirty="0">
              <a:solidFill>
                <a:schemeClr val="bg2">
                  <a:lumMod val="25000"/>
                </a:schemeClr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мплаенс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изими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uz-Cyrl-UZ" sz="1200" spc="-4" dirty="0">
                <a:solidFill>
                  <a:schemeClr val="tx2"/>
                </a:solidFill>
                <a:cs typeface="Arial" panose="020B0604020202020204" pitchFamily="34" charset="0"/>
              </a:rPr>
              <a:t>ўз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қсади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увофиқлик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ражас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ниқла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у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етарлилиг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доим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еракл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атижалар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эришиш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аҳола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.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Раҳбарият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омонид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мониторинг 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мплаенс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изим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тратегик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ошқариш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ежалаштир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учу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сосди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.</a:t>
            </a:r>
          </a:p>
        </p:txBody>
      </p:sp>
      <p:sp>
        <p:nvSpPr>
          <p:cNvPr id="18" name="object 15">
            <a:extLst>
              <a:ext uri="{FF2B5EF4-FFF2-40B4-BE49-F238E27FC236}">
                <a16:creationId xmlns:a16="http://schemas.microsoft.com/office/drawing/2014/main" id="{CF46208F-73A2-49A6-B96C-6F42913571E4}"/>
              </a:ext>
            </a:extLst>
          </p:cNvPr>
          <p:cNvSpPr txBox="1"/>
          <p:nvPr/>
        </p:nvSpPr>
        <p:spPr>
          <a:xfrm>
            <a:off x="1295104" y="3562465"/>
            <a:ext cx="4752571" cy="22534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Такрорланиши: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шкилот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омонид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ўрнатилади</a:t>
            </a:r>
            <a:endParaRPr lang="ru-RU"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9" name="object 12">
            <a:extLst>
              <a:ext uri="{FF2B5EF4-FFF2-40B4-BE49-F238E27FC236}">
                <a16:creationId xmlns:a16="http://schemas.microsoft.com/office/drawing/2014/main" id="{2C50CDFA-A19F-4901-9EAC-1F984F6658F5}"/>
              </a:ext>
            </a:extLst>
          </p:cNvPr>
          <p:cNvSpPr/>
          <p:nvPr/>
        </p:nvSpPr>
        <p:spPr>
          <a:xfrm>
            <a:off x="456832" y="331223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20" name="Group 379">
            <a:extLst>
              <a:ext uri="{FF2B5EF4-FFF2-40B4-BE49-F238E27FC236}">
                <a16:creationId xmlns:a16="http://schemas.microsoft.com/office/drawing/2014/main" id="{83B336E9-79E6-4D0E-9ED9-6983D0087EF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3080" y="3395072"/>
            <a:ext cx="590071" cy="596415"/>
            <a:chOff x="1156" y="3368"/>
            <a:chExt cx="279" cy="282"/>
          </a:xfrm>
          <a:solidFill>
            <a:schemeClr val="bg2">
              <a:lumMod val="25000"/>
            </a:schemeClr>
          </a:solidFill>
        </p:grpSpPr>
        <p:sp>
          <p:nvSpPr>
            <p:cNvPr id="21" name="Freeform 380">
              <a:extLst>
                <a:ext uri="{FF2B5EF4-FFF2-40B4-BE49-F238E27FC236}">
                  <a16:creationId xmlns:a16="http://schemas.microsoft.com/office/drawing/2014/main" id="{EA86A4C8-3066-4660-9FD9-21F8632E6E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69" y="3516"/>
              <a:ext cx="96" cy="93"/>
            </a:xfrm>
            <a:custGeom>
              <a:avLst/>
              <a:gdLst>
                <a:gd name="T0" fmla="*/ 2440 w 2899"/>
                <a:gd name="T1" fmla="*/ 437 h 2811"/>
                <a:gd name="T2" fmla="*/ 2262 w 2899"/>
                <a:gd name="T3" fmla="*/ 444 h 2811"/>
                <a:gd name="T4" fmla="*/ 2269 w 2899"/>
                <a:gd name="T5" fmla="*/ 621 h 2811"/>
                <a:gd name="T6" fmla="*/ 2341 w 2899"/>
                <a:gd name="T7" fmla="*/ 693 h 2811"/>
                <a:gd name="T8" fmla="*/ 2631 w 2899"/>
                <a:gd name="T9" fmla="*/ 1496 h 2811"/>
                <a:gd name="T10" fmla="*/ 2269 w 2899"/>
                <a:gd name="T11" fmla="*/ 2269 h 2811"/>
                <a:gd name="T12" fmla="*/ 694 w 2899"/>
                <a:gd name="T13" fmla="*/ 2197 h 2811"/>
                <a:gd name="T14" fmla="*/ 765 w 2899"/>
                <a:gd name="T15" fmla="*/ 622 h 2811"/>
                <a:gd name="T16" fmla="*/ 1835 w 2899"/>
                <a:gd name="T17" fmla="*/ 376 h 2811"/>
                <a:gd name="T18" fmla="*/ 1991 w 2899"/>
                <a:gd name="T19" fmla="*/ 292 h 2811"/>
                <a:gd name="T20" fmla="*/ 1906 w 2899"/>
                <a:gd name="T21" fmla="*/ 135 h 2811"/>
                <a:gd name="T22" fmla="*/ 596 w 2899"/>
                <a:gd name="T23" fmla="*/ 436 h 2811"/>
                <a:gd name="T24" fmla="*/ 508 w 2899"/>
                <a:gd name="T25" fmla="*/ 2366 h 2811"/>
                <a:gd name="T26" fmla="*/ 1518 w 2899"/>
                <a:gd name="T27" fmla="*/ 2811 h 2811"/>
                <a:gd name="T28" fmla="*/ 2439 w 2899"/>
                <a:gd name="T29" fmla="*/ 2454 h 2811"/>
                <a:gd name="T30" fmla="*/ 2882 w 2899"/>
                <a:gd name="T31" fmla="*/ 1507 h 2811"/>
                <a:gd name="T32" fmla="*/ 2526 w 2899"/>
                <a:gd name="T33" fmla="*/ 523 h 2811"/>
                <a:gd name="T34" fmla="*/ 2440 w 2899"/>
                <a:gd name="T35" fmla="*/ 437 h 2811"/>
                <a:gd name="T36" fmla="*/ 2440 w 2899"/>
                <a:gd name="T37" fmla="*/ 437 h 2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99" h="2811">
                  <a:moveTo>
                    <a:pt x="2440" y="437"/>
                  </a:moveTo>
                  <a:cubicBezTo>
                    <a:pt x="2389" y="390"/>
                    <a:pt x="2310" y="393"/>
                    <a:pt x="2262" y="444"/>
                  </a:cubicBezTo>
                  <a:cubicBezTo>
                    <a:pt x="2215" y="494"/>
                    <a:pt x="2218" y="574"/>
                    <a:pt x="2269" y="621"/>
                  </a:cubicBezTo>
                  <a:cubicBezTo>
                    <a:pt x="2294" y="645"/>
                    <a:pt x="2318" y="669"/>
                    <a:pt x="2341" y="693"/>
                  </a:cubicBezTo>
                  <a:cubicBezTo>
                    <a:pt x="2541" y="913"/>
                    <a:pt x="2645" y="1198"/>
                    <a:pt x="2631" y="1496"/>
                  </a:cubicBezTo>
                  <a:cubicBezTo>
                    <a:pt x="2618" y="1793"/>
                    <a:pt x="2489" y="2068"/>
                    <a:pt x="2269" y="2269"/>
                  </a:cubicBezTo>
                  <a:cubicBezTo>
                    <a:pt x="1815" y="2683"/>
                    <a:pt x="1108" y="2651"/>
                    <a:pt x="694" y="2197"/>
                  </a:cubicBezTo>
                  <a:cubicBezTo>
                    <a:pt x="279" y="1743"/>
                    <a:pt x="311" y="1037"/>
                    <a:pt x="765" y="622"/>
                  </a:cubicBezTo>
                  <a:cubicBezTo>
                    <a:pt x="1057" y="356"/>
                    <a:pt x="1456" y="264"/>
                    <a:pt x="1835" y="376"/>
                  </a:cubicBezTo>
                  <a:cubicBezTo>
                    <a:pt x="1901" y="396"/>
                    <a:pt x="1971" y="358"/>
                    <a:pt x="1991" y="292"/>
                  </a:cubicBezTo>
                  <a:cubicBezTo>
                    <a:pt x="2011" y="225"/>
                    <a:pt x="1973" y="155"/>
                    <a:pt x="1906" y="135"/>
                  </a:cubicBezTo>
                  <a:cubicBezTo>
                    <a:pt x="1450" y="0"/>
                    <a:pt x="947" y="115"/>
                    <a:pt x="596" y="436"/>
                  </a:cubicBezTo>
                  <a:cubicBezTo>
                    <a:pt x="39" y="944"/>
                    <a:pt x="0" y="1811"/>
                    <a:pt x="508" y="2366"/>
                  </a:cubicBezTo>
                  <a:cubicBezTo>
                    <a:pt x="777" y="2661"/>
                    <a:pt x="1147" y="2811"/>
                    <a:pt x="1518" y="2811"/>
                  </a:cubicBezTo>
                  <a:cubicBezTo>
                    <a:pt x="1847" y="2811"/>
                    <a:pt x="2177" y="2693"/>
                    <a:pt x="2439" y="2454"/>
                  </a:cubicBezTo>
                  <a:cubicBezTo>
                    <a:pt x="2708" y="2208"/>
                    <a:pt x="2866" y="1872"/>
                    <a:pt x="2882" y="1507"/>
                  </a:cubicBezTo>
                  <a:cubicBezTo>
                    <a:pt x="2899" y="1143"/>
                    <a:pt x="2772" y="793"/>
                    <a:pt x="2526" y="523"/>
                  </a:cubicBezTo>
                  <a:cubicBezTo>
                    <a:pt x="2498" y="493"/>
                    <a:pt x="2470" y="465"/>
                    <a:pt x="2440" y="437"/>
                  </a:cubicBezTo>
                  <a:close/>
                  <a:moveTo>
                    <a:pt x="2440" y="437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81">
              <a:extLst>
                <a:ext uri="{FF2B5EF4-FFF2-40B4-BE49-F238E27FC236}">
                  <a16:creationId xmlns:a16="http://schemas.microsoft.com/office/drawing/2014/main" id="{03EC7225-37C6-4E80-BD38-09B22C1FFF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5" y="3452"/>
              <a:ext cx="49" cy="49"/>
            </a:xfrm>
            <a:custGeom>
              <a:avLst/>
              <a:gdLst>
                <a:gd name="T0" fmla="*/ 882 w 1469"/>
                <a:gd name="T1" fmla="*/ 15 h 1469"/>
                <a:gd name="T2" fmla="*/ 734 w 1469"/>
                <a:gd name="T3" fmla="*/ 0 h 1469"/>
                <a:gd name="T4" fmla="*/ 586 w 1469"/>
                <a:gd name="T5" fmla="*/ 15 h 1469"/>
                <a:gd name="T6" fmla="*/ 0 w 1469"/>
                <a:gd name="T7" fmla="*/ 735 h 1469"/>
                <a:gd name="T8" fmla="*/ 734 w 1469"/>
                <a:gd name="T9" fmla="*/ 1469 h 1469"/>
                <a:gd name="T10" fmla="*/ 1469 w 1469"/>
                <a:gd name="T11" fmla="*/ 735 h 1469"/>
                <a:gd name="T12" fmla="*/ 882 w 1469"/>
                <a:gd name="T13" fmla="*/ 15 h 1469"/>
                <a:gd name="T14" fmla="*/ 734 w 1469"/>
                <a:gd name="T15" fmla="*/ 1218 h 1469"/>
                <a:gd name="T16" fmla="*/ 252 w 1469"/>
                <a:gd name="T17" fmla="*/ 735 h 1469"/>
                <a:gd name="T18" fmla="*/ 734 w 1469"/>
                <a:gd name="T19" fmla="*/ 252 h 1469"/>
                <a:gd name="T20" fmla="*/ 1217 w 1469"/>
                <a:gd name="T21" fmla="*/ 735 h 1469"/>
                <a:gd name="T22" fmla="*/ 734 w 1469"/>
                <a:gd name="T23" fmla="*/ 1218 h 1469"/>
                <a:gd name="T24" fmla="*/ 734 w 1469"/>
                <a:gd name="T25" fmla="*/ 1218 h 1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69" h="1469">
                  <a:moveTo>
                    <a:pt x="882" y="15"/>
                  </a:moveTo>
                  <a:cubicBezTo>
                    <a:pt x="834" y="6"/>
                    <a:pt x="785" y="0"/>
                    <a:pt x="734" y="0"/>
                  </a:cubicBezTo>
                  <a:cubicBezTo>
                    <a:pt x="684" y="0"/>
                    <a:pt x="634" y="6"/>
                    <a:pt x="586" y="15"/>
                  </a:cubicBezTo>
                  <a:cubicBezTo>
                    <a:pt x="252" y="84"/>
                    <a:pt x="0" y="380"/>
                    <a:pt x="0" y="735"/>
                  </a:cubicBezTo>
                  <a:cubicBezTo>
                    <a:pt x="0" y="1140"/>
                    <a:pt x="329" y="1469"/>
                    <a:pt x="734" y="1469"/>
                  </a:cubicBezTo>
                  <a:cubicBezTo>
                    <a:pt x="1139" y="1469"/>
                    <a:pt x="1469" y="1140"/>
                    <a:pt x="1469" y="735"/>
                  </a:cubicBezTo>
                  <a:cubicBezTo>
                    <a:pt x="1469" y="380"/>
                    <a:pt x="1217" y="84"/>
                    <a:pt x="882" y="15"/>
                  </a:cubicBezTo>
                  <a:close/>
                  <a:moveTo>
                    <a:pt x="734" y="1218"/>
                  </a:moveTo>
                  <a:cubicBezTo>
                    <a:pt x="468" y="1218"/>
                    <a:pt x="252" y="1001"/>
                    <a:pt x="252" y="735"/>
                  </a:cubicBezTo>
                  <a:cubicBezTo>
                    <a:pt x="252" y="468"/>
                    <a:pt x="468" y="252"/>
                    <a:pt x="734" y="252"/>
                  </a:cubicBezTo>
                  <a:cubicBezTo>
                    <a:pt x="1001" y="252"/>
                    <a:pt x="1217" y="468"/>
                    <a:pt x="1217" y="735"/>
                  </a:cubicBezTo>
                  <a:cubicBezTo>
                    <a:pt x="1217" y="1001"/>
                    <a:pt x="1001" y="1218"/>
                    <a:pt x="734" y="1218"/>
                  </a:cubicBezTo>
                  <a:close/>
                  <a:moveTo>
                    <a:pt x="734" y="121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82">
              <a:extLst>
                <a:ext uri="{FF2B5EF4-FFF2-40B4-BE49-F238E27FC236}">
                  <a16:creationId xmlns:a16="http://schemas.microsoft.com/office/drawing/2014/main" id="{BFEF5C99-A24E-46CC-8EE2-A909D6169D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6" y="3368"/>
              <a:ext cx="279" cy="282"/>
            </a:xfrm>
            <a:custGeom>
              <a:avLst/>
              <a:gdLst>
                <a:gd name="T0" fmla="*/ 7982 w 8433"/>
                <a:gd name="T1" fmla="*/ 1329 h 8517"/>
                <a:gd name="T2" fmla="*/ 6247 w 8433"/>
                <a:gd name="T3" fmla="*/ 251 h 8517"/>
                <a:gd name="T4" fmla="*/ 6247 w 8433"/>
                <a:gd name="T5" fmla="*/ 0 h 8517"/>
                <a:gd name="T6" fmla="*/ 3586 w 8433"/>
                <a:gd name="T7" fmla="*/ 1250 h 8517"/>
                <a:gd name="T8" fmla="*/ 2858 w 8433"/>
                <a:gd name="T9" fmla="*/ 733 h 8517"/>
                <a:gd name="T10" fmla="*/ 1598 w 8433"/>
                <a:gd name="T11" fmla="*/ 1359 h 8517"/>
                <a:gd name="T12" fmla="*/ 409 w 8433"/>
                <a:gd name="T13" fmla="*/ 1962 h 8517"/>
                <a:gd name="T14" fmla="*/ 367 w 8433"/>
                <a:gd name="T15" fmla="*/ 2583 h 8517"/>
                <a:gd name="T16" fmla="*/ 551 w 8433"/>
                <a:gd name="T17" fmla="*/ 3958 h 8517"/>
                <a:gd name="T18" fmla="*/ 516 w 8433"/>
                <a:gd name="T19" fmla="*/ 4839 h 8517"/>
                <a:gd name="T20" fmla="*/ 1850 w 8433"/>
                <a:gd name="T21" fmla="*/ 5256 h 8517"/>
                <a:gd name="T22" fmla="*/ 2324 w 8433"/>
                <a:gd name="T23" fmla="*/ 6117 h 8517"/>
                <a:gd name="T24" fmla="*/ 2951 w 8433"/>
                <a:gd name="T25" fmla="*/ 6767 h 8517"/>
                <a:gd name="T26" fmla="*/ 3237 w 8433"/>
                <a:gd name="T27" fmla="*/ 7901 h 8517"/>
                <a:gd name="T28" fmla="*/ 4132 w 8433"/>
                <a:gd name="T29" fmla="*/ 8097 h 8517"/>
                <a:gd name="T30" fmla="*/ 5413 w 8433"/>
                <a:gd name="T31" fmla="*/ 8419 h 8517"/>
                <a:gd name="T32" fmla="*/ 5916 w 8433"/>
                <a:gd name="T33" fmla="*/ 8022 h 8517"/>
                <a:gd name="T34" fmla="*/ 7049 w 8433"/>
                <a:gd name="T35" fmla="*/ 7345 h 8517"/>
                <a:gd name="T36" fmla="*/ 7124 w 8433"/>
                <a:gd name="T37" fmla="*/ 6708 h 8517"/>
                <a:gd name="T38" fmla="*/ 7188 w 8433"/>
                <a:gd name="T39" fmla="*/ 5307 h 8517"/>
                <a:gd name="T40" fmla="*/ 7074 w 8433"/>
                <a:gd name="T41" fmla="*/ 4397 h 8517"/>
                <a:gd name="T42" fmla="*/ 2350 w 8433"/>
                <a:gd name="T43" fmla="*/ 5557 h 8517"/>
                <a:gd name="T44" fmla="*/ 2012 w 8433"/>
                <a:gd name="T45" fmla="*/ 5045 h 8517"/>
                <a:gd name="T46" fmla="*/ 1147 w 8433"/>
                <a:gd name="T47" fmla="*/ 5114 h 8517"/>
                <a:gd name="T48" fmla="*/ 890 w 8433"/>
                <a:gd name="T49" fmla="*/ 4300 h 8517"/>
                <a:gd name="T50" fmla="*/ 367 w 8433"/>
                <a:gd name="T51" fmla="*/ 3707 h 8517"/>
                <a:gd name="T52" fmla="*/ 633 w 8433"/>
                <a:gd name="T53" fmla="*/ 2835 h 8517"/>
                <a:gd name="T54" fmla="*/ 694 w 8433"/>
                <a:gd name="T55" fmla="*/ 2044 h 8517"/>
                <a:gd name="T56" fmla="*/ 1311 w 8433"/>
                <a:gd name="T57" fmla="*/ 1427 h 8517"/>
                <a:gd name="T58" fmla="*/ 2101 w 8433"/>
                <a:gd name="T59" fmla="*/ 1342 h 8517"/>
                <a:gd name="T60" fmla="*/ 2974 w 8433"/>
                <a:gd name="T61" fmla="*/ 1100 h 8517"/>
                <a:gd name="T62" fmla="*/ 3602 w 8433"/>
                <a:gd name="T63" fmla="*/ 1590 h 8517"/>
                <a:gd name="T64" fmla="*/ 4132 w 8433"/>
                <a:gd name="T65" fmla="*/ 1632 h 8517"/>
                <a:gd name="T66" fmla="*/ 4328 w 8433"/>
                <a:gd name="T67" fmla="*/ 3795 h 8517"/>
                <a:gd name="T68" fmla="*/ 3874 w 8433"/>
                <a:gd name="T69" fmla="*/ 3271 h 8517"/>
                <a:gd name="T70" fmla="*/ 2830 w 8433"/>
                <a:gd name="T71" fmla="*/ 4575 h 8517"/>
                <a:gd name="T72" fmla="*/ 2743 w 8433"/>
                <a:gd name="T73" fmla="*/ 5104 h 8517"/>
                <a:gd name="T74" fmla="*/ 3535 w 8433"/>
                <a:gd name="T75" fmla="*/ 3697 h 8517"/>
                <a:gd name="T76" fmla="*/ 2537 w 8433"/>
                <a:gd name="T77" fmla="*/ 4356 h 8517"/>
                <a:gd name="T78" fmla="*/ 7177 w 8433"/>
                <a:gd name="T79" fmla="*/ 5558 h 8517"/>
                <a:gd name="T80" fmla="*/ 7136 w 8433"/>
                <a:gd name="T81" fmla="*/ 6457 h 8517"/>
                <a:gd name="T82" fmla="*/ 6583 w 8433"/>
                <a:gd name="T83" fmla="*/ 7045 h 8517"/>
                <a:gd name="T84" fmla="*/ 6273 w 8433"/>
                <a:gd name="T85" fmla="*/ 7861 h 8517"/>
                <a:gd name="T86" fmla="*/ 5764 w 8433"/>
                <a:gd name="T87" fmla="*/ 7615 h 8517"/>
                <a:gd name="T88" fmla="*/ 5243 w 8433"/>
                <a:gd name="T89" fmla="*/ 8233 h 8517"/>
                <a:gd name="T90" fmla="*/ 4396 w 8433"/>
                <a:gd name="T91" fmla="*/ 7824 h 8517"/>
                <a:gd name="T92" fmla="*/ 3595 w 8433"/>
                <a:gd name="T93" fmla="*/ 7739 h 8517"/>
                <a:gd name="T94" fmla="*/ 2987 w 8433"/>
                <a:gd name="T95" fmla="*/ 7074 h 8517"/>
                <a:gd name="T96" fmla="*/ 2959 w 8433"/>
                <a:gd name="T97" fmla="*/ 6267 h 8517"/>
                <a:gd name="T98" fmla="*/ 2605 w 8433"/>
                <a:gd name="T99" fmla="*/ 5472 h 8517"/>
                <a:gd name="T100" fmla="*/ 3110 w 8433"/>
                <a:gd name="T101" fmla="*/ 5281 h 8517"/>
                <a:gd name="T102" fmla="*/ 3070 w 8433"/>
                <a:gd name="T103" fmla="*/ 4479 h 8517"/>
                <a:gd name="T104" fmla="*/ 3766 w 8433"/>
                <a:gd name="T105" fmla="*/ 3960 h 8517"/>
                <a:gd name="T106" fmla="*/ 4575 w 8433"/>
                <a:gd name="T107" fmla="*/ 3899 h 8517"/>
                <a:gd name="T108" fmla="*/ 6646 w 8433"/>
                <a:gd name="T109" fmla="*/ 4336 h 8517"/>
                <a:gd name="T110" fmla="*/ 6697 w 8433"/>
                <a:gd name="T111" fmla="*/ 4906 h 8517"/>
                <a:gd name="T112" fmla="*/ 7177 w 8433"/>
                <a:gd name="T113" fmla="*/ 5558 h 8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433" h="8517">
                  <a:moveTo>
                    <a:pt x="8433" y="2186"/>
                  </a:moveTo>
                  <a:cubicBezTo>
                    <a:pt x="8433" y="1847"/>
                    <a:pt x="8357" y="1521"/>
                    <a:pt x="8207" y="1217"/>
                  </a:cubicBezTo>
                  <a:cubicBezTo>
                    <a:pt x="8177" y="1155"/>
                    <a:pt x="8101" y="1130"/>
                    <a:pt x="8039" y="1160"/>
                  </a:cubicBezTo>
                  <a:cubicBezTo>
                    <a:pt x="7977" y="1191"/>
                    <a:pt x="7951" y="1267"/>
                    <a:pt x="7982" y="1329"/>
                  </a:cubicBezTo>
                  <a:cubicBezTo>
                    <a:pt x="8115" y="1597"/>
                    <a:pt x="8182" y="1886"/>
                    <a:pt x="8182" y="2186"/>
                  </a:cubicBezTo>
                  <a:cubicBezTo>
                    <a:pt x="8182" y="3253"/>
                    <a:pt x="7314" y="4121"/>
                    <a:pt x="6247" y="4121"/>
                  </a:cubicBezTo>
                  <a:cubicBezTo>
                    <a:pt x="5180" y="4121"/>
                    <a:pt x="4312" y="3253"/>
                    <a:pt x="4312" y="2186"/>
                  </a:cubicBezTo>
                  <a:cubicBezTo>
                    <a:pt x="4312" y="1119"/>
                    <a:pt x="5180" y="251"/>
                    <a:pt x="6247" y="251"/>
                  </a:cubicBezTo>
                  <a:cubicBezTo>
                    <a:pt x="6781" y="251"/>
                    <a:pt x="7297" y="475"/>
                    <a:pt x="7661" y="866"/>
                  </a:cubicBezTo>
                  <a:cubicBezTo>
                    <a:pt x="7709" y="917"/>
                    <a:pt x="7788" y="919"/>
                    <a:pt x="7839" y="872"/>
                  </a:cubicBezTo>
                  <a:cubicBezTo>
                    <a:pt x="7890" y="825"/>
                    <a:pt x="7892" y="745"/>
                    <a:pt x="7845" y="694"/>
                  </a:cubicBezTo>
                  <a:cubicBezTo>
                    <a:pt x="7433" y="253"/>
                    <a:pt x="6851" y="0"/>
                    <a:pt x="6247" y="0"/>
                  </a:cubicBezTo>
                  <a:cubicBezTo>
                    <a:pt x="5332" y="0"/>
                    <a:pt x="4546" y="565"/>
                    <a:pt x="4221" y="1365"/>
                  </a:cubicBezTo>
                  <a:lnTo>
                    <a:pt x="4105" y="1249"/>
                  </a:lnTo>
                  <a:cubicBezTo>
                    <a:pt x="4036" y="1180"/>
                    <a:pt x="3944" y="1142"/>
                    <a:pt x="3846" y="1142"/>
                  </a:cubicBezTo>
                  <a:cubicBezTo>
                    <a:pt x="3747" y="1142"/>
                    <a:pt x="3655" y="1180"/>
                    <a:pt x="3586" y="1250"/>
                  </a:cubicBezTo>
                  <a:lnTo>
                    <a:pt x="3489" y="1347"/>
                  </a:lnTo>
                  <a:cubicBezTo>
                    <a:pt x="3404" y="1305"/>
                    <a:pt x="3316" y="1269"/>
                    <a:pt x="3225" y="1239"/>
                  </a:cubicBezTo>
                  <a:lnTo>
                    <a:pt x="3225" y="1100"/>
                  </a:lnTo>
                  <a:cubicBezTo>
                    <a:pt x="3225" y="898"/>
                    <a:pt x="3060" y="733"/>
                    <a:pt x="2858" y="733"/>
                  </a:cubicBezTo>
                  <a:lnTo>
                    <a:pt x="2217" y="733"/>
                  </a:lnTo>
                  <a:cubicBezTo>
                    <a:pt x="2015" y="733"/>
                    <a:pt x="1850" y="898"/>
                    <a:pt x="1850" y="1100"/>
                  </a:cubicBezTo>
                  <a:lnTo>
                    <a:pt x="1850" y="1251"/>
                  </a:lnTo>
                  <a:cubicBezTo>
                    <a:pt x="1764" y="1281"/>
                    <a:pt x="1680" y="1317"/>
                    <a:pt x="1598" y="1359"/>
                  </a:cubicBezTo>
                  <a:lnTo>
                    <a:pt x="1489" y="1249"/>
                  </a:lnTo>
                  <a:cubicBezTo>
                    <a:pt x="1346" y="1106"/>
                    <a:pt x="1113" y="1106"/>
                    <a:pt x="970" y="1249"/>
                  </a:cubicBezTo>
                  <a:lnTo>
                    <a:pt x="516" y="1703"/>
                  </a:lnTo>
                  <a:cubicBezTo>
                    <a:pt x="447" y="1772"/>
                    <a:pt x="409" y="1864"/>
                    <a:pt x="409" y="1962"/>
                  </a:cubicBezTo>
                  <a:cubicBezTo>
                    <a:pt x="409" y="2061"/>
                    <a:pt x="447" y="2153"/>
                    <a:pt x="516" y="2222"/>
                  </a:cubicBezTo>
                  <a:lnTo>
                    <a:pt x="637" y="2342"/>
                  </a:lnTo>
                  <a:cubicBezTo>
                    <a:pt x="599" y="2421"/>
                    <a:pt x="567" y="2501"/>
                    <a:pt x="540" y="2583"/>
                  </a:cubicBezTo>
                  <a:lnTo>
                    <a:pt x="367" y="2583"/>
                  </a:lnTo>
                  <a:cubicBezTo>
                    <a:pt x="164" y="2583"/>
                    <a:pt x="0" y="2748"/>
                    <a:pt x="0" y="2950"/>
                  </a:cubicBezTo>
                  <a:lnTo>
                    <a:pt x="0" y="3591"/>
                  </a:lnTo>
                  <a:cubicBezTo>
                    <a:pt x="0" y="3794"/>
                    <a:pt x="164" y="3958"/>
                    <a:pt x="367" y="3958"/>
                  </a:cubicBezTo>
                  <a:lnTo>
                    <a:pt x="551" y="3958"/>
                  </a:lnTo>
                  <a:cubicBezTo>
                    <a:pt x="579" y="4037"/>
                    <a:pt x="611" y="4113"/>
                    <a:pt x="648" y="4188"/>
                  </a:cubicBezTo>
                  <a:lnTo>
                    <a:pt x="516" y="4319"/>
                  </a:lnTo>
                  <a:cubicBezTo>
                    <a:pt x="447" y="4388"/>
                    <a:pt x="409" y="4481"/>
                    <a:pt x="409" y="4579"/>
                  </a:cubicBezTo>
                  <a:cubicBezTo>
                    <a:pt x="409" y="4677"/>
                    <a:pt x="447" y="4769"/>
                    <a:pt x="516" y="4839"/>
                  </a:cubicBezTo>
                  <a:lnTo>
                    <a:pt x="970" y="5292"/>
                  </a:lnTo>
                  <a:cubicBezTo>
                    <a:pt x="1113" y="5435"/>
                    <a:pt x="1346" y="5435"/>
                    <a:pt x="1489" y="5292"/>
                  </a:cubicBezTo>
                  <a:lnTo>
                    <a:pt x="1620" y="5160"/>
                  </a:lnTo>
                  <a:cubicBezTo>
                    <a:pt x="1695" y="5197"/>
                    <a:pt x="1771" y="5229"/>
                    <a:pt x="1850" y="5256"/>
                  </a:cubicBezTo>
                  <a:lnTo>
                    <a:pt x="1850" y="5442"/>
                  </a:lnTo>
                  <a:cubicBezTo>
                    <a:pt x="1850" y="5644"/>
                    <a:pt x="2015" y="5808"/>
                    <a:pt x="2217" y="5808"/>
                  </a:cubicBezTo>
                  <a:lnTo>
                    <a:pt x="2338" y="5808"/>
                  </a:lnTo>
                  <a:lnTo>
                    <a:pt x="2324" y="6117"/>
                  </a:lnTo>
                  <a:cubicBezTo>
                    <a:pt x="2320" y="6216"/>
                    <a:pt x="2354" y="6311"/>
                    <a:pt x="2421" y="6385"/>
                  </a:cubicBezTo>
                  <a:cubicBezTo>
                    <a:pt x="2489" y="6459"/>
                    <a:pt x="2581" y="6502"/>
                    <a:pt x="2680" y="6506"/>
                  </a:cubicBezTo>
                  <a:lnTo>
                    <a:pt x="2856" y="6514"/>
                  </a:lnTo>
                  <a:cubicBezTo>
                    <a:pt x="2883" y="6600"/>
                    <a:pt x="2914" y="6685"/>
                    <a:pt x="2951" y="6767"/>
                  </a:cubicBezTo>
                  <a:lnTo>
                    <a:pt x="2818" y="6888"/>
                  </a:lnTo>
                  <a:cubicBezTo>
                    <a:pt x="2744" y="6955"/>
                    <a:pt x="2702" y="7047"/>
                    <a:pt x="2697" y="7147"/>
                  </a:cubicBezTo>
                  <a:cubicBezTo>
                    <a:pt x="2693" y="7247"/>
                    <a:pt x="2727" y="7342"/>
                    <a:pt x="2794" y="7415"/>
                  </a:cubicBezTo>
                  <a:lnTo>
                    <a:pt x="3237" y="7901"/>
                  </a:lnTo>
                  <a:cubicBezTo>
                    <a:pt x="3376" y="8052"/>
                    <a:pt x="3612" y="8063"/>
                    <a:pt x="3764" y="7924"/>
                  </a:cubicBezTo>
                  <a:lnTo>
                    <a:pt x="3906" y="7795"/>
                  </a:lnTo>
                  <a:cubicBezTo>
                    <a:pt x="3981" y="7836"/>
                    <a:pt x="4060" y="7872"/>
                    <a:pt x="4141" y="7904"/>
                  </a:cubicBezTo>
                  <a:lnTo>
                    <a:pt x="4132" y="8097"/>
                  </a:lnTo>
                  <a:cubicBezTo>
                    <a:pt x="4123" y="8302"/>
                    <a:pt x="4283" y="8477"/>
                    <a:pt x="4488" y="8486"/>
                  </a:cubicBezTo>
                  <a:lnTo>
                    <a:pt x="5145" y="8516"/>
                  </a:lnTo>
                  <a:cubicBezTo>
                    <a:pt x="5150" y="8517"/>
                    <a:pt x="5156" y="8517"/>
                    <a:pt x="5162" y="8517"/>
                  </a:cubicBezTo>
                  <a:cubicBezTo>
                    <a:pt x="5255" y="8517"/>
                    <a:pt x="5343" y="8482"/>
                    <a:pt x="5413" y="8419"/>
                  </a:cubicBezTo>
                  <a:cubicBezTo>
                    <a:pt x="5486" y="8351"/>
                    <a:pt x="5529" y="8260"/>
                    <a:pt x="5534" y="8161"/>
                  </a:cubicBezTo>
                  <a:lnTo>
                    <a:pt x="5543" y="7968"/>
                  </a:lnTo>
                  <a:cubicBezTo>
                    <a:pt x="5626" y="7944"/>
                    <a:pt x="5707" y="7915"/>
                    <a:pt x="5787" y="7881"/>
                  </a:cubicBezTo>
                  <a:lnTo>
                    <a:pt x="5916" y="8022"/>
                  </a:lnTo>
                  <a:cubicBezTo>
                    <a:pt x="5983" y="8096"/>
                    <a:pt x="6075" y="8139"/>
                    <a:pt x="6175" y="8143"/>
                  </a:cubicBezTo>
                  <a:cubicBezTo>
                    <a:pt x="6274" y="8148"/>
                    <a:pt x="6369" y="8113"/>
                    <a:pt x="6443" y="8046"/>
                  </a:cubicBezTo>
                  <a:lnTo>
                    <a:pt x="6928" y="7603"/>
                  </a:lnTo>
                  <a:cubicBezTo>
                    <a:pt x="7002" y="7536"/>
                    <a:pt x="7045" y="7444"/>
                    <a:pt x="7049" y="7345"/>
                  </a:cubicBezTo>
                  <a:cubicBezTo>
                    <a:pt x="7054" y="7245"/>
                    <a:pt x="7019" y="7150"/>
                    <a:pt x="6952" y="7076"/>
                  </a:cubicBezTo>
                  <a:lnTo>
                    <a:pt x="6831" y="6944"/>
                  </a:lnTo>
                  <a:cubicBezTo>
                    <a:pt x="6875" y="6865"/>
                    <a:pt x="6914" y="6783"/>
                    <a:pt x="6948" y="6700"/>
                  </a:cubicBezTo>
                  <a:lnTo>
                    <a:pt x="7124" y="6708"/>
                  </a:lnTo>
                  <a:cubicBezTo>
                    <a:pt x="7223" y="6713"/>
                    <a:pt x="7319" y="6678"/>
                    <a:pt x="7392" y="6611"/>
                  </a:cubicBezTo>
                  <a:cubicBezTo>
                    <a:pt x="7466" y="6544"/>
                    <a:pt x="7509" y="6452"/>
                    <a:pt x="7514" y="6353"/>
                  </a:cubicBezTo>
                  <a:lnTo>
                    <a:pt x="7544" y="5696"/>
                  </a:lnTo>
                  <a:cubicBezTo>
                    <a:pt x="7553" y="5490"/>
                    <a:pt x="7394" y="5316"/>
                    <a:pt x="7188" y="5307"/>
                  </a:cubicBezTo>
                  <a:lnTo>
                    <a:pt x="7028" y="5299"/>
                  </a:lnTo>
                  <a:cubicBezTo>
                    <a:pt x="7003" y="5207"/>
                    <a:pt x="6971" y="5117"/>
                    <a:pt x="6934" y="5030"/>
                  </a:cubicBezTo>
                  <a:lnTo>
                    <a:pt x="7050" y="4924"/>
                  </a:lnTo>
                  <a:cubicBezTo>
                    <a:pt x="7202" y="4786"/>
                    <a:pt x="7212" y="4549"/>
                    <a:pt x="7074" y="4397"/>
                  </a:cubicBezTo>
                  <a:lnTo>
                    <a:pt x="6946" y="4258"/>
                  </a:lnTo>
                  <a:cubicBezTo>
                    <a:pt x="7810" y="3965"/>
                    <a:pt x="8433" y="3147"/>
                    <a:pt x="8433" y="2186"/>
                  </a:cubicBezTo>
                  <a:close/>
                  <a:moveTo>
                    <a:pt x="2354" y="5460"/>
                  </a:moveTo>
                  <a:lnTo>
                    <a:pt x="2350" y="5557"/>
                  </a:lnTo>
                  <a:lnTo>
                    <a:pt x="2217" y="5557"/>
                  </a:lnTo>
                  <a:cubicBezTo>
                    <a:pt x="2154" y="5557"/>
                    <a:pt x="2101" y="5504"/>
                    <a:pt x="2101" y="5442"/>
                  </a:cubicBezTo>
                  <a:lnTo>
                    <a:pt x="2101" y="5165"/>
                  </a:lnTo>
                  <a:cubicBezTo>
                    <a:pt x="2101" y="5110"/>
                    <a:pt x="2065" y="5061"/>
                    <a:pt x="2012" y="5045"/>
                  </a:cubicBezTo>
                  <a:cubicBezTo>
                    <a:pt x="1889" y="5008"/>
                    <a:pt x="1769" y="4958"/>
                    <a:pt x="1657" y="4896"/>
                  </a:cubicBezTo>
                  <a:cubicBezTo>
                    <a:pt x="1608" y="4869"/>
                    <a:pt x="1547" y="4878"/>
                    <a:pt x="1507" y="4917"/>
                  </a:cubicBezTo>
                  <a:lnTo>
                    <a:pt x="1311" y="5114"/>
                  </a:lnTo>
                  <a:cubicBezTo>
                    <a:pt x="1266" y="5159"/>
                    <a:pt x="1193" y="5159"/>
                    <a:pt x="1147" y="5114"/>
                  </a:cubicBezTo>
                  <a:lnTo>
                    <a:pt x="694" y="4661"/>
                  </a:lnTo>
                  <a:cubicBezTo>
                    <a:pt x="672" y="4639"/>
                    <a:pt x="660" y="4610"/>
                    <a:pt x="660" y="4579"/>
                  </a:cubicBezTo>
                  <a:cubicBezTo>
                    <a:pt x="660" y="4548"/>
                    <a:pt x="672" y="4519"/>
                    <a:pt x="694" y="4497"/>
                  </a:cubicBezTo>
                  <a:lnTo>
                    <a:pt x="890" y="4300"/>
                  </a:lnTo>
                  <a:cubicBezTo>
                    <a:pt x="930" y="4261"/>
                    <a:pt x="939" y="4200"/>
                    <a:pt x="912" y="4151"/>
                  </a:cubicBezTo>
                  <a:cubicBezTo>
                    <a:pt x="851" y="4039"/>
                    <a:pt x="800" y="3920"/>
                    <a:pt x="763" y="3796"/>
                  </a:cubicBezTo>
                  <a:cubicBezTo>
                    <a:pt x="747" y="3743"/>
                    <a:pt x="698" y="3707"/>
                    <a:pt x="643" y="3707"/>
                  </a:cubicBezTo>
                  <a:lnTo>
                    <a:pt x="367" y="3707"/>
                  </a:lnTo>
                  <a:cubicBezTo>
                    <a:pt x="303" y="3707"/>
                    <a:pt x="251" y="3655"/>
                    <a:pt x="251" y="3591"/>
                  </a:cubicBezTo>
                  <a:lnTo>
                    <a:pt x="251" y="2950"/>
                  </a:lnTo>
                  <a:cubicBezTo>
                    <a:pt x="251" y="2886"/>
                    <a:pt x="303" y="2835"/>
                    <a:pt x="367" y="2835"/>
                  </a:cubicBezTo>
                  <a:lnTo>
                    <a:pt x="633" y="2835"/>
                  </a:lnTo>
                  <a:cubicBezTo>
                    <a:pt x="689" y="2835"/>
                    <a:pt x="738" y="2797"/>
                    <a:pt x="754" y="2743"/>
                  </a:cubicBezTo>
                  <a:cubicBezTo>
                    <a:pt x="789" y="2617"/>
                    <a:pt x="839" y="2494"/>
                    <a:pt x="901" y="2377"/>
                  </a:cubicBezTo>
                  <a:cubicBezTo>
                    <a:pt x="927" y="2328"/>
                    <a:pt x="918" y="2268"/>
                    <a:pt x="879" y="2229"/>
                  </a:cubicBezTo>
                  <a:lnTo>
                    <a:pt x="694" y="2044"/>
                  </a:lnTo>
                  <a:cubicBezTo>
                    <a:pt x="672" y="2022"/>
                    <a:pt x="660" y="1993"/>
                    <a:pt x="660" y="1962"/>
                  </a:cubicBezTo>
                  <a:cubicBezTo>
                    <a:pt x="660" y="1931"/>
                    <a:pt x="672" y="1902"/>
                    <a:pt x="694" y="1881"/>
                  </a:cubicBezTo>
                  <a:lnTo>
                    <a:pt x="1148" y="1427"/>
                  </a:lnTo>
                  <a:cubicBezTo>
                    <a:pt x="1192" y="1382"/>
                    <a:pt x="1266" y="1382"/>
                    <a:pt x="1311" y="1427"/>
                  </a:cubicBezTo>
                  <a:lnTo>
                    <a:pt x="1486" y="1602"/>
                  </a:lnTo>
                  <a:cubicBezTo>
                    <a:pt x="1526" y="1642"/>
                    <a:pt x="1587" y="1650"/>
                    <a:pt x="1636" y="1623"/>
                  </a:cubicBezTo>
                  <a:cubicBezTo>
                    <a:pt x="1757" y="1555"/>
                    <a:pt x="1883" y="1501"/>
                    <a:pt x="2012" y="1463"/>
                  </a:cubicBezTo>
                  <a:cubicBezTo>
                    <a:pt x="2065" y="1447"/>
                    <a:pt x="2101" y="1398"/>
                    <a:pt x="2101" y="1342"/>
                  </a:cubicBezTo>
                  <a:lnTo>
                    <a:pt x="2101" y="1100"/>
                  </a:lnTo>
                  <a:cubicBezTo>
                    <a:pt x="2101" y="1036"/>
                    <a:pt x="2153" y="985"/>
                    <a:pt x="2217" y="985"/>
                  </a:cubicBezTo>
                  <a:lnTo>
                    <a:pt x="2858" y="985"/>
                  </a:lnTo>
                  <a:cubicBezTo>
                    <a:pt x="2921" y="985"/>
                    <a:pt x="2974" y="1037"/>
                    <a:pt x="2974" y="1100"/>
                  </a:cubicBezTo>
                  <a:lnTo>
                    <a:pt x="2974" y="1332"/>
                  </a:lnTo>
                  <a:cubicBezTo>
                    <a:pt x="2974" y="1388"/>
                    <a:pt x="3011" y="1437"/>
                    <a:pt x="3065" y="1453"/>
                  </a:cubicBezTo>
                  <a:cubicBezTo>
                    <a:pt x="3201" y="1491"/>
                    <a:pt x="3331" y="1545"/>
                    <a:pt x="3452" y="1611"/>
                  </a:cubicBezTo>
                  <a:cubicBezTo>
                    <a:pt x="3501" y="1638"/>
                    <a:pt x="3562" y="1630"/>
                    <a:pt x="3602" y="1590"/>
                  </a:cubicBezTo>
                  <a:lnTo>
                    <a:pt x="3764" y="1427"/>
                  </a:lnTo>
                  <a:cubicBezTo>
                    <a:pt x="3785" y="1406"/>
                    <a:pt x="3814" y="1394"/>
                    <a:pt x="3846" y="1394"/>
                  </a:cubicBezTo>
                  <a:cubicBezTo>
                    <a:pt x="3877" y="1394"/>
                    <a:pt x="3906" y="1406"/>
                    <a:pt x="3927" y="1427"/>
                  </a:cubicBezTo>
                  <a:lnTo>
                    <a:pt x="4132" y="1632"/>
                  </a:lnTo>
                  <a:cubicBezTo>
                    <a:pt x="4085" y="1809"/>
                    <a:pt x="4060" y="1995"/>
                    <a:pt x="4060" y="2186"/>
                  </a:cubicBezTo>
                  <a:cubicBezTo>
                    <a:pt x="4060" y="2640"/>
                    <a:pt x="4200" y="3062"/>
                    <a:pt x="4437" y="3412"/>
                  </a:cubicBezTo>
                  <a:cubicBezTo>
                    <a:pt x="4376" y="3476"/>
                    <a:pt x="4338" y="3561"/>
                    <a:pt x="4334" y="3653"/>
                  </a:cubicBezTo>
                  <a:lnTo>
                    <a:pt x="4328" y="3795"/>
                  </a:lnTo>
                  <a:cubicBezTo>
                    <a:pt x="4232" y="3823"/>
                    <a:pt x="4139" y="3857"/>
                    <a:pt x="4049" y="3897"/>
                  </a:cubicBezTo>
                  <a:lnTo>
                    <a:pt x="3952" y="3791"/>
                  </a:lnTo>
                  <a:cubicBezTo>
                    <a:pt x="3911" y="3746"/>
                    <a:pt x="3861" y="3713"/>
                    <a:pt x="3806" y="3692"/>
                  </a:cubicBezTo>
                  <a:cubicBezTo>
                    <a:pt x="3851" y="3557"/>
                    <a:pt x="3874" y="3416"/>
                    <a:pt x="3874" y="3271"/>
                  </a:cubicBezTo>
                  <a:cubicBezTo>
                    <a:pt x="3874" y="2534"/>
                    <a:pt x="3274" y="1934"/>
                    <a:pt x="2537" y="1934"/>
                  </a:cubicBezTo>
                  <a:cubicBezTo>
                    <a:pt x="1800" y="1934"/>
                    <a:pt x="1201" y="2534"/>
                    <a:pt x="1201" y="3271"/>
                  </a:cubicBezTo>
                  <a:cubicBezTo>
                    <a:pt x="1201" y="4007"/>
                    <a:pt x="1800" y="4607"/>
                    <a:pt x="2537" y="4607"/>
                  </a:cubicBezTo>
                  <a:cubicBezTo>
                    <a:pt x="2636" y="4607"/>
                    <a:pt x="2734" y="4596"/>
                    <a:pt x="2830" y="4575"/>
                  </a:cubicBezTo>
                  <a:cubicBezTo>
                    <a:pt x="2844" y="4635"/>
                    <a:pt x="2874" y="4690"/>
                    <a:pt x="2916" y="4736"/>
                  </a:cubicBezTo>
                  <a:lnTo>
                    <a:pt x="3022" y="4852"/>
                  </a:lnTo>
                  <a:cubicBezTo>
                    <a:pt x="2976" y="4936"/>
                    <a:pt x="2937" y="5023"/>
                    <a:pt x="2903" y="5112"/>
                  </a:cubicBezTo>
                  <a:lnTo>
                    <a:pt x="2743" y="5104"/>
                  </a:lnTo>
                  <a:cubicBezTo>
                    <a:pt x="2644" y="5100"/>
                    <a:pt x="2549" y="5135"/>
                    <a:pt x="2475" y="5202"/>
                  </a:cubicBezTo>
                  <a:cubicBezTo>
                    <a:pt x="2401" y="5269"/>
                    <a:pt x="2358" y="5361"/>
                    <a:pt x="2354" y="5460"/>
                  </a:cubicBezTo>
                  <a:close/>
                  <a:moveTo>
                    <a:pt x="3622" y="3271"/>
                  </a:moveTo>
                  <a:cubicBezTo>
                    <a:pt x="3622" y="3419"/>
                    <a:pt x="3593" y="3563"/>
                    <a:pt x="3535" y="3697"/>
                  </a:cubicBezTo>
                  <a:cubicBezTo>
                    <a:pt x="3495" y="3714"/>
                    <a:pt x="3458" y="3737"/>
                    <a:pt x="3425" y="3766"/>
                  </a:cubicBezTo>
                  <a:lnTo>
                    <a:pt x="2940" y="4210"/>
                  </a:lnTo>
                  <a:cubicBezTo>
                    <a:pt x="2909" y="4238"/>
                    <a:pt x="2884" y="4270"/>
                    <a:pt x="2865" y="4305"/>
                  </a:cubicBezTo>
                  <a:cubicBezTo>
                    <a:pt x="2759" y="4339"/>
                    <a:pt x="2649" y="4356"/>
                    <a:pt x="2537" y="4356"/>
                  </a:cubicBezTo>
                  <a:cubicBezTo>
                    <a:pt x="1939" y="4356"/>
                    <a:pt x="1452" y="3869"/>
                    <a:pt x="1452" y="3271"/>
                  </a:cubicBezTo>
                  <a:cubicBezTo>
                    <a:pt x="1452" y="2672"/>
                    <a:pt x="1939" y="2186"/>
                    <a:pt x="2537" y="2186"/>
                  </a:cubicBezTo>
                  <a:cubicBezTo>
                    <a:pt x="3136" y="2186"/>
                    <a:pt x="3622" y="2672"/>
                    <a:pt x="3622" y="3271"/>
                  </a:cubicBezTo>
                  <a:close/>
                  <a:moveTo>
                    <a:pt x="7177" y="5558"/>
                  </a:moveTo>
                  <a:cubicBezTo>
                    <a:pt x="7243" y="5561"/>
                    <a:pt x="7296" y="5619"/>
                    <a:pt x="7293" y="5684"/>
                  </a:cubicBezTo>
                  <a:lnTo>
                    <a:pt x="7263" y="6341"/>
                  </a:lnTo>
                  <a:cubicBezTo>
                    <a:pt x="7261" y="6373"/>
                    <a:pt x="7247" y="6403"/>
                    <a:pt x="7223" y="6425"/>
                  </a:cubicBezTo>
                  <a:cubicBezTo>
                    <a:pt x="7199" y="6447"/>
                    <a:pt x="7168" y="6458"/>
                    <a:pt x="7136" y="6457"/>
                  </a:cubicBezTo>
                  <a:lnTo>
                    <a:pt x="6869" y="6445"/>
                  </a:lnTo>
                  <a:cubicBezTo>
                    <a:pt x="6813" y="6442"/>
                    <a:pt x="6763" y="6476"/>
                    <a:pt x="6744" y="6528"/>
                  </a:cubicBezTo>
                  <a:cubicBezTo>
                    <a:pt x="6699" y="6655"/>
                    <a:pt x="6640" y="6778"/>
                    <a:pt x="6569" y="6894"/>
                  </a:cubicBezTo>
                  <a:cubicBezTo>
                    <a:pt x="6539" y="6942"/>
                    <a:pt x="6545" y="7003"/>
                    <a:pt x="6583" y="7045"/>
                  </a:cubicBezTo>
                  <a:lnTo>
                    <a:pt x="6766" y="7245"/>
                  </a:lnTo>
                  <a:cubicBezTo>
                    <a:pt x="6788" y="7269"/>
                    <a:pt x="6799" y="7301"/>
                    <a:pt x="6798" y="7333"/>
                  </a:cubicBezTo>
                  <a:cubicBezTo>
                    <a:pt x="6796" y="7366"/>
                    <a:pt x="6783" y="7396"/>
                    <a:pt x="6759" y="7417"/>
                  </a:cubicBezTo>
                  <a:lnTo>
                    <a:pt x="6273" y="7861"/>
                  </a:lnTo>
                  <a:cubicBezTo>
                    <a:pt x="6250" y="7882"/>
                    <a:pt x="6218" y="7893"/>
                    <a:pt x="6186" y="7892"/>
                  </a:cubicBezTo>
                  <a:cubicBezTo>
                    <a:pt x="6153" y="7890"/>
                    <a:pt x="6124" y="7877"/>
                    <a:pt x="6102" y="7853"/>
                  </a:cubicBezTo>
                  <a:lnTo>
                    <a:pt x="5911" y="7644"/>
                  </a:lnTo>
                  <a:cubicBezTo>
                    <a:pt x="5874" y="7603"/>
                    <a:pt x="5814" y="7591"/>
                    <a:pt x="5764" y="7615"/>
                  </a:cubicBezTo>
                  <a:cubicBezTo>
                    <a:pt x="5645" y="7672"/>
                    <a:pt x="5519" y="7717"/>
                    <a:pt x="5392" y="7748"/>
                  </a:cubicBezTo>
                  <a:cubicBezTo>
                    <a:pt x="5337" y="7761"/>
                    <a:pt x="5298" y="7808"/>
                    <a:pt x="5296" y="7864"/>
                  </a:cubicBezTo>
                  <a:lnTo>
                    <a:pt x="5283" y="8149"/>
                  </a:lnTo>
                  <a:cubicBezTo>
                    <a:pt x="5281" y="8181"/>
                    <a:pt x="5267" y="8211"/>
                    <a:pt x="5243" y="8233"/>
                  </a:cubicBezTo>
                  <a:cubicBezTo>
                    <a:pt x="5219" y="8255"/>
                    <a:pt x="5188" y="8267"/>
                    <a:pt x="5156" y="8265"/>
                  </a:cubicBezTo>
                  <a:lnTo>
                    <a:pt x="4499" y="8235"/>
                  </a:lnTo>
                  <a:cubicBezTo>
                    <a:pt x="4433" y="8232"/>
                    <a:pt x="4381" y="8174"/>
                    <a:pt x="4383" y="8108"/>
                  </a:cubicBezTo>
                  <a:lnTo>
                    <a:pt x="4396" y="7824"/>
                  </a:lnTo>
                  <a:cubicBezTo>
                    <a:pt x="4399" y="7768"/>
                    <a:pt x="4364" y="7717"/>
                    <a:pt x="4312" y="7699"/>
                  </a:cubicBezTo>
                  <a:cubicBezTo>
                    <a:pt x="4184" y="7655"/>
                    <a:pt x="4064" y="7599"/>
                    <a:pt x="3953" y="7533"/>
                  </a:cubicBezTo>
                  <a:cubicBezTo>
                    <a:pt x="3905" y="7504"/>
                    <a:pt x="3844" y="7510"/>
                    <a:pt x="3803" y="7548"/>
                  </a:cubicBezTo>
                  <a:lnTo>
                    <a:pt x="3595" y="7739"/>
                  </a:lnTo>
                  <a:cubicBezTo>
                    <a:pt x="3545" y="7784"/>
                    <a:pt x="3468" y="7780"/>
                    <a:pt x="3423" y="7731"/>
                  </a:cubicBezTo>
                  <a:lnTo>
                    <a:pt x="2980" y="7246"/>
                  </a:lnTo>
                  <a:cubicBezTo>
                    <a:pt x="2958" y="7222"/>
                    <a:pt x="2947" y="7191"/>
                    <a:pt x="2948" y="7158"/>
                  </a:cubicBezTo>
                  <a:cubicBezTo>
                    <a:pt x="2950" y="7126"/>
                    <a:pt x="2964" y="7096"/>
                    <a:pt x="2987" y="7074"/>
                  </a:cubicBezTo>
                  <a:lnTo>
                    <a:pt x="3189" y="6891"/>
                  </a:lnTo>
                  <a:cubicBezTo>
                    <a:pt x="3230" y="6853"/>
                    <a:pt x="3241" y="6792"/>
                    <a:pt x="3216" y="6742"/>
                  </a:cubicBezTo>
                  <a:cubicBezTo>
                    <a:pt x="3156" y="6621"/>
                    <a:pt x="3108" y="6493"/>
                    <a:pt x="3075" y="6361"/>
                  </a:cubicBezTo>
                  <a:cubicBezTo>
                    <a:pt x="3061" y="6308"/>
                    <a:pt x="3014" y="6270"/>
                    <a:pt x="2959" y="6267"/>
                  </a:cubicBezTo>
                  <a:lnTo>
                    <a:pt x="2691" y="6255"/>
                  </a:lnTo>
                  <a:cubicBezTo>
                    <a:pt x="2659" y="6254"/>
                    <a:pt x="2629" y="6240"/>
                    <a:pt x="2607" y="6215"/>
                  </a:cubicBezTo>
                  <a:cubicBezTo>
                    <a:pt x="2585" y="6191"/>
                    <a:pt x="2574" y="6160"/>
                    <a:pt x="2575" y="6128"/>
                  </a:cubicBezTo>
                  <a:lnTo>
                    <a:pt x="2605" y="5472"/>
                  </a:lnTo>
                  <a:cubicBezTo>
                    <a:pt x="2607" y="5439"/>
                    <a:pt x="2621" y="5409"/>
                    <a:pt x="2645" y="5387"/>
                  </a:cubicBezTo>
                  <a:cubicBezTo>
                    <a:pt x="2669" y="5365"/>
                    <a:pt x="2700" y="5354"/>
                    <a:pt x="2732" y="5355"/>
                  </a:cubicBezTo>
                  <a:lnTo>
                    <a:pt x="2985" y="5367"/>
                  </a:lnTo>
                  <a:cubicBezTo>
                    <a:pt x="3041" y="5370"/>
                    <a:pt x="3093" y="5334"/>
                    <a:pt x="3110" y="5281"/>
                  </a:cubicBezTo>
                  <a:cubicBezTo>
                    <a:pt x="3154" y="5148"/>
                    <a:pt x="3212" y="5020"/>
                    <a:pt x="3284" y="4899"/>
                  </a:cubicBezTo>
                  <a:cubicBezTo>
                    <a:pt x="3312" y="4852"/>
                    <a:pt x="3306" y="4791"/>
                    <a:pt x="3269" y="4750"/>
                  </a:cubicBezTo>
                  <a:lnTo>
                    <a:pt x="3102" y="4567"/>
                  </a:lnTo>
                  <a:cubicBezTo>
                    <a:pt x="3080" y="4543"/>
                    <a:pt x="3069" y="4512"/>
                    <a:pt x="3070" y="4479"/>
                  </a:cubicBezTo>
                  <a:cubicBezTo>
                    <a:pt x="3072" y="4447"/>
                    <a:pt x="3086" y="4417"/>
                    <a:pt x="3109" y="4395"/>
                  </a:cubicBezTo>
                  <a:lnTo>
                    <a:pt x="3595" y="3952"/>
                  </a:lnTo>
                  <a:cubicBezTo>
                    <a:pt x="3619" y="3930"/>
                    <a:pt x="3650" y="3919"/>
                    <a:pt x="3682" y="3921"/>
                  </a:cubicBezTo>
                  <a:cubicBezTo>
                    <a:pt x="3715" y="3922"/>
                    <a:pt x="3745" y="3936"/>
                    <a:pt x="3766" y="3960"/>
                  </a:cubicBezTo>
                  <a:lnTo>
                    <a:pt x="3926" y="4135"/>
                  </a:lnTo>
                  <a:cubicBezTo>
                    <a:pt x="3964" y="4177"/>
                    <a:pt x="4025" y="4188"/>
                    <a:pt x="4076" y="4163"/>
                  </a:cubicBezTo>
                  <a:cubicBezTo>
                    <a:pt x="4202" y="4100"/>
                    <a:pt x="4338" y="4050"/>
                    <a:pt x="4479" y="4015"/>
                  </a:cubicBezTo>
                  <a:cubicBezTo>
                    <a:pt x="4533" y="4002"/>
                    <a:pt x="4572" y="3954"/>
                    <a:pt x="4575" y="3899"/>
                  </a:cubicBezTo>
                  <a:lnTo>
                    <a:pt x="4585" y="3664"/>
                  </a:lnTo>
                  <a:cubicBezTo>
                    <a:pt x="4586" y="3648"/>
                    <a:pt x="4590" y="3633"/>
                    <a:pt x="4597" y="3619"/>
                  </a:cubicBezTo>
                  <a:cubicBezTo>
                    <a:pt x="4998" y="4080"/>
                    <a:pt x="5589" y="4372"/>
                    <a:pt x="6247" y="4372"/>
                  </a:cubicBezTo>
                  <a:cubicBezTo>
                    <a:pt x="6383" y="4372"/>
                    <a:pt x="6517" y="4360"/>
                    <a:pt x="6646" y="4336"/>
                  </a:cubicBezTo>
                  <a:cubicBezTo>
                    <a:pt x="6655" y="4334"/>
                    <a:pt x="6664" y="4333"/>
                    <a:pt x="6673" y="4331"/>
                  </a:cubicBezTo>
                  <a:lnTo>
                    <a:pt x="6888" y="4567"/>
                  </a:lnTo>
                  <a:cubicBezTo>
                    <a:pt x="6933" y="4616"/>
                    <a:pt x="6930" y="4694"/>
                    <a:pt x="6880" y="4739"/>
                  </a:cubicBezTo>
                  <a:lnTo>
                    <a:pt x="6697" y="4906"/>
                  </a:lnTo>
                  <a:cubicBezTo>
                    <a:pt x="6656" y="4943"/>
                    <a:pt x="6645" y="5003"/>
                    <a:pt x="6669" y="5053"/>
                  </a:cubicBezTo>
                  <a:cubicBezTo>
                    <a:pt x="6729" y="5178"/>
                    <a:pt x="6775" y="5311"/>
                    <a:pt x="6807" y="5449"/>
                  </a:cubicBezTo>
                  <a:cubicBezTo>
                    <a:pt x="6820" y="5504"/>
                    <a:pt x="6867" y="5544"/>
                    <a:pt x="6924" y="5547"/>
                  </a:cubicBezTo>
                  <a:lnTo>
                    <a:pt x="7177" y="5558"/>
                  </a:lnTo>
                  <a:close/>
                  <a:moveTo>
                    <a:pt x="7177" y="555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383">
              <a:extLst>
                <a:ext uri="{FF2B5EF4-FFF2-40B4-BE49-F238E27FC236}">
                  <a16:creationId xmlns:a16="http://schemas.microsoft.com/office/drawing/2014/main" id="{397A47FD-38C8-45AD-833C-CAF42E87BB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4" y="3538"/>
              <a:ext cx="50" cy="50"/>
            </a:xfrm>
            <a:custGeom>
              <a:avLst/>
              <a:gdLst>
                <a:gd name="T0" fmla="*/ 287 w 1507"/>
                <a:gd name="T1" fmla="*/ 174 h 1506"/>
                <a:gd name="T2" fmla="*/ 281 w 1507"/>
                <a:gd name="T3" fmla="*/ 179 h 1506"/>
                <a:gd name="T4" fmla="*/ 273 w 1507"/>
                <a:gd name="T5" fmla="*/ 186 h 1506"/>
                <a:gd name="T6" fmla="*/ 253 w 1507"/>
                <a:gd name="T7" fmla="*/ 204 h 1506"/>
                <a:gd name="T8" fmla="*/ 226 w 1507"/>
                <a:gd name="T9" fmla="*/ 230 h 1506"/>
                <a:gd name="T10" fmla="*/ 218 w 1507"/>
                <a:gd name="T11" fmla="*/ 237 h 1506"/>
                <a:gd name="T12" fmla="*/ 200 w 1507"/>
                <a:gd name="T13" fmla="*/ 257 h 1506"/>
                <a:gd name="T14" fmla="*/ 179 w 1507"/>
                <a:gd name="T15" fmla="*/ 281 h 1506"/>
                <a:gd name="T16" fmla="*/ 176 w 1507"/>
                <a:gd name="T17" fmla="*/ 285 h 1506"/>
                <a:gd name="T18" fmla="*/ 156 w 1507"/>
                <a:gd name="T19" fmla="*/ 311 h 1506"/>
                <a:gd name="T20" fmla="*/ 154 w 1507"/>
                <a:gd name="T21" fmla="*/ 314 h 1506"/>
                <a:gd name="T22" fmla="*/ 137 w 1507"/>
                <a:gd name="T23" fmla="*/ 337 h 1506"/>
                <a:gd name="T24" fmla="*/ 133 w 1507"/>
                <a:gd name="T25" fmla="*/ 344 h 1506"/>
                <a:gd name="T26" fmla="*/ 118 w 1507"/>
                <a:gd name="T27" fmla="*/ 366 h 1506"/>
                <a:gd name="T28" fmla="*/ 113 w 1507"/>
                <a:gd name="T29" fmla="*/ 375 h 1506"/>
                <a:gd name="T30" fmla="*/ 42 w 1507"/>
                <a:gd name="T31" fmla="*/ 535 h 1506"/>
                <a:gd name="T32" fmla="*/ 40 w 1507"/>
                <a:gd name="T33" fmla="*/ 541 h 1506"/>
                <a:gd name="T34" fmla="*/ 16 w 1507"/>
                <a:gd name="T35" fmla="*/ 648 h 1506"/>
                <a:gd name="T36" fmla="*/ 16 w 1507"/>
                <a:gd name="T37" fmla="*/ 649 h 1506"/>
                <a:gd name="T38" fmla="*/ 14 w 1507"/>
                <a:gd name="T39" fmla="*/ 665 h 1506"/>
                <a:gd name="T40" fmla="*/ 9 w 1507"/>
                <a:gd name="T41" fmla="*/ 723 h 1506"/>
                <a:gd name="T42" fmla="*/ 204 w 1507"/>
                <a:gd name="T43" fmla="*/ 1262 h 1506"/>
                <a:gd name="T44" fmla="*/ 759 w 1507"/>
                <a:gd name="T45" fmla="*/ 1506 h 1506"/>
                <a:gd name="T46" fmla="*/ 1263 w 1507"/>
                <a:gd name="T47" fmla="*/ 1311 h 1506"/>
                <a:gd name="T48" fmla="*/ 1291 w 1507"/>
                <a:gd name="T49" fmla="*/ 1284 h 1506"/>
                <a:gd name="T50" fmla="*/ 1507 w 1507"/>
                <a:gd name="T51" fmla="*/ 755 h 1506"/>
                <a:gd name="T52" fmla="*/ 1402 w 1507"/>
                <a:gd name="T53" fmla="*/ 374 h 1506"/>
                <a:gd name="T54" fmla="*/ 1311 w 1507"/>
                <a:gd name="T55" fmla="*/ 252 h 1506"/>
                <a:gd name="T56" fmla="*/ 792 w 1507"/>
                <a:gd name="T57" fmla="*/ 9 h 1506"/>
                <a:gd name="T58" fmla="*/ 287 w 1507"/>
                <a:gd name="T59" fmla="*/ 174 h 1506"/>
                <a:gd name="T60" fmla="*/ 1126 w 1507"/>
                <a:gd name="T61" fmla="*/ 421 h 1506"/>
                <a:gd name="T62" fmla="*/ 1094 w 1507"/>
                <a:gd name="T63" fmla="*/ 1125 h 1506"/>
                <a:gd name="T64" fmla="*/ 390 w 1507"/>
                <a:gd name="T65" fmla="*/ 1093 h 1506"/>
                <a:gd name="T66" fmla="*/ 261 w 1507"/>
                <a:gd name="T67" fmla="*/ 784 h 1506"/>
                <a:gd name="T68" fmla="*/ 260 w 1507"/>
                <a:gd name="T69" fmla="*/ 735 h 1506"/>
                <a:gd name="T70" fmla="*/ 422 w 1507"/>
                <a:gd name="T71" fmla="*/ 390 h 1506"/>
                <a:gd name="T72" fmla="*/ 422 w 1507"/>
                <a:gd name="T73" fmla="*/ 390 h 1506"/>
                <a:gd name="T74" fmla="*/ 758 w 1507"/>
                <a:gd name="T75" fmla="*/ 259 h 1506"/>
                <a:gd name="T76" fmla="*/ 781 w 1507"/>
                <a:gd name="T77" fmla="*/ 260 h 1506"/>
                <a:gd name="T78" fmla="*/ 1126 w 1507"/>
                <a:gd name="T79" fmla="*/ 421 h 1506"/>
                <a:gd name="T80" fmla="*/ 1126 w 1507"/>
                <a:gd name="T81" fmla="*/ 421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7" h="1506">
                  <a:moveTo>
                    <a:pt x="287" y="174"/>
                  </a:moveTo>
                  <a:cubicBezTo>
                    <a:pt x="285" y="176"/>
                    <a:pt x="283" y="178"/>
                    <a:pt x="281" y="179"/>
                  </a:cubicBezTo>
                  <a:cubicBezTo>
                    <a:pt x="278" y="182"/>
                    <a:pt x="276" y="184"/>
                    <a:pt x="273" y="186"/>
                  </a:cubicBezTo>
                  <a:cubicBezTo>
                    <a:pt x="266" y="192"/>
                    <a:pt x="260" y="198"/>
                    <a:pt x="253" y="204"/>
                  </a:cubicBezTo>
                  <a:cubicBezTo>
                    <a:pt x="244" y="212"/>
                    <a:pt x="235" y="221"/>
                    <a:pt x="226" y="230"/>
                  </a:cubicBezTo>
                  <a:cubicBezTo>
                    <a:pt x="223" y="232"/>
                    <a:pt x="221" y="235"/>
                    <a:pt x="218" y="237"/>
                  </a:cubicBezTo>
                  <a:cubicBezTo>
                    <a:pt x="212" y="244"/>
                    <a:pt x="206" y="250"/>
                    <a:pt x="200" y="257"/>
                  </a:cubicBezTo>
                  <a:cubicBezTo>
                    <a:pt x="193" y="265"/>
                    <a:pt x="186" y="273"/>
                    <a:pt x="179" y="281"/>
                  </a:cubicBezTo>
                  <a:cubicBezTo>
                    <a:pt x="178" y="282"/>
                    <a:pt x="177" y="283"/>
                    <a:pt x="176" y="285"/>
                  </a:cubicBezTo>
                  <a:cubicBezTo>
                    <a:pt x="169" y="293"/>
                    <a:pt x="162" y="302"/>
                    <a:pt x="156" y="311"/>
                  </a:cubicBezTo>
                  <a:cubicBezTo>
                    <a:pt x="155" y="312"/>
                    <a:pt x="154" y="313"/>
                    <a:pt x="154" y="314"/>
                  </a:cubicBezTo>
                  <a:cubicBezTo>
                    <a:pt x="148" y="322"/>
                    <a:pt x="143" y="329"/>
                    <a:pt x="137" y="337"/>
                  </a:cubicBezTo>
                  <a:cubicBezTo>
                    <a:pt x="136" y="339"/>
                    <a:pt x="134" y="342"/>
                    <a:pt x="133" y="344"/>
                  </a:cubicBezTo>
                  <a:cubicBezTo>
                    <a:pt x="128" y="351"/>
                    <a:pt x="123" y="359"/>
                    <a:pt x="118" y="366"/>
                  </a:cubicBezTo>
                  <a:cubicBezTo>
                    <a:pt x="117" y="369"/>
                    <a:pt x="115" y="372"/>
                    <a:pt x="113" y="375"/>
                  </a:cubicBezTo>
                  <a:cubicBezTo>
                    <a:pt x="83" y="425"/>
                    <a:pt x="59" y="479"/>
                    <a:pt x="42" y="535"/>
                  </a:cubicBezTo>
                  <a:cubicBezTo>
                    <a:pt x="41" y="537"/>
                    <a:pt x="41" y="539"/>
                    <a:pt x="40" y="541"/>
                  </a:cubicBezTo>
                  <a:cubicBezTo>
                    <a:pt x="30" y="576"/>
                    <a:pt x="22" y="612"/>
                    <a:pt x="16" y="648"/>
                  </a:cubicBezTo>
                  <a:cubicBezTo>
                    <a:pt x="16" y="648"/>
                    <a:pt x="16" y="649"/>
                    <a:pt x="16" y="649"/>
                  </a:cubicBezTo>
                  <a:cubicBezTo>
                    <a:pt x="15" y="654"/>
                    <a:pt x="15" y="660"/>
                    <a:pt x="14" y="665"/>
                  </a:cubicBezTo>
                  <a:cubicBezTo>
                    <a:pt x="12" y="684"/>
                    <a:pt x="10" y="704"/>
                    <a:pt x="9" y="723"/>
                  </a:cubicBezTo>
                  <a:cubicBezTo>
                    <a:pt x="0" y="923"/>
                    <a:pt x="69" y="1115"/>
                    <a:pt x="204" y="1262"/>
                  </a:cubicBezTo>
                  <a:cubicBezTo>
                    <a:pt x="352" y="1424"/>
                    <a:pt x="555" y="1506"/>
                    <a:pt x="759" y="1506"/>
                  </a:cubicBezTo>
                  <a:cubicBezTo>
                    <a:pt x="939" y="1506"/>
                    <a:pt x="1120" y="1442"/>
                    <a:pt x="1263" y="1311"/>
                  </a:cubicBezTo>
                  <a:cubicBezTo>
                    <a:pt x="1273" y="1302"/>
                    <a:pt x="1282" y="1293"/>
                    <a:pt x="1291" y="1284"/>
                  </a:cubicBezTo>
                  <a:cubicBezTo>
                    <a:pt x="1435" y="1139"/>
                    <a:pt x="1507" y="947"/>
                    <a:pt x="1507" y="755"/>
                  </a:cubicBezTo>
                  <a:cubicBezTo>
                    <a:pt x="1507" y="623"/>
                    <a:pt x="1472" y="491"/>
                    <a:pt x="1402" y="374"/>
                  </a:cubicBezTo>
                  <a:cubicBezTo>
                    <a:pt x="1376" y="331"/>
                    <a:pt x="1346" y="290"/>
                    <a:pt x="1311" y="252"/>
                  </a:cubicBezTo>
                  <a:cubicBezTo>
                    <a:pt x="1176" y="104"/>
                    <a:pt x="992" y="18"/>
                    <a:pt x="792" y="9"/>
                  </a:cubicBezTo>
                  <a:cubicBezTo>
                    <a:pt x="607" y="0"/>
                    <a:pt x="430" y="59"/>
                    <a:pt x="287" y="174"/>
                  </a:cubicBezTo>
                  <a:close/>
                  <a:moveTo>
                    <a:pt x="1126" y="421"/>
                  </a:moveTo>
                  <a:cubicBezTo>
                    <a:pt x="1311" y="624"/>
                    <a:pt x="1297" y="940"/>
                    <a:pt x="1094" y="1125"/>
                  </a:cubicBezTo>
                  <a:cubicBezTo>
                    <a:pt x="891" y="1310"/>
                    <a:pt x="575" y="1296"/>
                    <a:pt x="390" y="1093"/>
                  </a:cubicBezTo>
                  <a:cubicBezTo>
                    <a:pt x="312" y="1007"/>
                    <a:pt x="267" y="899"/>
                    <a:pt x="261" y="784"/>
                  </a:cubicBezTo>
                  <a:cubicBezTo>
                    <a:pt x="260" y="768"/>
                    <a:pt x="260" y="751"/>
                    <a:pt x="260" y="735"/>
                  </a:cubicBezTo>
                  <a:cubicBezTo>
                    <a:pt x="266" y="602"/>
                    <a:pt x="324" y="479"/>
                    <a:pt x="422" y="390"/>
                  </a:cubicBezTo>
                  <a:cubicBezTo>
                    <a:pt x="422" y="390"/>
                    <a:pt x="422" y="390"/>
                    <a:pt x="422" y="390"/>
                  </a:cubicBezTo>
                  <a:cubicBezTo>
                    <a:pt x="515" y="305"/>
                    <a:pt x="633" y="259"/>
                    <a:pt x="758" y="259"/>
                  </a:cubicBezTo>
                  <a:cubicBezTo>
                    <a:pt x="765" y="259"/>
                    <a:pt x="773" y="259"/>
                    <a:pt x="781" y="260"/>
                  </a:cubicBezTo>
                  <a:cubicBezTo>
                    <a:pt x="914" y="266"/>
                    <a:pt x="1036" y="323"/>
                    <a:pt x="1126" y="421"/>
                  </a:cubicBezTo>
                  <a:close/>
                  <a:moveTo>
                    <a:pt x="1126" y="42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84">
              <a:extLst>
                <a:ext uri="{FF2B5EF4-FFF2-40B4-BE49-F238E27FC236}">
                  <a16:creationId xmlns:a16="http://schemas.microsoft.com/office/drawing/2014/main" id="{CA790C22-041E-444E-B559-B6F8849D04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10" y="3388"/>
              <a:ext cx="105" cy="105"/>
            </a:xfrm>
            <a:custGeom>
              <a:avLst/>
              <a:gdLst>
                <a:gd name="T0" fmla="*/ 1583 w 3166"/>
                <a:gd name="T1" fmla="*/ 0 h 3166"/>
                <a:gd name="T2" fmla="*/ 0 w 3166"/>
                <a:gd name="T3" fmla="*/ 1583 h 3166"/>
                <a:gd name="T4" fmla="*/ 1583 w 3166"/>
                <a:gd name="T5" fmla="*/ 3166 h 3166"/>
                <a:gd name="T6" fmla="*/ 3166 w 3166"/>
                <a:gd name="T7" fmla="*/ 1583 h 3166"/>
                <a:gd name="T8" fmla="*/ 1583 w 3166"/>
                <a:gd name="T9" fmla="*/ 0 h 3166"/>
                <a:gd name="T10" fmla="*/ 2855 w 3166"/>
                <a:gd name="T11" fmla="*/ 1709 h 3166"/>
                <a:gd name="T12" fmla="*/ 2908 w 3166"/>
                <a:gd name="T13" fmla="*/ 1709 h 3166"/>
                <a:gd name="T14" fmla="*/ 1709 w 3166"/>
                <a:gd name="T15" fmla="*/ 2909 h 3166"/>
                <a:gd name="T16" fmla="*/ 1709 w 3166"/>
                <a:gd name="T17" fmla="*/ 2855 h 3166"/>
                <a:gd name="T18" fmla="*/ 1583 w 3166"/>
                <a:gd name="T19" fmla="*/ 2729 h 3166"/>
                <a:gd name="T20" fmla="*/ 1457 w 3166"/>
                <a:gd name="T21" fmla="*/ 2855 h 3166"/>
                <a:gd name="T22" fmla="*/ 1457 w 3166"/>
                <a:gd name="T23" fmla="*/ 2909 h 3166"/>
                <a:gd name="T24" fmla="*/ 258 w 3166"/>
                <a:gd name="T25" fmla="*/ 1709 h 3166"/>
                <a:gd name="T26" fmla="*/ 311 w 3166"/>
                <a:gd name="T27" fmla="*/ 1709 h 3166"/>
                <a:gd name="T28" fmla="*/ 437 w 3166"/>
                <a:gd name="T29" fmla="*/ 1583 h 3166"/>
                <a:gd name="T30" fmla="*/ 311 w 3166"/>
                <a:gd name="T31" fmla="*/ 1458 h 3166"/>
                <a:gd name="T32" fmla="*/ 258 w 3166"/>
                <a:gd name="T33" fmla="*/ 1458 h 3166"/>
                <a:gd name="T34" fmla="*/ 1457 w 3166"/>
                <a:gd name="T35" fmla="*/ 258 h 3166"/>
                <a:gd name="T36" fmla="*/ 1457 w 3166"/>
                <a:gd name="T37" fmla="*/ 312 h 3166"/>
                <a:gd name="T38" fmla="*/ 1583 w 3166"/>
                <a:gd name="T39" fmla="*/ 437 h 3166"/>
                <a:gd name="T40" fmla="*/ 1709 w 3166"/>
                <a:gd name="T41" fmla="*/ 312 h 3166"/>
                <a:gd name="T42" fmla="*/ 1709 w 3166"/>
                <a:gd name="T43" fmla="*/ 258 h 3166"/>
                <a:gd name="T44" fmla="*/ 2908 w 3166"/>
                <a:gd name="T45" fmla="*/ 1458 h 3166"/>
                <a:gd name="T46" fmla="*/ 2855 w 3166"/>
                <a:gd name="T47" fmla="*/ 1458 h 3166"/>
                <a:gd name="T48" fmla="*/ 2729 w 3166"/>
                <a:gd name="T49" fmla="*/ 1583 h 3166"/>
                <a:gd name="T50" fmla="*/ 2855 w 3166"/>
                <a:gd name="T51" fmla="*/ 1709 h 3166"/>
                <a:gd name="T52" fmla="*/ 2855 w 3166"/>
                <a:gd name="T53" fmla="*/ 1709 h 3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66" h="3166">
                  <a:moveTo>
                    <a:pt x="1583" y="0"/>
                  </a:moveTo>
                  <a:cubicBezTo>
                    <a:pt x="710" y="0"/>
                    <a:pt x="0" y="711"/>
                    <a:pt x="0" y="1583"/>
                  </a:cubicBezTo>
                  <a:cubicBezTo>
                    <a:pt x="0" y="2456"/>
                    <a:pt x="710" y="3166"/>
                    <a:pt x="1583" y="3166"/>
                  </a:cubicBezTo>
                  <a:cubicBezTo>
                    <a:pt x="2456" y="3166"/>
                    <a:pt x="3166" y="2456"/>
                    <a:pt x="3166" y="1583"/>
                  </a:cubicBezTo>
                  <a:cubicBezTo>
                    <a:pt x="3166" y="711"/>
                    <a:pt x="2456" y="0"/>
                    <a:pt x="1583" y="0"/>
                  </a:cubicBezTo>
                  <a:close/>
                  <a:moveTo>
                    <a:pt x="2855" y="1709"/>
                  </a:moveTo>
                  <a:lnTo>
                    <a:pt x="2908" y="1709"/>
                  </a:lnTo>
                  <a:cubicBezTo>
                    <a:pt x="2848" y="2343"/>
                    <a:pt x="2343" y="2849"/>
                    <a:pt x="1709" y="2909"/>
                  </a:cubicBezTo>
                  <a:lnTo>
                    <a:pt x="1709" y="2855"/>
                  </a:lnTo>
                  <a:cubicBezTo>
                    <a:pt x="1709" y="2786"/>
                    <a:pt x="1652" y="2729"/>
                    <a:pt x="1583" y="2729"/>
                  </a:cubicBezTo>
                  <a:cubicBezTo>
                    <a:pt x="1513" y="2729"/>
                    <a:pt x="1457" y="2786"/>
                    <a:pt x="1457" y="2855"/>
                  </a:cubicBezTo>
                  <a:lnTo>
                    <a:pt x="1457" y="2909"/>
                  </a:lnTo>
                  <a:cubicBezTo>
                    <a:pt x="823" y="2849"/>
                    <a:pt x="317" y="2343"/>
                    <a:pt x="258" y="1709"/>
                  </a:cubicBezTo>
                  <a:lnTo>
                    <a:pt x="311" y="1709"/>
                  </a:lnTo>
                  <a:cubicBezTo>
                    <a:pt x="381" y="1709"/>
                    <a:pt x="437" y="1653"/>
                    <a:pt x="437" y="1583"/>
                  </a:cubicBezTo>
                  <a:cubicBezTo>
                    <a:pt x="437" y="1514"/>
                    <a:pt x="381" y="1458"/>
                    <a:pt x="311" y="1458"/>
                  </a:cubicBezTo>
                  <a:lnTo>
                    <a:pt x="258" y="1458"/>
                  </a:lnTo>
                  <a:cubicBezTo>
                    <a:pt x="317" y="824"/>
                    <a:pt x="823" y="317"/>
                    <a:pt x="1457" y="258"/>
                  </a:cubicBezTo>
                  <a:lnTo>
                    <a:pt x="1457" y="312"/>
                  </a:lnTo>
                  <a:cubicBezTo>
                    <a:pt x="1457" y="381"/>
                    <a:pt x="1513" y="437"/>
                    <a:pt x="1583" y="437"/>
                  </a:cubicBezTo>
                  <a:cubicBezTo>
                    <a:pt x="1652" y="437"/>
                    <a:pt x="1709" y="381"/>
                    <a:pt x="1709" y="312"/>
                  </a:cubicBezTo>
                  <a:lnTo>
                    <a:pt x="1709" y="258"/>
                  </a:lnTo>
                  <a:cubicBezTo>
                    <a:pt x="2343" y="317"/>
                    <a:pt x="2848" y="824"/>
                    <a:pt x="2908" y="1458"/>
                  </a:cubicBezTo>
                  <a:lnTo>
                    <a:pt x="2855" y="1458"/>
                  </a:lnTo>
                  <a:cubicBezTo>
                    <a:pt x="2785" y="1458"/>
                    <a:pt x="2729" y="1514"/>
                    <a:pt x="2729" y="1583"/>
                  </a:cubicBezTo>
                  <a:cubicBezTo>
                    <a:pt x="2729" y="1653"/>
                    <a:pt x="2785" y="1709"/>
                    <a:pt x="2855" y="1709"/>
                  </a:cubicBezTo>
                  <a:close/>
                  <a:moveTo>
                    <a:pt x="2855" y="170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385">
              <a:extLst>
                <a:ext uri="{FF2B5EF4-FFF2-40B4-BE49-F238E27FC236}">
                  <a16:creationId xmlns:a16="http://schemas.microsoft.com/office/drawing/2014/main" id="{C9340AB7-7446-448E-94B1-66C5E4C622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4" y="3416"/>
              <a:ext cx="23" cy="36"/>
            </a:xfrm>
            <a:custGeom>
              <a:avLst/>
              <a:gdLst>
                <a:gd name="T0" fmla="*/ 543 w 669"/>
                <a:gd name="T1" fmla="*/ 0 h 1086"/>
                <a:gd name="T2" fmla="*/ 417 w 669"/>
                <a:gd name="T3" fmla="*/ 125 h 1086"/>
                <a:gd name="T4" fmla="*/ 417 w 669"/>
                <a:gd name="T5" fmla="*/ 834 h 1086"/>
                <a:gd name="T6" fmla="*/ 126 w 669"/>
                <a:gd name="T7" fmla="*/ 834 h 1086"/>
                <a:gd name="T8" fmla="*/ 0 w 669"/>
                <a:gd name="T9" fmla="*/ 960 h 1086"/>
                <a:gd name="T10" fmla="*/ 126 w 669"/>
                <a:gd name="T11" fmla="*/ 1086 h 1086"/>
                <a:gd name="T12" fmla="*/ 543 w 669"/>
                <a:gd name="T13" fmla="*/ 1086 h 1086"/>
                <a:gd name="T14" fmla="*/ 669 w 669"/>
                <a:gd name="T15" fmla="*/ 960 h 1086"/>
                <a:gd name="T16" fmla="*/ 669 w 669"/>
                <a:gd name="T17" fmla="*/ 125 h 1086"/>
                <a:gd name="T18" fmla="*/ 543 w 669"/>
                <a:gd name="T19" fmla="*/ 0 h 1086"/>
                <a:gd name="T20" fmla="*/ 543 w 669"/>
                <a:gd name="T21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9" h="1086">
                  <a:moveTo>
                    <a:pt x="543" y="0"/>
                  </a:moveTo>
                  <a:cubicBezTo>
                    <a:pt x="473" y="0"/>
                    <a:pt x="417" y="56"/>
                    <a:pt x="417" y="125"/>
                  </a:cubicBezTo>
                  <a:lnTo>
                    <a:pt x="417" y="834"/>
                  </a:lnTo>
                  <a:lnTo>
                    <a:pt x="126" y="834"/>
                  </a:lnTo>
                  <a:cubicBezTo>
                    <a:pt x="56" y="834"/>
                    <a:pt x="0" y="891"/>
                    <a:pt x="0" y="960"/>
                  </a:cubicBezTo>
                  <a:cubicBezTo>
                    <a:pt x="0" y="1029"/>
                    <a:pt x="56" y="1086"/>
                    <a:pt x="126" y="1086"/>
                  </a:cubicBezTo>
                  <a:lnTo>
                    <a:pt x="543" y="1086"/>
                  </a:lnTo>
                  <a:cubicBezTo>
                    <a:pt x="612" y="1086"/>
                    <a:pt x="669" y="1029"/>
                    <a:pt x="669" y="960"/>
                  </a:cubicBezTo>
                  <a:lnTo>
                    <a:pt x="669" y="125"/>
                  </a:lnTo>
                  <a:cubicBezTo>
                    <a:pt x="669" y="56"/>
                    <a:pt x="612" y="0"/>
                    <a:pt x="543" y="0"/>
                  </a:cubicBezTo>
                  <a:close/>
                  <a:moveTo>
                    <a:pt x="543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7" name="object 15">
            <a:extLst>
              <a:ext uri="{FF2B5EF4-FFF2-40B4-BE49-F238E27FC236}">
                <a16:creationId xmlns:a16="http://schemas.microsoft.com/office/drawing/2014/main" id="{0BA36D9B-5360-4ECB-8896-306FA81E98F0}"/>
              </a:ext>
            </a:extLst>
          </p:cNvPr>
          <p:cNvSpPr txBox="1"/>
          <p:nvPr/>
        </p:nvSpPr>
        <p:spPr>
          <a:xfrm>
            <a:off x="1271992" y="4183986"/>
            <a:ext cx="4752571" cy="2015576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500"/>
              </a:spcAft>
            </a:pP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Раҳбарият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томонидан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мониторинг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хусусиятлари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</a:t>
            </a:r>
          </a:p>
          <a:p>
            <a:pPr marL="10319">
              <a:spcAft>
                <a:spcPts val="500"/>
              </a:spcAft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шкилот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аҳбарият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омонид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мплаенс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изими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врий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мониторинги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исоботлар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ўриб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чиқ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йўл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ил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ёк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аҳбарият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евосит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мплаенс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инмад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ёк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ошқ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имд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ўра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ёк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ли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умки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ошқ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ълумот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соси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мал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ширилад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.</a:t>
            </a:r>
          </a:p>
          <a:p>
            <a:pPr marL="10319">
              <a:spcAft>
                <a:spcPts val="500"/>
              </a:spcAft>
            </a:pP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Раҳбарият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томонидан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 комплаенс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тизимининг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мониторинги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тўғрисидаги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маълумотлар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ташкилотда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ҳужжатлаштирилган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шаклда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сақланиши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керак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(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масалан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,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ташкилот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раҳбарияти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ва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комплаенс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бўлима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бошлиғи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йиғилишлари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баённомасида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).</a:t>
            </a:r>
          </a:p>
        </p:txBody>
      </p:sp>
      <p:sp>
        <p:nvSpPr>
          <p:cNvPr id="28" name="object 12">
            <a:extLst>
              <a:ext uri="{FF2B5EF4-FFF2-40B4-BE49-F238E27FC236}">
                <a16:creationId xmlns:a16="http://schemas.microsoft.com/office/drawing/2014/main" id="{8CF6FA78-0900-40BA-B84D-034947A0A373}"/>
              </a:ext>
            </a:extLst>
          </p:cNvPr>
          <p:cNvSpPr/>
          <p:nvPr/>
        </p:nvSpPr>
        <p:spPr>
          <a:xfrm>
            <a:off x="456832" y="4203482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29" name="Group 248">
            <a:extLst>
              <a:ext uri="{FF2B5EF4-FFF2-40B4-BE49-F238E27FC236}">
                <a16:creationId xmlns:a16="http://schemas.microsoft.com/office/drawing/2014/main" id="{88D851C2-CFE6-445D-8228-C1C41DB27F7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6153" y="4293424"/>
            <a:ext cx="584897" cy="530671"/>
            <a:chOff x="1780" y="300"/>
            <a:chExt cx="4088" cy="3709"/>
          </a:xfrm>
          <a:solidFill>
            <a:schemeClr val="bg2">
              <a:lumMod val="25000"/>
            </a:schemeClr>
          </a:solidFill>
        </p:grpSpPr>
        <p:sp>
          <p:nvSpPr>
            <p:cNvPr id="30" name="Freeform 249">
              <a:extLst>
                <a:ext uri="{FF2B5EF4-FFF2-40B4-BE49-F238E27FC236}">
                  <a16:creationId xmlns:a16="http://schemas.microsoft.com/office/drawing/2014/main" id="{6F291AC1-6BF1-47A6-BE4C-8AF3E8D121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0" y="300"/>
              <a:ext cx="4088" cy="3709"/>
            </a:xfrm>
            <a:custGeom>
              <a:avLst/>
              <a:gdLst>
                <a:gd name="T0" fmla="*/ 7231 w 8517"/>
                <a:gd name="T1" fmla="*/ 2632 h 7729"/>
                <a:gd name="T2" fmla="*/ 5932 w 8517"/>
                <a:gd name="T3" fmla="*/ 1311 h 7729"/>
                <a:gd name="T4" fmla="*/ 4661 w 8517"/>
                <a:gd name="T5" fmla="*/ 0 h 7729"/>
                <a:gd name="T6" fmla="*/ 2630 w 8517"/>
                <a:gd name="T7" fmla="*/ 1317 h 7729"/>
                <a:gd name="T8" fmla="*/ 941 w 8517"/>
                <a:gd name="T9" fmla="*/ 2243 h 7729"/>
                <a:gd name="T10" fmla="*/ 480 w 8517"/>
                <a:gd name="T11" fmla="*/ 3397 h 7729"/>
                <a:gd name="T12" fmla="*/ 1042 w 8517"/>
                <a:gd name="T13" fmla="*/ 5238 h 7729"/>
                <a:gd name="T14" fmla="*/ 1532 w 8517"/>
                <a:gd name="T15" fmla="*/ 7555 h 7729"/>
                <a:gd name="T16" fmla="*/ 2332 w 8517"/>
                <a:gd name="T17" fmla="*/ 6226 h 7729"/>
                <a:gd name="T18" fmla="*/ 2776 w 8517"/>
                <a:gd name="T19" fmla="*/ 7229 h 7729"/>
                <a:gd name="T20" fmla="*/ 3633 w 8517"/>
                <a:gd name="T21" fmla="*/ 7233 h 7729"/>
                <a:gd name="T22" fmla="*/ 4081 w 8517"/>
                <a:gd name="T23" fmla="*/ 6226 h 7729"/>
                <a:gd name="T24" fmla="*/ 4546 w 8517"/>
                <a:gd name="T25" fmla="*/ 7605 h 7729"/>
                <a:gd name="T26" fmla="*/ 4747 w 8517"/>
                <a:gd name="T27" fmla="*/ 6576 h 7729"/>
                <a:gd name="T28" fmla="*/ 5191 w 8517"/>
                <a:gd name="T29" fmla="*/ 7198 h 7729"/>
                <a:gd name="T30" fmla="*/ 5661 w 8517"/>
                <a:gd name="T31" fmla="*/ 7610 h 7729"/>
                <a:gd name="T32" fmla="*/ 6076 w 8517"/>
                <a:gd name="T33" fmla="*/ 6435 h 7729"/>
                <a:gd name="T34" fmla="*/ 6658 w 8517"/>
                <a:gd name="T35" fmla="*/ 7599 h 7729"/>
                <a:gd name="T36" fmla="*/ 7540 w 8517"/>
                <a:gd name="T37" fmla="*/ 6322 h 7729"/>
                <a:gd name="T38" fmla="*/ 8029 w 8517"/>
                <a:gd name="T39" fmla="*/ 5179 h 7729"/>
                <a:gd name="T40" fmla="*/ 3016 w 8517"/>
                <a:gd name="T41" fmla="*/ 3937 h 7729"/>
                <a:gd name="T42" fmla="*/ 3475 w 8517"/>
                <a:gd name="T43" fmla="*/ 3641 h 7729"/>
                <a:gd name="T44" fmla="*/ 3784 w 8517"/>
                <a:gd name="T45" fmla="*/ 4446 h 7729"/>
                <a:gd name="T46" fmla="*/ 2750 w 8517"/>
                <a:gd name="T47" fmla="*/ 5038 h 7729"/>
                <a:gd name="T48" fmla="*/ 2972 w 8517"/>
                <a:gd name="T49" fmla="*/ 5611 h 7729"/>
                <a:gd name="T50" fmla="*/ 3491 w 8517"/>
                <a:gd name="T51" fmla="*/ 5842 h 7729"/>
                <a:gd name="T52" fmla="*/ 3403 w 8517"/>
                <a:gd name="T53" fmla="*/ 7111 h 7729"/>
                <a:gd name="T54" fmla="*/ 5141 w 8517"/>
                <a:gd name="T55" fmla="*/ 4717 h 7729"/>
                <a:gd name="T56" fmla="*/ 6031 w 8517"/>
                <a:gd name="T57" fmla="*/ 4794 h 7729"/>
                <a:gd name="T58" fmla="*/ 5944 w 8517"/>
                <a:gd name="T59" fmla="*/ 5500 h 7729"/>
                <a:gd name="T60" fmla="*/ 5141 w 8517"/>
                <a:gd name="T61" fmla="*/ 4998 h 7729"/>
                <a:gd name="T62" fmla="*/ 5586 w 8517"/>
                <a:gd name="T63" fmla="*/ 5937 h 7729"/>
                <a:gd name="T64" fmla="*/ 5577 w 8517"/>
                <a:gd name="T65" fmla="*/ 7340 h 7729"/>
                <a:gd name="T66" fmla="*/ 8268 w 8517"/>
                <a:gd name="T67" fmla="*/ 4661 h 7729"/>
                <a:gd name="T68" fmla="*/ 7017 w 8517"/>
                <a:gd name="T69" fmla="*/ 6095 h 7729"/>
                <a:gd name="T70" fmla="*/ 6368 w 8517"/>
                <a:gd name="T71" fmla="*/ 6270 h 7729"/>
                <a:gd name="T72" fmla="*/ 6011 w 8517"/>
                <a:gd name="T73" fmla="*/ 6049 h 7729"/>
                <a:gd name="T74" fmla="*/ 6281 w 8517"/>
                <a:gd name="T75" fmla="*/ 4967 h 7729"/>
                <a:gd name="T76" fmla="*/ 4891 w 8517"/>
                <a:gd name="T77" fmla="*/ 4636 h 7729"/>
                <a:gd name="T78" fmla="*/ 5169 w 8517"/>
                <a:gd name="T79" fmla="*/ 5756 h 7729"/>
                <a:gd name="T80" fmla="*/ 4635 w 8517"/>
                <a:gd name="T81" fmla="*/ 6351 h 7729"/>
                <a:gd name="T82" fmla="*/ 3690 w 8517"/>
                <a:gd name="T83" fmla="*/ 5313 h 7729"/>
                <a:gd name="T84" fmla="*/ 4033 w 8517"/>
                <a:gd name="T85" fmla="*/ 3950 h 7729"/>
                <a:gd name="T86" fmla="*/ 2380 w 8517"/>
                <a:gd name="T87" fmla="*/ 4301 h 7729"/>
                <a:gd name="T88" fmla="*/ 2625 w 8517"/>
                <a:gd name="T89" fmla="*/ 5835 h 7729"/>
                <a:gd name="T90" fmla="*/ 1181 w 8517"/>
                <a:gd name="T91" fmla="*/ 6850 h 7729"/>
                <a:gd name="T92" fmla="*/ 1021 w 8517"/>
                <a:gd name="T93" fmla="*/ 4962 h 7729"/>
                <a:gd name="T94" fmla="*/ 1010 w 8517"/>
                <a:gd name="T95" fmla="*/ 3607 h 7729"/>
                <a:gd name="T96" fmla="*/ 1140 w 8517"/>
                <a:gd name="T97" fmla="*/ 1708 h 7729"/>
                <a:gd name="T98" fmla="*/ 3399 w 8517"/>
                <a:gd name="T99" fmla="*/ 1266 h 7729"/>
                <a:gd name="T100" fmla="*/ 4930 w 8517"/>
                <a:gd name="T101" fmla="*/ 503 h 7729"/>
                <a:gd name="T102" fmla="*/ 6484 w 8517"/>
                <a:gd name="T103" fmla="*/ 1167 h 7729"/>
                <a:gd name="T104" fmla="*/ 7006 w 8517"/>
                <a:gd name="T105" fmla="*/ 2795 h 7729"/>
                <a:gd name="T106" fmla="*/ 8268 w 8517"/>
                <a:gd name="T107" fmla="*/ 4661 h 7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17" h="7729">
                  <a:moveTo>
                    <a:pt x="8037" y="3397"/>
                  </a:moveTo>
                  <a:lnTo>
                    <a:pt x="7526" y="3358"/>
                  </a:lnTo>
                  <a:cubicBezTo>
                    <a:pt x="7509" y="3357"/>
                    <a:pt x="7495" y="3346"/>
                    <a:pt x="7491" y="3330"/>
                  </a:cubicBezTo>
                  <a:cubicBezTo>
                    <a:pt x="7426" y="3105"/>
                    <a:pt x="7337" y="2885"/>
                    <a:pt x="7226" y="2677"/>
                  </a:cubicBezTo>
                  <a:cubicBezTo>
                    <a:pt x="7218" y="2663"/>
                    <a:pt x="7220" y="2645"/>
                    <a:pt x="7231" y="2632"/>
                  </a:cubicBezTo>
                  <a:lnTo>
                    <a:pt x="7576" y="2243"/>
                  </a:lnTo>
                  <a:cubicBezTo>
                    <a:pt x="7757" y="2038"/>
                    <a:pt x="7748" y="1726"/>
                    <a:pt x="7554" y="1532"/>
                  </a:cubicBezTo>
                  <a:lnTo>
                    <a:pt x="7027" y="1004"/>
                  </a:lnTo>
                  <a:cubicBezTo>
                    <a:pt x="6836" y="814"/>
                    <a:pt x="6526" y="802"/>
                    <a:pt x="6321" y="977"/>
                  </a:cubicBezTo>
                  <a:lnTo>
                    <a:pt x="5932" y="1311"/>
                  </a:lnTo>
                  <a:cubicBezTo>
                    <a:pt x="5920" y="1322"/>
                    <a:pt x="5901" y="1324"/>
                    <a:pt x="5887" y="1316"/>
                  </a:cubicBezTo>
                  <a:cubicBezTo>
                    <a:pt x="5682" y="1202"/>
                    <a:pt x="5463" y="1110"/>
                    <a:pt x="5238" y="1042"/>
                  </a:cubicBezTo>
                  <a:cubicBezTo>
                    <a:pt x="5223" y="1037"/>
                    <a:pt x="5212" y="1022"/>
                    <a:pt x="5211" y="1006"/>
                  </a:cubicBezTo>
                  <a:lnTo>
                    <a:pt x="5179" y="488"/>
                  </a:lnTo>
                  <a:cubicBezTo>
                    <a:pt x="5162" y="214"/>
                    <a:pt x="4935" y="0"/>
                    <a:pt x="4661" y="0"/>
                  </a:cubicBezTo>
                  <a:lnTo>
                    <a:pt x="3915" y="0"/>
                  </a:lnTo>
                  <a:cubicBezTo>
                    <a:pt x="3645" y="0"/>
                    <a:pt x="3418" y="211"/>
                    <a:pt x="3397" y="480"/>
                  </a:cubicBezTo>
                  <a:lnTo>
                    <a:pt x="3358" y="991"/>
                  </a:lnTo>
                  <a:cubicBezTo>
                    <a:pt x="3357" y="1008"/>
                    <a:pt x="3346" y="1022"/>
                    <a:pt x="3330" y="1026"/>
                  </a:cubicBezTo>
                  <a:cubicBezTo>
                    <a:pt x="3087" y="1096"/>
                    <a:pt x="2851" y="1194"/>
                    <a:pt x="2630" y="1317"/>
                  </a:cubicBezTo>
                  <a:cubicBezTo>
                    <a:pt x="2616" y="1324"/>
                    <a:pt x="2598" y="1322"/>
                    <a:pt x="2585" y="1311"/>
                  </a:cubicBezTo>
                  <a:lnTo>
                    <a:pt x="2196" y="977"/>
                  </a:lnTo>
                  <a:cubicBezTo>
                    <a:pt x="1991" y="802"/>
                    <a:pt x="1682" y="814"/>
                    <a:pt x="1491" y="1004"/>
                  </a:cubicBezTo>
                  <a:lnTo>
                    <a:pt x="963" y="1532"/>
                  </a:lnTo>
                  <a:cubicBezTo>
                    <a:pt x="769" y="1726"/>
                    <a:pt x="760" y="2038"/>
                    <a:pt x="941" y="2243"/>
                  </a:cubicBezTo>
                  <a:lnTo>
                    <a:pt x="1286" y="2632"/>
                  </a:lnTo>
                  <a:cubicBezTo>
                    <a:pt x="1297" y="2645"/>
                    <a:pt x="1299" y="2663"/>
                    <a:pt x="1292" y="2677"/>
                  </a:cubicBezTo>
                  <a:cubicBezTo>
                    <a:pt x="1180" y="2885"/>
                    <a:pt x="1091" y="3105"/>
                    <a:pt x="1027" y="3330"/>
                  </a:cubicBezTo>
                  <a:cubicBezTo>
                    <a:pt x="1022" y="3346"/>
                    <a:pt x="1008" y="3357"/>
                    <a:pt x="991" y="3358"/>
                  </a:cubicBezTo>
                  <a:lnTo>
                    <a:pt x="480" y="3397"/>
                  </a:lnTo>
                  <a:cubicBezTo>
                    <a:pt x="211" y="3418"/>
                    <a:pt x="0" y="3645"/>
                    <a:pt x="0" y="3915"/>
                  </a:cubicBezTo>
                  <a:lnTo>
                    <a:pt x="0" y="4661"/>
                  </a:lnTo>
                  <a:cubicBezTo>
                    <a:pt x="0" y="4935"/>
                    <a:pt x="215" y="5163"/>
                    <a:pt x="488" y="5179"/>
                  </a:cubicBezTo>
                  <a:lnTo>
                    <a:pt x="1006" y="5211"/>
                  </a:lnTo>
                  <a:cubicBezTo>
                    <a:pt x="1023" y="5212"/>
                    <a:pt x="1037" y="5223"/>
                    <a:pt x="1042" y="5238"/>
                  </a:cubicBezTo>
                  <a:cubicBezTo>
                    <a:pt x="1110" y="5463"/>
                    <a:pt x="1203" y="5682"/>
                    <a:pt x="1316" y="5887"/>
                  </a:cubicBezTo>
                  <a:cubicBezTo>
                    <a:pt x="1324" y="5902"/>
                    <a:pt x="1322" y="5920"/>
                    <a:pt x="1311" y="5932"/>
                  </a:cubicBezTo>
                  <a:lnTo>
                    <a:pt x="977" y="6322"/>
                  </a:lnTo>
                  <a:cubicBezTo>
                    <a:pt x="802" y="6526"/>
                    <a:pt x="814" y="6836"/>
                    <a:pt x="1004" y="7027"/>
                  </a:cubicBezTo>
                  <a:lnTo>
                    <a:pt x="1532" y="7555"/>
                  </a:lnTo>
                  <a:cubicBezTo>
                    <a:pt x="1579" y="7602"/>
                    <a:pt x="1634" y="7639"/>
                    <a:pt x="1695" y="7665"/>
                  </a:cubicBezTo>
                  <a:cubicBezTo>
                    <a:pt x="1758" y="7692"/>
                    <a:pt x="1831" y="7663"/>
                    <a:pt x="1858" y="7599"/>
                  </a:cubicBezTo>
                  <a:cubicBezTo>
                    <a:pt x="1868" y="7576"/>
                    <a:pt x="1871" y="7552"/>
                    <a:pt x="1867" y="7529"/>
                  </a:cubicBezTo>
                  <a:lnTo>
                    <a:pt x="1867" y="6875"/>
                  </a:lnTo>
                  <a:cubicBezTo>
                    <a:pt x="1867" y="6580"/>
                    <a:pt x="2054" y="6319"/>
                    <a:pt x="2332" y="6226"/>
                  </a:cubicBezTo>
                  <a:lnTo>
                    <a:pt x="2594" y="6137"/>
                  </a:lnTo>
                  <a:cubicBezTo>
                    <a:pt x="2645" y="6121"/>
                    <a:pt x="2692" y="6097"/>
                    <a:pt x="2735" y="6067"/>
                  </a:cubicBezTo>
                  <a:cubicBezTo>
                    <a:pt x="2830" y="6096"/>
                    <a:pt x="2928" y="6116"/>
                    <a:pt x="3027" y="6126"/>
                  </a:cubicBezTo>
                  <a:lnTo>
                    <a:pt x="2749" y="7111"/>
                  </a:lnTo>
                  <a:cubicBezTo>
                    <a:pt x="2737" y="7152"/>
                    <a:pt x="2747" y="7197"/>
                    <a:pt x="2776" y="7229"/>
                  </a:cubicBezTo>
                  <a:lnTo>
                    <a:pt x="3097" y="7586"/>
                  </a:lnTo>
                  <a:cubicBezTo>
                    <a:pt x="3120" y="7612"/>
                    <a:pt x="3152" y="7627"/>
                    <a:pt x="3186" y="7628"/>
                  </a:cubicBezTo>
                  <a:lnTo>
                    <a:pt x="3190" y="7628"/>
                  </a:lnTo>
                  <a:cubicBezTo>
                    <a:pt x="3223" y="7628"/>
                    <a:pt x="3255" y="7615"/>
                    <a:pt x="3278" y="7591"/>
                  </a:cubicBezTo>
                  <a:lnTo>
                    <a:pt x="3633" y="7233"/>
                  </a:lnTo>
                  <a:cubicBezTo>
                    <a:pt x="3666" y="7200"/>
                    <a:pt x="3677" y="7152"/>
                    <a:pt x="3664" y="7108"/>
                  </a:cubicBezTo>
                  <a:lnTo>
                    <a:pt x="3355" y="6122"/>
                  </a:lnTo>
                  <a:cubicBezTo>
                    <a:pt x="3458" y="6109"/>
                    <a:pt x="3560" y="6086"/>
                    <a:pt x="3658" y="6052"/>
                  </a:cubicBezTo>
                  <a:cubicBezTo>
                    <a:pt x="3707" y="6089"/>
                    <a:pt x="3761" y="6118"/>
                    <a:pt x="3819" y="6137"/>
                  </a:cubicBezTo>
                  <a:lnTo>
                    <a:pt x="4081" y="6226"/>
                  </a:lnTo>
                  <a:cubicBezTo>
                    <a:pt x="4259" y="6286"/>
                    <a:pt x="4406" y="6418"/>
                    <a:pt x="4484" y="6589"/>
                  </a:cubicBezTo>
                  <a:cubicBezTo>
                    <a:pt x="4524" y="6676"/>
                    <a:pt x="4545" y="6768"/>
                    <a:pt x="4546" y="6862"/>
                  </a:cubicBezTo>
                  <a:cubicBezTo>
                    <a:pt x="4546" y="6865"/>
                    <a:pt x="4546" y="6867"/>
                    <a:pt x="4546" y="6869"/>
                  </a:cubicBezTo>
                  <a:cubicBezTo>
                    <a:pt x="4546" y="6871"/>
                    <a:pt x="4546" y="6873"/>
                    <a:pt x="4546" y="6875"/>
                  </a:cubicBezTo>
                  <a:lnTo>
                    <a:pt x="4546" y="7605"/>
                  </a:lnTo>
                  <a:cubicBezTo>
                    <a:pt x="4546" y="7673"/>
                    <a:pt x="4602" y="7729"/>
                    <a:pt x="4671" y="7729"/>
                  </a:cubicBezTo>
                  <a:cubicBezTo>
                    <a:pt x="4740" y="7729"/>
                    <a:pt x="4796" y="7673"/>
                    <a:pt x="4796" y="7605"/>
                  </a:cubicBezTo>
                  <a:lnTo>
                    <a:pt x="4796" y="6875"/>
                  </a:lnTo>
                  <a:cubicBezTo>
                    <a:pt x="4796" y="6868"/>
                    <a:pt x="4796" y="6862"/>
                    <a:pt x="4796" y="6856"/>
                  </a:cubicBezTo>
                  <a:cubicBezTo>
                    <a:pt x="4794" y="6760"/>
                    <a:pt x="4777" y="6666"/>
                    <a:pt x="4747" y="6576"/>
                  </a:cubicBezTo>
                  <a:cubicBezTo>
                    <a:pt x="4788" y="6547"/>
                    <a:pt x="4834" y="6523"/>
                    <a:pt x="4883" y="6507"/>
                  </a:cubicBezTo>
                  <a:lnTo>
                    <a:pt x="5096" y="6435"/>
                  </a:lnTo>
                  <a:cubicBezTo>
                    <a:pt x="5136" y="6422"/>
                    <a:pt x="5173" y="6404"/>
                    <a:pt x="5207" y="6381"/>
                  </a:cubicBezTo>
                  <a:cubicBezTo>
                    <a:pt x="5274" y="6401"/>
                    <a:pt x="5341" y="6415"/>
                    <a:pt x="5410" y="6424"/>
                  </a:cubicBezTo>
                  <a:lnTo>
                    <a:pt x="5191" y="7198"/>
                  </a:lnTo>
                  <a:cubicBezTo>
                    <a:pt x="5180" y="7239"/>
                    <a:pt x="5190" y="7283"/>
                    <a:pt x="5218" y="7315"/>
                  </a:cubicBezTo>
                  <a:lnTo>
                    <a:pt x="5479" y="7606"/>
                  </a:lnTo>
                  <a:cubicBezTo>
                    <a:pt x="5502" y="7631"/>
                    <a:pt x="5535" y="7646"/>
                    <a:pt x="5569" y="7647"/>
                  </a:cubicBezTo>
                  <a:cubicBezTo>
                    <a:pt x="5570" y="7647"/>
                    <a:pt x="5571" y="7647"/>
                    <a:pt x="5572" y="7647"/>
                  </a:cubicBezTo>
                  <a:cubicBezTo>
                    <a:pt x="5605" y="7647"/>
                    <a:pt x="5637" y="7634"/>
                    <a:pt x="5661" y="7610"/>
                  </a:cubicBezTo>
                  <a:lnTo>
                    <a:pt x="5949" y="7319"/>
                  </a:lnTo>
                  <a:cubicBezTo>
                    <a:pt x="5982" y="7286"/>
                    <a:pt x="5993" y="7238"/>
                    <a:pt x="5979" y="7194"/>
                  </a:cubicBezTo>
                  <a:lnTo>
                    <a:pt x="5737" y="6420"/>
                  </a:lnTo>
                  <a:cubicBezTo>
                    <a:pt x="5809" y="6409"/>
                    <a:pt x="5879" y="6393"/>
                    <a:pt x="5949" y="6369"/>
                  </a:cubicBezTo>
                  <a:cubicBezTo>
                    <a:pt x="5987" y="6398"/>
                    <a:pt x="6030" y="6420"/>
                    <a:pt x="6076" y="6435"/>
                  </a:cubicBezTo>
                  <a:lnTo>
                    <a:pt x="6288" y="6507"/>
                  </a:lnTo>
                  <a:cubicBezTo>
                    <a:pt x="6505" y="6580"/>
                    <a:pt x="6651" y="6783"/>
                    <a:pt x="6651" y="7012"/>
                  </a:cubicBezTo>
                  <a:lnTo>
                    <a:pt x="6651" y="7522"/>
                  </a:lnTo>
                  <a:cubicBezTo>
                    <a:pt x="6651" y="7523"/>
                    <a:pt x="6651" y="7523"/>
                    <a:pt x="6651" y="7524"/>
                  </a:cubicBezTo>
                  <a:cubicBezTo>
                    <a:pt x="6645" y="7548"/>
                    <a:pt x="6647" y="7574"/>
                    <a:pt x="6658" y="7599"/>
                  </a:cubicBezTo>
                  <a:cubicBezTo>
                    <a:pt x="6678" y="7647"/>
                    <a:pt x="6724" y="7675"/>
                    <a:pt x="6773" y="7675"/>
                  </a:cubicBezTo>
                  <a:cubicBezTo>
                    <a:pt x="6789" y="7675"/>
                    <a:pt x="6805" y="7672"/>
                    <a:pt x="6821" y="7665"/>
                  </a:cubicBezTo>
                  <a:cubicBezTo>
                    <a:pt x="6883" y="7639"/>
                    <a:pt x="6938" y="7602"/>
                    <a:pt x="6985" y="7555"/>
                  </a:cubicBezTo>
                  <a:lnTo>
                    <a:pt x="7513" y="7027"/>
                  </a:lnTo>
                  <a:cubicBezTo>
                    <a:pt x="7704" y="6836"/>
                    <a:pt x="7716" y="6526"/>
                    <a:pt x="7540" y="6322"/>
                  </a:cubicBezTo>
                  <a:lnTo>
                    <a:pt x="7206" y="5932"/>
                  </a:lnTo>
                  <a:cubicBezTo>
                    <a:pt x="7195" y="5920"/>
                    <a:pt x="7193" y="5902"/>
                    <a:pt x="7201" y="5887"/>
                  </a:cubicBezTo>
                  <a:cubicBezTo>
                    <a:pt x="7315" y="5682"/>
                    <a:pt x="7407" y="5463"/>
                    <a:pt x="7476" y="5238"/>
                  </a:cubicBezTo>
                  <a:cubicBezTo>
                    <a:pt x="7480" y="5223"/>
                    <a:pt x="7495" y="5212"/>
                    <a:pt x="7512" y="5211"/>
                  </a:cubicBezTo>
                  <a:lnTo>
                    <a:pt x="8029" y="5179"/>
                  </a:lnTo>
                  <a:cubicBezTo>
                    <a:pt x="8303" y="5163"/>
                    <a:pt x="8517" y="4935"/>
                    <a:pt x="8517" y="4661"/>
                  </a:cubicBezTo>
                  <a:lnTo>
                    <a:pt x="8517" y="3915"/>
                  </a:lnTo>
                  <a:cubicBezTo>
                    <a:pt x="8517" y="3645"/>
                    <a:pt x="8306" y="3418"/>
                    <a:pt x="8037" y="3397"/>
                  </a:cubicBezTo>
                  <a:close/>
                  <a:moveTo>
                    <a:pt x="3784" y="4184"/>
                  </a:moveTo>
                  <a:lnTo>
                    <a:pt x="3016" y="3937"/>
                  </a:lnTo>
                  <a:cubicBezTo>
                    <a:pt x="2984" y="3927"/>
                    <a:pt x="2949" y="3930"/>
                    <a:pt x="2920" y="3945"/>
                  </a:cubicBezTo>
                  <a:lnTo>
                    <a:pt x="2629" y="4097"/>
                  </a:lnTo>
                  <a:lnTo>
                    <a:pt x="2629" y="3950"/>
                  </a:lnTo>
                  <a:cubicBezTo>
                    <a:pt x="2629" y="3780"/>
                    <a:pt x="2768" y="3641"/>
                    <a:pt x="2938" y="3641"/>
                  </a:cubicBezTo>
                  <a:lnTo>
                    <a:pt x="3475" y="3641"/>
                  </a:lnTo>
                  <a:cubicBezTo>
                    <a:pt x="3645" y="3641"/>
                    <a:pt x="3784" y="3780"/>
                    <a:pt x="3784" y="3950"/>
                  </a:cubicBezTo>
                  <a:lnTo>
                    <a:pt x="3784" y="4184"/>
                  </a:lnTo>
                  <a:close/>
                  <a:moveTo>
                    <a:pt x="2629" y="4378"/>
                  </a:moveTo>
                  <a:lnTo>
                    <a:pt x="2989" y="4190"/>
                  </a:lnTo>
                  <a:lnTo>
                    <a:pt x="3784" y="4446"/>
                  </a:lnTo>
                  <a:lnTo>
                    <a:pt x="3784" y="4822"/>
                  </a:lnTo>
                  <a:cubicBezTo>
                    <a:pt x="3784" y="4910"/>
                    <a:pt x="3737" y="4992"/>
                    <a:pt x="3663" y="5038"/>
                  </a:cubicBezTo>
                  <a:lnTo>
                    <a:pt x="3337" y="5236"/>
                  </a:lnTo>
                  <a:cubicBezTo>
                    <a:pt x="3257" y="5285"/>
                    <a:pt x="3156" y="5285"/>
                    <a:pt x="3076" y="5236"/>
                  </a:cubicBezTo>
                  <a:lnTo>
                    <a:pt x="2750" y="5038"/>
                  </a:lnTo>
                  <a:cubicBezTo>
                    <a:pt x="2676" y="4992"/>
                    <a:pt x="2629" y="4910"/>
                    <a:pt x="2629" y="4822"/>
                  </a:cubicBezTo>
                  <a:lnTo>
                    <a:pt x="2629" y="4378"/>
                  </a:lnTo>
                  <a:close/>
                  <a:moveTo>
                    <a:pt x="3201" y="5884"/>
                  </a:moveTo>
                  <a:cubicBezTo>
                    <a:pt x="3104" y="5886"/>
                    <a:pt x="3009" y="5876"/>
                    <a:pt x="2915" y="5856"/>
                  </a:cubicBezTo>
                  <a:cubicBezTo>
                    <a:pt x="2952" y="5781"/>
                    <a:pt x="2972" y="5697"/>
                    <a:pt x="2972" y="5611"/>
                  </a:cubicBezTo>
                  <a:lnTo>
                    <a:pt x="2972" y="5464"/>
                  </a:lnTo>
                  <a:cubicBezTo>
                    <a:pt x="3046" y="5503"/>
                    <a:pt x="3126" y="5523"/>
                    <a:pt x="3206" y="5523"/>
                  </a:cubicBezTo>
                  <a:cubicBezTo>
                    <a:pt x="3287" y="5523"/>
                    <a:pt x="3367" y="5503"/>
                    <a:pt x="3441" y="5464"/>
                  </a:cubicBezTo>
                  <a:lnTo>
                    <a:pt x="3441" y="5611"/>
                  </a:lnTo>
                  <a:cubicBezTo>
                    <a:pt x="3441" y="5692"/>
                    <a:pt x="3458" y="5771"/>
                    <a:pt x="3491" y="5842"/>
                  </a:cubicBezTo>
                  <a:cubicBezTo>
                    <a:pt x="3396" y="5867"/>
                    <a:pt x="3299" y="5881"/>
                    <a:pt x="3201" y="5884"/>
                  </a:cubicBezTo>
                  <a:close/>
                  <a:moveTo>
                    <a:pt x="3194" y="7321"/>
                  </a:moveTo>
                  <a:lnTo>
                    <a:pt x="3007" y="7113"/>
                  </a:lnTo>
                  <a:lnTo>
                    <a:pt x="3196" y="6448"/>
                  </a:lnTo>
                  <a:lnTo>
                    <a:pt x="3403" y="7111"/>
                  </a:lnTo>
                  <a:lnTo>
                    <a:pt x="3194" y="7321"/>
                  </a:lnTo>
                  <a:close/>
                  <a:moveTo>
                    <a:pt x="6031" y="4794"/>
                  </a:moveTo>
                  <a:lnTo>
                    <a:pt x="5438" y="4603"/>
                  </a:lnTo>
                  <a:cubicBezTo>
                    <a:pt x="5406" y="4593"/>
                    <a:pt x="5372" y="4596"/>
                    <a:pt x="5342" y="4611"/>
                  </a:cubicBezTo>
                  <a:lnTo>
                    <a:pt x="5141" y="4717"/>
                  </a:lnTo>
                  <a:lnTo>
                    <a:pt x="5141" y="4636"/>
                  </a:lnTo>
                  <a:cubicBezTo>
                    <a:pt x="5141" y="4511"/>
                    <a:pt x="5242" y="4408"/>
                    <a:pt x="5368" y="4408"/>
                  </a:cubicBezTo>
                  <a:lnTo>
                    <a:pt x="5804" y="4408"/>
                  </a:lnTo>
                  <a:cubicBezTo>
                    <a:pt x="5929" y="4408"/>
                    <a:pt x="6031" y="4511"/>
                    <a:pt x="6031" y="4636"/>
                  </a:cubicBezTo>
                  <a:lnTo>
                    <a:pt x="6031" y="4794"/>
                  </a:lnTo>
                  <a:close/>
                  <a:moveTo>
                    <a:pt x="5141" y="4998"/>
                  </a:moveTo>
                  <a:lnTo>
                    <a:pt x="5411" y="4857"/>
                  </a:lnTo>
                  <a:lnTo>
                    <a:pt x="6031" y="5056"/>
                  </a:lnTo>
                  <a:lnTo>
                    <a:pt x="6031" y="5345"/>
                  </a:lnTo>
                  <a:cubicBezTo>
                    <a:pt x="6031" y="5408"/>
                    <a:pt x="5998" y="5467"/>
                    <a:pt x="5944" y="5500"/>
                  </a:cubicBezTo>
                  <a:lnTo>
                    <a:pt x="5680" y="5661"/>
                  </a:lnTo>
                  <a:cubicBezTo>
                    <a:pt x="5622" y="5696"/>
                    <a:pt x="5550" y="5696"/>
                    <a:pt x="5492" y="5661"/>
                  </a:cubicBezTo>
                  <a:lnTo>
                    <a:pt x="5227" y="5500"/>
                  </a:lnTo>
                  <a:cubicBezTo>
                    <a:pt x="5174" y="5467"/>
                    <a:pt x="5141" y="5408"/>
                    <a:pt x="5141" y="5345"/>
                  </a:cubicBezTo>
                  <a:lnTo>
                    <a:pt x="5141" y="4998"/>
                  </a:lnTo>
                  <a:close/>
                  <a:moveTo>
                    <a:pt x="5581" y="6183"/>
                  </a:moveTo>
                  <a:cubicBezTo>
                    <a:pt x="5514" y="6185"/>
                    <a:pt x="5448" y="6179"/>
                    <a:pt x="5382" y="6167"/>
                  </a:cubicBezTo>
                  <a:cubicBezTo>
                    <a:pt x="5406" y="6110"/>
                    <a:pt x="5419" y="6048"/>
                    <a:pt x="5419" y="5985"/>
                  </a:cubicBezTo>
                  <a:lnTo>
                    <a:pt x="5419" y="5903"/>
                  </a:lnTo>
                  <a:cubicBezTo>
                    <a:pt x="5472" y="5926"/>
                    <a:pt x="5529" y="5937"/>
                    <a:pt x="5586" y="5937"/>
                  </a:cubicBezTo>
                  <a:cubicBezTo>
                    <a:pt x="5643" y="5937"/>
                    <a:pt x="5699" y="5926"/>
                    <a:pt x="5753" y="5903"/>
                  </a:cubicBezTo>
                  <a:lnTo>
                    <a:pt x="5753" y="5985"/>
                  </a:lnTo>
                  <a:cubicBezTo>
                    <a:pt x="5753" y="6045"/>
                    <a:pt x="5764" y="6103"/>
                    <a:pt x="5785" y="6157"/>
                  </a:cubicBezTo>
                  <a:cubicBezTo>
                    <a:pt x="5718" y="6173"/>
                    <a:pt x="5650" y="6182"/>
                    <a:pt x="5581" y="6183"/>
                  </a:cubicBezTo>
                  <a:close/>
                  <a:moveTo>
                    <a:pt x="5577" y="7340"/>
                  </a:moveTo>
                  <a:lnTo>
                    <a:pt x="5450" y="7199"/>
                  </a:lnTo>
                  <a:lnTo>
                    <a:pt x="5578" y="6747"/>
                  </a:lnTo>
                  <a:lnTo>
                    <a:pt x="5719" y="7197"/>
                  </a:lnTo>
                  <a:lnTo>
                    <a:pt x="5577" y="7340"/>
                  </a:lnTo>
                  <a:close/>
                  <a:moveTo>
                    <a:pt x="8268" y="4661"/>
                  </a:moveTo>
                  <a:cubicBezTo>
                    <a:pt x="8268" y="4803"/>
                    <a:pt x="8156" y="4922"/>
                    <a:pt x="8014" y="4930"/>
                  </a:cubicBezTo>
                  <a:lnTo>
                    <a:pt x="7496" y="4962"/>
                  </a:lnTo>
                  <a:cubicBezTo>
                    <a:pt x="7376" y="4969"/>
                    <a:pt x="7272" y="5051"/>
                    <a:pt x="7237" y="5166"/>
                  </a:cubicBezTo>
                  <a:cubicBezTo>
                    <a:pt x="7174" y="5374"/>
                    <a:pt x="7088" y="5576"/>
                    <a:pt x="6983" y="5766"/>
                  </a:cubicBezTo>
                  <a:cubicBezTo>
                    <a:pt x="6924" y="5871"/>
                    <a:pt x="6938" y="6003"/>
                    <a:pt x="7017" y="6095"/>
                  </a:cubicBezTo>
                  <a:lnTo>
                    <a:pt x="7351" y="6484"/>
                  </a:lnTo>
                  <a:cubicBezTo>
                    <a:pt x="7442" y="6591"/>
                    <a:pt x="7436" y="6751"/>
                    <a:pt x="7337" y="6850"/>
                  </a:cubicBezTo>
                  <a:lnTo>
                    <a:pt x="6900" y="7287"/>
                  </a:lnTo>
                  <a:lnTo>
                    <a:pt x="6900" y="7012"/>
                  </a:lnTo>
                  <a:cubicBezTo>
                    <a:pt x="6900" y="6675"/>
                    <a:pt x="6686" y="6377"/>
                    <a:pt x="6368" y="6270"/>
                  </a:cubicBezTo>
                  <a:lnTo>
                    <a:pt x="6200" y="6214"/>
                  </a:lnTo>
                  <a:cubicBezTo>
                    <a:pt x="6685" y="5731"/>
                    <a:pt x="6979" y="5080"/>
                    <a:pt x="7013" y="4402"/>
                  </a:cubicBezTo>
                  <a:cubicBezTo>
                    <a:pt x="7017" y="4333"/>
                    <a:pt x="6964" y="4275"/>
                    <a:pt x="6895" y="4271"/>
                  </a:cubicBezTo>
                  <a:cubicBezTo>
                    <a:pt x="6826" y="4268"/>
                    <a:pt x="6768" y="4321"/>
                    <a:pt x="6764" y="4390"/>
                  </a:cubicBezTo>
                  <a:cubicBezTo>
                    <a:pt x="6733" y="5012"/>
                    <a:pt x="6460" y="5609"/>
                    <a:pt x="6011" y="6049"/>
                  </a:cubicBezTo>
                  <a:cubicBezTo>
                    <a:pt x="6005" y="6029"/>
                    <a:pt x="6002" y="6007"/>
                    <a:pt x="6002" y="5985"/>
                  </a:cubicBezTo>
                  <a:lnTo>
                    <a:pt x="6002" y="5756"/>
                  </a:lnTo>
                  <a:lnTo>
                    <a:pt x="6074" y="5713"/>
                  </a:lnTo>
                  <a:cubicBezTo>
                    <a:pt x="6202" y="5635"/>
                    <a:pt x="6281" y="5494"/>
                    <a:pt x="6281" y="5345"/>
                  </a:cubicBezTo>
                  <a:lnTo>
                    <a:pt x="6281" y="4967"/>
                  </a:lnTo>
                  <a:lnTo>
                    <a:pt x="6281" y="4966"/>
                  </a:lnTo>
                  <a:lnTo>
                    <a:pt x="6281" y="4636"/>
                  </a:lnTo>
                  <a:cubicBezTo>
                    <a:pt x="6281" y="4373"/>
                    <a:pt x="6067" y="4159"/>
                    <a:pt x="5804" y="4159"/>
                  </a:cubicBezTo>
                  <a:lnTo>
                    <a:pt x="5368" y="4159"/>
                  </a:lnTo>
                  <a:cubicBezTo>
                    <a:pt x="5105" y="4159"/>
                    <a:pt x="4891" y="4373"/>
                    <a:pt x="4891" y="4636"/>
                  </a:cubicBezTo>
                  <a:lnTo>
                    <a:pt x="4891" y="4920"/>
                  </a:lnTo>
                  <a:lnTo>
                    <a:pt x="4891" y="4921"/>
                  </a:lnTo>
                  <a:lnTo>
                    <a:pt x="4891" y="5345"/>
                  </a:lnTo>
                  <a:cubicBezTo>
                    <a:pt x="4891" y="5494"/>
                    <a:pt x="4970" y="5635"/>
                    <a:pt x="5097" y="5713"/>
                  </a:cubicBezTo>
                  <a:lnTo>
                    <a:pt x="5169" y="5756"/>
                  </a:lnTo>
                  <a:lnTo>
                    <a:pt x="5169" y="5985"/>
                  </a:lnTo>
                  <a:cubicBezTo>
                    <a:pt x="5169" y="6048"/>
                    <a:pt x="5143" y="6108"/>
                    <a:pt x="5098" y="6150"/>
                  </a:cubicBezTo>
                  <a:cubicBezTo>
                    <a:pt x="5074" y="6172"/>
                    <a:pt x="5047" y="6188"/>
                    <a:pt x="5017" y="6199"/>
                  </a:cubicBezTo>
                  <a:lnTo>
                    <a:pt x="4804" y="6270"/>
                  </a:lnTo>
                  <a:cubicBezTo>
                    <a:pt x="4744" y="6291"/>
                    <a:pt x="4687" y="6318"/>
                    <a:pt x="4635" y="6351"/>
                  </a:cubicBezTo>
                  <a:cubicBezTo>
                    <a:pt x="4521" y="6183"/>
                    <a:pt x="4354" y="6054"/>
                    <a:pt x="4160" y="5989"/>
                  </a:cubicBezTo>
                  <a:lnTo>
                    <a:pt x="3898" y="5901"/>
                  </a:lnTo>
                  <a:cubicBezTo>
                    <a:pt x="3851" y="5885"/>
                    <a:pt x="3810" y="5859"/>
                    <a:pt x="3775" y="5823"/>
                  </a:cubicBezTo>
                  <a:cubicBezTo>
                    <a:pt x="3720" y="5766"/>
                    <a:pt x="3690" y="5690"/>
                    <a:pt x="3690" y="5611"/>
                  </a:cubicBezTo>
                  <a:lnTo>
                    <a:pt x="3690" y="5313"/>
                  </a:lnTo>
                  <a:lnTo>
                    <a:pt x="3793" y="5251"/>
                  </a:lnTo>
                  <a:cubicBezTo>
                    <a:pt x="3941" y="5160"/>
                    <a:pt x="4033" y="4996"/>
                    <a:pt x="4033" y="4822"/>
                  </a:cubicBezTo>
                  <a:lnTo>
                    <a:pt x="4033" y="4357"/>
                  </a:lnTo>
                  <a:lnTo>
                    <a:pt x="4033" y="4356"/>
                  </a:lnTo>
                  <a:lnTo>
                    <a:pt x="4033" y="3950"/>
                  </a:lnTo>
                  <a:cubicBezTo>
                    <a:pt x="4033" y="3642"/>
                    <a:pt x="3783" y="3391"/>
                    <a:pt x="3475" y="3391"/>
                  </a:cubicBezTo>
                  <a:lnTo>
                    <a:pt x="2938" y="3391"/>
                  </a:lnTo>
                  <a:cubicBezTo>
                    <a:pt x="2630" y="3391"/>
                    <a:pt x="2380" y="3642"/>
                    <a:pt x="2380" y="3950"/>
                  </a:cubicBezTo>
                  <a:lnTo>
                    <a:pt x="2380" y="4301"/>
                  </a:lnTo>
                  <a:lnTo>
                    <a:pt x="2380" y="4301"/>
                  </a:lnTo>
                  <a:lnTo>
                    <a:pt x="2380" y="4822"/>
                  </a:lnTo>
                  <a:cubicBezTo>
                    <a:pt x="2380" y="4996"/>
                    <a:pt x="2472" y="5160"/>
                    <a:pt x="2620" y="5251"/>
                  </a:cubicBezTo>
                  <a:lnTo>
                    <a:pt x="2723" y="5313"/>
                  </a:lnTo>
                  <a:lnTo>
                    <a:pt x="2723" y="5611"/>
                  </a:lnTo>
                  <a:cubicBezTo>
                    <a:pt x="2723" y="5696"/>
                    <a:pt x="2687" y="5778"/>
                    <a:pt x="2625" y="5835"/>
                  </a:cubicBezTo>
                  <a:cubicBezTo>
                    <a:pt x="2593" y="5865"/>
                    <a:pt x="2556" y="5887"/>
                    <a:pt x="2515" y="5901"/>
                  </a:cubicBezTo>
                  <a:lnTo>
                    <a:pt x="2253" y="5989"/>
                  </a:lnTo>
                  <a:cubicBezTo>
                    <a:pt x="1873" y="6117"/>
                    <a:pt x="1617" y="6473"/>
                    <a:pt x="1617" y="6875"/>
                  </a:cubicBezTo>
                  <a:lnTo>
                    <a:pt x="1617" y="7287"/>
                  </a:lnTo>
                  <a:lnTo>
                    <a:pt x="1181" y="6850"/>
                  </a:lnTo>
                  <a:cubicBezTo>
                    <a:pt x="1082" y="6751"/>
                    <a:pt x="1076" y="6591"/>
                    <a:pt x="1167" y="6484"/>
                  </a:cubicBezTo>
                  <a:lnTo>
                    <a:pt x="1501" y="6095"/>
                  </a:lnTo>
                  <a:cubicBezTo>
                    <a:pt x="1579" y="6003"/>
                    <a:pt x="1593" y="5871"/>
                    <a:pt x="1535" y="5766"/>
                  </a:cubicBezTo>
                  <a:cubicBezTo>
                    <a:pt x="1429" y="5576"/>
                    <a:pt x="1344" y="5374"/>
                    <a:pt x="1280" y="5166"/>
                  </a:cubicBezTo>
                  <a:cubicBezTo>
                    <a:pt x="1246" y="5051"/>
                    <a:pt x="1141" y="4969"/>
                    <a:pt x="1021" y="4962"/>
                  </a:cubicBezTo>
                  <a:lnTo>
                    <a:pt x="503" y="4930"/>
                  </a:lnTo>
                  <a:cubicBezTo>
                    <a:pt x="361" y="4922"/>
                    <a:pt x="250" y="4803"/>
                    <a:pt x="250" y="4661"/>
                  </a:cubicBezTo>
                  <a:lnTo>
                    <a:pt x="250" y="3915"/>
                  </a:lnTo>
                  <a:cubicBezTo>
                    <a:pt x="250" y="3775"/>
                    <a:pt x="359" y="3657"/>
                    <a:pt x="499" y="3646"/>
                  </a:cubicBezTo>
                  <a:lnTo>
                    <a:pt x="1010" y="3607"/>
                  </a:lnTo>
                  <a:cubicBezTo>
                    <a:pt x="1130" y="3598"/>
                    <a:pt x="1233" y="3514"/>
                    <a:pt x="1266" y="3399"/>
                  </a:cubicBezTo>
                  <a:cubicBezTo>
                    <a:pt x="1326" y="3190"/>
                    <a:pt x="1409" y="2987"/>
                    <a:pt x="1512" y="2795"/>
                  </a:cubicBezTo>
                  <a:cubicBezTo>
                    <a:pt x="1568" y="2689"/>
                    <a:pt x="1553" y="2557"/>
                    <a:pt x="1473" y="2467"/>
                  </a:cubicBezTo>
                  <a:lnTo>
                    <a:pt x="1128" y="2078"/>
                  </a:lnTo>
                  <a:cubicBezTo>
                    <a:pt x="1034" y="1971"/>
                    <a:pt x="1039" y="1809"/>
                    <a:pt x="1140" y="1708"/>
                  </a:cubicBezTo>
                  <a:lnTo>
                    <a:pt x="1667" y="1181"/>
                  </a:lnTo>
                  <a:cubicBezTo>
                    <a:pt x="1766" y="1082"/>
                    <a:pt x="1927" y="1075"/>
                    <a:pt x="2033" y="1167"/>
                  </a:cubicBezTo>
                  <a:lnTo>
                    <a:pt x="2423" y="1501"/>
                  </a:lnTo>
                  <a:cubicBezTo>
                    <a:pt x="2514" y="1579"/>
                    <a:pt x="2646" y="1593"/>
                    <a:pt x="2751" y="1535"/>
                  </a:cubicBezTo>
                  <a:cubicBezTo>
                    <a:pt x="2956" y="1421"/>
                    <a:pt x="3174" y="1331"/>
                    <a:pt x="3399" y="1266"/>
                  </a:cubicBezTo>
                  <a:cubicBezTo>
                    <a:pt x="3514" y="1233"/>
                    <a:pt x="3598" y="1130"/>
                    <a:pt x="3607" y="1010"/>
                  </a:cubicBezTo>
                  <a:lnTo>
                    <a:pt x="3646" y="499"/>
                  </a:lnTo>
                  <a:cubicBezTo>
                    <a:pt x="3657" y="359"/>
                    <a:pt x="3775" y="250"/>
                    <a:pt x="3915" y="250"/>
                  </a:cubicBezTo>
                  <a:lnTo>
                    <a:pt x="4661" y="250"/>
                  </a:lnTo>
                  <a:cubicBezTo>
                    <a:pt x="4803" y="250"/>
                    <a:pt x="4921" y="361"/>
                    <a:pt x="4930" y="503"/>
                  </a:cubicBezTo>
                  <a:lnTo>
                    <a:pt x="4962" y="1021"/>
                  </a:lnTo>
                  <a:cubicBezTo>
                    <a:pt x="4969" y="1141"/>
                    <a:pt x="5051" y="1245"/>
                    <a:pt x="5166" y="1280"/>
                  </a:cubicBezTo>
                  <a:cubicBezTo>
                    <a:pt x="5374" y="1344"/>
                    <a:pt x="5576" y="1429"/>
                    <a:pt x="5766" y="1535"/>
                  </a:cubicBezTo>
                  <a:cubicBezTo>
                    <a:pt x="5871" y="1593"/>
                    <a:pt x="6003" y="1579"/>
                    <a:pt x="6095" y="1501"/>
                  </a:cubicBezTo>
                  <a:lnTo>
                    <a:pt x="6484" y="1167"/>
                  </a:lnTo>
                  <a:cubicBezTo>
                    <a:pt x="6590" y="1076"/>
                    <a:pt x="6751" y="1082"/>
                    <a:pt x="6850" y="1181"/>
                  </a:cubicBezTo>
                  <a:lnTo>
                    <a:pt x="7378" y="1708"/>
                  </a:lnTo>
                  <a:cubicBezTo>
                    <a:pt x="7478" y="1809"/>
                    <a:pt x="7483" y="1971"/>
                    <a:pt x="7389" y="2078"/>
                  </a:cubicBezTo>
                  <a:lnTo>
                    <a:pt x="7045" y="2467"/>
                  </a:lnTo>
                  <a:cubicBezTo>
                    <a:pt x="6965" y="2557"/>
                    <a:pt x="6949" y="2689"/>
                    <a:pt x="7006" y="2795"/>
                  </a:cubicBezTo>
                  <a:cubicBezTo>
                    <a:pt x="7109" y="2987"/>
                    <a:pt x="7191" y="3190"/>
                    <a:pt x="7251" y="3399"/>
                  </a:cubicBezTo>
                  <a:cubicBezTo>
                    <a:pt x="7284" y="3514"/>
                    <a:pt x="7387" y="3598"/>
                    <a:pt x="7507" y="3607"/>
                  </a:cubicBezTo>
                  <a:lnTo>
                    <a:pt x="8018" y="3646"/>
                  </a:lnTo>
                  <a:cubicBezTo>
                    <a:pt x="8158" y="3657"/>
                    <a:pt x="8268" y="3775"/>
                    <a:pt x="8268" y="3915"/>
                  </a:cubicBezTo>
                  <a:lnTo>
                    <a:pt x="8268" y="4661"/>
                  </a:lnTo>
                  <a:close/>
                  <a:moveTo>
                    <a:pt x="8268" y="4661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50">
              <a:extLst>
                <a:ext uri="{FF2B5EF4-FFF2-40B4-BE49-F238E27FC236}">
                  <a16:creationId xmlns:a16="http://schemas.microsoft.com/office/drawing/2014/main" id="{4D4C434D-FE0D-4C77-A38E-D720F79B72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7" y="987"/>
              <a:ext cx="2648" cy="2103"/>
            </a:xfrm>
            <a:custGeom>
              <a:avLst/>
              <a:gdLst>
                <a:gd name="T0" fmla="*/ 2641 w 5517"/>
                <a:gd name="T1" fmla="*/ 71 h 4381"/>
                <a:gd name="T2" fmla="*/ 837 w 5517"/>
                <a:gd name="T3" fmla="*/ 877 h 4381"/>
                <a:gd name="T4" fmla="*/ 30 w 5517"/>
                <a:gd name="T5" fmla="*/ 2682 h 4381"/>
                <a:gd name="T6" fmla="*/ 468 w 5517"/>
                <a:gd name="T7" fmla="*/ 4324 h 4381"/>
                <a:gd name="T8" fmla="*/ 573 w 5517"/>
                <a:gd name="T9" fmla="*/ 4381 h 4381"/>
                <a:gd name="T10" fmla="*/ 641 w 5517"/>
                <a:gd name="T11" fmla="*/ 4361 h 4381"/>
                <a:gd name="T12" fmla="*/ 678 w 5517"/>
                <a:gd name="T13" fmla="*/ 4188 h 4381"/>
                <a:gd name="T14" fmla="*/ 279 w 5517"/>
                <a:gd name="T15" fmla="*/ 2695 h 4381"/>
                <a:gd name="T16" fmla="*/ 1013 w 5517"/>
                <a:gd name="T17" fmla="*/ 1054 h 4381"/>
                <a:gd name="T18" fmla="*/ 2654 w 5517"/>
                <a:gd name="T19" fmla="*/ 320 h 4381"/>
                <a:gd name="T20" fmla="*/ 5260 w 5517"/>
                <a:gd name="T21" fmla="*/ 2412 h 4381"/>
                <a:gd name="T22" fmla="*/ 5403 w 5517"/>
                <a:gd name="T23" fmla="*/ 2515 h 4381"/>
                <a:gd name="T24" fmla="*/ 5506 w 5517"/>
                <a:gd name="T25" fmla="*/ 2372 h 4381"/>
                <a:gd name="T26" fmla="*/ 2641 w 5517"/>
                <a:gd name="T27" fmla="*/ 71 h 4381"/>
                <a:gd name="T28" fmla="*/ 2641 w 5517"/>
                <a:gd name="T29" fmla="*/ 71 h 4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17" h="4381">
                  <a:moveTo>
                    <a:pt x="2641" y="71"/>
                  </a:moveTo>
                  <a:cubicBezTo>
                    <a:pt x="1963" y="105"/>
                    <a:pt x="1322" y="392"/>
                    <a:pt x="837" y="877"/>
                  </a:cubicBezTo>
                  <a:cubicBezTo>
                    <a:pt x="351" y="1363"/>
                    <a:pt x="64" y="2004"/>
                    <a:pt x="30" y="2682"/>
                  </a:cubicBezTo>
                  <a:cubicBezTo>
                    <a:pt x="0" y="3268"/>
                    <a:pt x="152" y="3836"/>
                    <a:pt x="468" y="4324"/>
                  </a:cubicBezTo>
                  <a:cubicBezTo>
                    <a:pt x="492" y="4361"/>
                    <a:pt x="532" y="4381"/>
                    <a:pt x="573" y="4381"/>
                  </a:cubicBezTo>
                  <a:cubicBezTo>
                    <a:pt x="596" y="4381"/>
                    <a:pt x="620" y="4374"/>
                    <a:pt x="641" y="4361"/>
                  </a:cubicBezTo>
                  <a:cubicBezTo>
                    <a:pt x="699" y="4323"/>
                    <a:pt x="715" y="4246"/>
                    <a:pt x="678" y="4188"/>
                  </a:cubicBezTo>
                  <a:cubicBezTo>
                    <a:pt x="390" y="3744"/>
                    <a:pt x="252" y="3228"/>
                    <a:pt x="279" y="2695"/>
                  </a:cubicBezTo>
                  <a:cubicBezTo>
                    <a:pt x="310" y="2079"/>
                    <a:pt x="571" y="1496"/>
                    <a:pt x="1013" y="1054"/>
                  </a:cubicBezTo>
                  <a:cubicBezTo>
                    <a:pt x="1455" y="612"/>
                    <a:pt x="2038" y="351"/>
                    <a:pt x="2654" y="320"/>
                  </a:cubicBezTo>
                  <a:cubicBezTo>
                    <a:pt x="3932" y="255"/>
                    <a:pt x="5051" y="1155"/>
                    <a:pt x="5260" y="2412"/>
                  </a:cubicBezTo>
                  <a:cubicBezTo>
                    <a:pt x="5271" y="2480"/>
                    <a:pt x="5335" y="2526"/>
                    <a:pt x="5403" y="2515"/>
                  </a:cubicBezTo>
                  <a:cubicBezTo>
                    <a:pt x="5471" y="2504"/>
                    <a:pt x="5517" y="2440"/>
                    <a:pt x="5506" y="2372"/>
                  </a:cubicBezTo>
                  <a:cubicBezTo>
                    <a:pt x="5277" y="989"/>
                    <a:pt x="4045" y="0"/>
                    <a:pt x="2641" y="71"/>
                  </a:cubicBezTo>
                  <a:close/>
                  <a:moveTo>
                    <a:pt x="2641" y="71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2" name="object 15">
            <a:extLst>
              <a:ext uri="{FF2B5EF4-FFF2-40B4-BE49-F238E27FC236}">
                <a16:creationId xmlns:a16="http://schemas.microsoft.com/office/drawing/2014/main" id="{EE057372-B4A2-48C9-8A20-BD49F5FAED36}"/>
              </a:ext>
            </a:extLst>
          </p:cNvPr>
          <p:cNvSpPr txBox="1"/>
          <p:nvPr/>
        </p:nvSpPr>
        <p:spPr>
          <a:xfrm>
            <a:off x="6995180" y="1808310"/>
            <a:ext cx="4739988" cy="4829167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500"/>
              </a:spcAft>
            </a:pP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Раҳбарият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томонидан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мониторинг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доираси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</a:t>
            </a:r>
          </a:p>
          <a:p>
            <a:pPr marL="10319">
              <a:spcAft>
                <a:spcPts val="500"/>
              </a:spcAft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Раҳбарият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омонид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мониторинг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уйидагилар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ўриб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чиқиш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ўз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ичи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лад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:</a:t>
            </a:r>
          </a:p>
          <a:p>
            <a:pPr marL="10319">
              <a:spcAft>
                <a:spcPts val="500"/>
              </a:spcAft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а)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лдинг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аҳбарият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мониторинги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атижалар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соси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бул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илин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чора-тадбирлар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мал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шир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олат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10319">
              <a:spcAft>
                <a:spcPts val="500"/>
              </a:spcAft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б) 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мплаенс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изим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ил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оғлиқ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шқ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ички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уаммолардаг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ўзгариш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;</a:t>
            </a:r>
          </a:p>
          <a:p>
            <a:pPr marL="10319">
              <a:spcAft>
                <a:spcPts val="500"/>
              </a:spcAft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в) 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омлаенс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изими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амарадорлиг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ураш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йич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елгилан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лаблар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иоя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ил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ўғриси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ълумот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шу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умлад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: 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омувофиқлик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узатувч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аракатлар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uz-Cyrl-UZ" sz="1200" spc="-4" dirty="0">
                <a:solidFill>
                  <a:schemeClr val="tx2"/>
                </a:solidFill>
                <a:cs typeface="Arial" panose="020B0604020202020204" pitchFamily="34" charset="0"/>
              </a:rPr>
              <a:t>Мониторинг</a:t>
            </a: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ўлчов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атижалар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uz-Cyrl-UZ" sz="1200" spc="-4" dirty="0">
                <a:solidFill>
                  <a:schemeClr val="tx2"/>
                </a:solidFill>
                <a:cs typeface="Arial" panose="020B0604020202020204" pitchFamily="34" charset="0"/>
              </a:rPr>
              <a:t>Аудит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атижалар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Порахўрлик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ақи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абарлар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екширувлар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шкилот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уч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елади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порахўрлик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авфи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биат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ражас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10319">
              <a:spcAft>
                <a:spcPts val="500"/>
              </a:spcAft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д) Коррупция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авф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артараф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эт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йич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ўрилаёт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чора-тадбирлар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амарадорлиг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10319">
              <a:spcAft>
                <a:spcPts val="500"/>
              </a:spcAft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е) 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ураш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изим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оимий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авиш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комиллаштир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мкониятлар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615327E-D415-43F1-A8A4-6661EE86DAAE}"/>
              </a:ext>
            </a:extLst>
          </p:cNvPr>
          <p:cNvGrpSpPr/>
          <p:nvPr/>
        </p:nvGrpSpPr>
        <p:grpSpPr>
          <a:xfrm>
            <a:off x="443080" y="1282693"/>
            <a:ext cx="11306008" cy="434975"/>
            <a:chOff x="3784798" y="1289128"/>
            <a:chExt cx="7964290" cy="463165"/>
          </a:xfrm>
        </p:grpSpPr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80DADCEE-0996-4151-A39A-A6BC0440C5B3}"/>
                </a:ext>
              </a:extLst>
            </p:cNvPr>
            <p:cNvSpPr/>
            <p:nvPr/>
          </p:nvSpPr>
          <p:spPr>
            <a:xfrm>
              <a:off x="3921193" y="1371686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76880C31-1797-4525-ABC4-089474548EE0}"/>
                </a:ext>
              </a:extLst>
            </p:cNvPr>
            <p:cNvSpPr/>
            <p:nvPr/>
          </p:nvSpPr>
          <p:spPr>
            <a:xfrm>
              <a:off x="3784798" y="1289128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Раҳбарият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омонидан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мониторинг</a:t>
              </a:r>
            </a:p>
          </p:txBody>
        </p:sp>
      </p:grpSp>
      <p:sp>
        <p:nvSpPr>
          <p:cNvPr id="54" name="object 12">
            <a:extLst>
              <a:ext uri="{FF2B5EF4-FFF2-40B4-BE49-F238E27FC236}">
                <a16:creationId xmlns:a16="http://schemas.microsoft.com/office/drawing/2014/main" id="{DA69067A-E2FC-40DA-9906-9047CAB7AA12}"/>
              </a:ext>
            </a:extLst>
          </p:cNvPr>
          <p:cNvSpPr/>
          <p:nvPr/>
        </p:nvSpPr>
        <p:spPr>
          <a:xfrm>
            <a:off x="456832" y="177459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55" name="Group 571">
            <a:extLst>
              <a:ext uri="{FF2B5EF4-FFF2-40B4-BE49-F238E27FC236}">
                <a16:creationId xmlns:a16="http://schemas.microsoft.com/office/drawing/2014/main" id="{69D6AA2A-B734-4564-BD6D-4C63EF5EB26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9" y="1838450"/>
            <a:ext cx="457001" cy="565730"/>
            <a:chOff x="2312" y="2357"/>
            <a:chExt cx="269" cy="333"/>
          </a:xfrm>
          <a:solidFill>
            <a:schemeClr val="bg2">
              <a:lumMod val="25000"/>
            </a:schemeClr>
          </a:solidFill>
        </p:grpSpPr>
        <p:sp>
          <p:nvSpPr>
            <p:cNvPr id="56" name="Freeform 572">
              <a:extLst>
                <a:ext uri="{FF2B5EF4-FFF2-40B4-BE49-F238E27FC236}">
                  <a16:creationId xmlns:a16="http://schemas.microsoft.com/office/drawing/2014/main" id="{EFA480F7-A9AF-43CE-8753-6FD66FD6AB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3" y="2363"/>
              <a:ext cx="208" cy="209"/>
            </a:xfrm>
            <a:custGeom>
              <a:avLst/>
              <a:gdLst>
                <a:gd name="T0" fmla="*/ 2494 w 3835"/>
                <a:gd name="T1" fmla="*/ 1217 h 3836"/>
                <a:gd name="T2" fmla="*/ 2103 w 3835"/>
                <a:gd name="T3" fmla="*/ 1608 h 3836"/>
                <a:gd name="T4" fmla="*/ 439 w 3835"/>
                <a:gd name="T5" fmla="*/ 1701 h 3836"/>
                <a:gd name="T6" fmla="*/ 472 w 3835"/>
                <a:gd name="T7" fmla="*/ 3366 h 3836"/>
                <a:gd name="T8" fmla="*/ 2138 w 3835"/>
                <a:gd name="T9" fmla="*/ 3396 h 3836"/>
                <a:gd name="T10" fmla="*/ 2227 w 3835"/>
                <a:gd name="T11" fmla="*/ 1731 h 3836"/>
                <a:gd name="T12" fmla="*/ 2618 w 3835"/>
                <a:gd name="T13" fmla="*/ 1341 h 3836"/>
                <a:gd name="T14" fmla="*/ 3046 w 3835"/>
                <a:gd name="T15" fmla="*/ 1447 h 3836"/>
                <a:gd name="T16" fmla="*/ 3129 w 3835"/>
                <a:gd name="T17" fmla="*/ 1424 h 3836"/>
                <a:gd name="T18" fmla="*/ 3783 w 3835"/>
                <a:gd name="T19" fmla="*/ 771 h 3836"/>
                <a:gd name="T20" fmla="*/ 3729 w 3835"/>
                <a:gd name="T21" fmla="*/ 622 h 3836"/>
                <a:gd name="T22" fmla="*/ 3260 w 3835"/>
                <a:gd name="T23" fmla="*/ 575 h 3836"/>
                <a:gd name="T24" fmla="*/ 3213 w 3835"/>
                <a:gd name="T25" fmla="*/ 105 h 3836"/>
                <a:gd name="T26" fmla="*/ 3064 w 3835"/>
                <a:gd name="T27" fmla="*/ 52 h 3836"/>
                <a:gd name="T28" fmla="*/ 2410 w 3835"/>
                <a:gd name="T29" fmla="*/ 706 h 3836"/>
                <a:gd name="T30" fmla="*/ 2387 w 3835"/>
                <a:gd name="T31" fmla="*/ 789 h 3836"/>
                <a:gd name="T32" fmla="*/ 2494 w 3835"/>
                <a:gd name="T33" fmla="*/ 1217 h 3836"/>
                <a:gd name="T34" fmla="*/ 2370 w 3835"/>
                <a:gd name="T35" fmla="*/ 2516 h 3836"/>
                <a:gd name="T36" fmla="*/ 1547 w 3835"/>
                <a:gd name="T37" fmla="*/ 3545 h 3836"/>
                <a:gd name="T38" fmla="*/ 365 w 3835"/>
                <a:gd name="T39" fmla="*/ 2962 h 3836"/>
                <a:gd name="T40" fmla="*/ 680 w 3835"/>
                <a:gd name="T41" fmla="*/ 1682 h 3836"/>
                <a:gd name="T42" fmla="*/ 1997 w 3835"/>
                <a:gd name="T43" fmla="*/ 1714 h 3836"/>
                <a:gd name="T44" fmla="*/ 1611 w 3835"/>
                <a:gd name="T45" fmla="*/ 2100 h 3836"/>
                <a:gd name="T46" fmla="*/ 929 w 3835"/>
                <a:gd name="T47" fmla="*/ 2191 h 3836"/>
                <a:gd name="T48" fmla="*/ 961 w 3835"/>
                <a:gd name="T49" fmla="*/ 2877 h 3836"/>
                <a:gd name="T50" fmla="*/ 1648 w 3835"/>
                <a:gd name="T51" fmla="*/ 2906 h 3836"/>
                <a:gd name="T52" fmla="*/ 1735 w 3835"/>
                <a:gd name="T53" fmla="*/ 2224 h 3836"/>
                <a:gd name="T54" fmla="*/ 2121 w 3835"/>
                <a:gd name="T55" fmla="*/ 1838 h 3836"/>
                <a:gd name="T56" fmla="*/ 2370 w 3835"/>
                <a:gd name="T57" fmla="*/ 2516 h 3836"/>
                <a:gd name="T58" fmla="*/ 1678 w 3835"/>
                <a:gd name="T59" fmla="*/ 2516 h 3836"/>
                <a:gd name="T60" fmla="*/ 1412 w 3835"/>
                <a:gd name="T61" fmla="*/ 2863 h 3836"/>
                <a:gd name="T62" fmla="*/ 1009 w 3835"/>
                <a:gd name="T63" fmla="*/ 2694 h 3836"/>
                <a:gd name="T64" fmla="*/ 1069 w 3835"/>
                <a:gd name="T65" fmla="*/ 2261 h 3836"/>
                <a:gd name="T66" fmla="*/ 1503 w 3835"/>
                <a:gd name="T67" fmla="*/ 2209 h 3836"/>
                <a:gd name="T68" fmla="*/ 1257 w 3835"/>
                <a:gd name="T69" fmla="*/ 2455 h 3836"/>
                <a:gd name="T70" fmla="*/ 1257 w 3835"/>
                <a:gd name="T71" fmla="*/ 2578 h 3836"/>
                <a:gd name="T72" fmla="*/ 1380 w 3835"/>
                <a:gd name="T73" fmla="*/ 2578 h 3836"/>
                <a:gd name="T74" fmla="*/ 1627 w 3835"/>
                <a:gd name="T75" fmla="*/ 2332 h 3836"/>
                <a:gd name="T76" fmla="*/ 1678 w 3835"/>
                <a:gd name="T77" fmla="*/ 2516 h 3836"/>
                <a:gd name="T78" fmla="*/ 3040 w 3835"/>
                <a:gd name="T79" fmla="*/ 1266 h 3836"/>
                <a:gd name="T80" fmla="*/ 2762 w 3835"/>
                <a:gd name="T81" fmla="*/ 1196 h 3836"/>
                <a:gd name="T82" fmla="*/ 3212 w 3835"/>
                <a:gd name="T83" fmla="*/ 746 h 3836"/>
                <a:gd name="T84" fmla="*/ 3528 w 3835"/>
                <a:gd name="T85" fmla="*/ 778 h 3836"/>
                <a:gd name="T86" fmla="*/ 3040 w 3835"/>
                <a:gd name="T87" fmla="*/ 1266 h 3836"/>
                <a:gd name="T88" fmla="*/ 3057 w 3835"/>
                <a:gd name="T89" fmla="*/ 307 h 3836"/>
                <a:gd name="T90" fmla="*/ 3089 w 3835"/>
                <a:gd name="T91" fmla="*/ 622 h 3836"/>
                <a:gd name="T92" fmla="*/ 2639 w 3835"/>
                <a:gd name="T93" fmla="*/ 1072 h 3836"/>
                <a:gd name="T94" fmla="*/ 2569 w 3835"/>
                <a:gd name="T95" fmla="*/ 795 h 3836"/>
                <a:gd name="T96" fmla="*/ 3057 w 3835"/>
                <a:gd name="T97" fmla="*/ 307 h 3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835" h="3836">
                  <a:moveTo>
                    <a:pt x="2494" y="1217"/>
                  </a:moveTo>
                  <a:lnTo>
                    <a:pt x="2103" y="1608"/>
                  </a:lnTo>
                  <a:cubicBezTo>
                    <a:pt x="1614" y="1186"/>
                    <a:pt x="878" y="1227"/>
                    <a:pt x="439" y="1701"/>
                  </a:cubicBezTo>
                  <a:cubicBezTo>
                    <a:pt x="0" y="2174"/>
                    <a:pt x="15" y="2910"/>
                    <a:pt x="472" y="3366"/>
                  </a:cubicBezTo>
                  <a:cubicBezTo>
                    <a:pt x="930" y="3823"/>
                    <a:pt x="1666" y="3836"/>
                    <a:pt x="2138" y="3396"/>
                  </a:cubicBezTo>
                  <a:cubicBezTo>
                    <a:pt x="2611" y="2955"/>
                    <a:pt x="2650" y="2220"/>
                    <a:pt x="2227" y="1731"/>
                  </a:cubicBezTo>
                  <a:lnTo>
                    <a:pt x="2618" y="1341"/>
                  </a:lnTo>
                  <a:lnTo>
                    <a:pt x="3046" y="1447"/>
                  </a:lnTo>
                  <a:cubicBezTo>
                    <a:pt x="3075" y="1455"/>
                    <a:pt x="3107" y="1446"/>
                    <a:pt x="3129" y="1424"/>
                  </a:cubicBezTo>
                  <a:lnTo>
                    <a:pt x="3783" y="771"/>
                  </a:lnTo>
                  <a:cubicBezTo>
                    <a:pt x="3835" y="718"/>
                    <a:pt x="3803" y="629"/>
                    <a:pt x="3729" y="622"/>
                  </a:cubicBezTo>
                  <a:lnTo>
                    <a:pt x="3260" y="575"/>
                  </a:lnTo>
                  <a:lnTo>
                    <a:pt x="3213" y="105"/>
                  </a:lnTo>
                  <a:cubicBezTo>
                    <a:pt x="3206" y="32"/>
                    <a:pt x="3117" y="0"/>
                    <a:pt x="3064" y="52"/>
                  </a:cubicBezTo>
                  <a:lnTo>
                    <a:pt x="2410" y="706"/>
                  </a:lnTo>
                  <a:cubicBezTo>
                    <a:pt x="2389" y="728"/>
                    <a:pt x="2380" y="759"/>
                    <a:pt x="2387" y="789"/>
                  </a:cubicBezTo>
                  <a:lnTo>
                    <a:pt x="2494" y="1217"/>
                  </a:lnTo>
                  <a:close/>
                  <a:moveTo>
                    <a:pt x="2370" y="2516"/>
                  </a:moveTo>
                  <a:cubicBezTo>
                    <a:pt x="2371" y="3010"/>
                    <a:pt x="2028" y="3437"/>
                    <a:pt x="1547" y="3545"/>
                  </a:cubicBezTo>
                  <a:cubicBezTo>
                    <a:pt x="1065" y="3652"/>
                    <a:pt x="574" y="3409"/>
                    <a:pt x="365" y="2962"/>
                  </a:cubicBezTo>
                  <a:cubicBezTo>
                    <a:pt x="157" y="2514"/>
                    <a:pt x="288" y="1982"/>
                    <a:pt x="680" y="1682"/>
                  </a:cubicBezTo>
                  <a:cubicBezTo>
                    <a:pt x="1072" y="1383"/>
                    <a:pt x="1620" y="1396"/>
                    <a:pt x="1997" y="1714"/>
                  </a:cubicBezTo>
                  <a:lnTo>
                    <a:pt x="1611" y="2100"/>
                  </a:lnTo>
                  <a:cubicBezTo>
                    <a:pt x="1395" y="1949"/>
                    <a:pt x="1098" y="1988"/>
                    <a:pt x="929" y="2191"/>
                  </a:cubicBezTo>
                  <a:cubicBezTo>
                    <a:pt x="760" y="2393"/>
                    <a:pt x="774" y="2691"/>
                    <a:pt x="961" y="2877"/>
                  </a:cubicBezTo>
                  <a:cubicBezTo>
                    <a:pt x="1148" y="3064"/>
                    <a:pt x="1446" y="3076"/>
                    <a:pt x="1648" y="2906"/>
                  </a:cubicBezTo>
                  <a:cubicBezTo>
                    <a:pt x="1849" y="2736"/>
                    <a:pt x="1887" y="2439"/>
                    <a:pt x="1735" y="2224"/>
                  </a:cubicBezTo>
                  <a:lnTo>
                    <a:pt x="2121" y="1838"/>
                  </a:lnTo>
                  <a:cubicBezTo>
                    <a:pt x="2282" y="2027"/>
                    <a:pt x="2370" y="2268"/>
                    <a:pt x="2370" y="2516"/>
                  </a:cubicBezTo>
                  <a:close/>
                  <a:moveTo>
                    <a:pt x="1678" y="2516"/>
                  </a:moveTo>
                  <a:cubicBezTo>
                    <a:pt x="1678" y="2679"/>
                    <a:pt x="1569" y="2821"/>
                    <a:pt x="1412" y="2863"/>
                  </a:cubicBezTo>
                  <a:cubicBezTo>
                    <a:pt x="1255" y="2905"/>
                    <a:pt x="1089" y="2835"/>
                    <a:pt x="1009" y="2694"/>
                  </a:cubicBezTo>
                  <a:cubicBezTo>
                    <a:pt x="928" y="2553"/>
                    <a:pt x="953" y="2375"/>
                    <a:pt x="1069" y="2261"/>
                  </a:cubicBezTo>
                  <a:cubicBezTo>
                    <a:pt x="1185" y="2147"/>
                    <a:pt x="1363" y="2126"/>
                    <a:pt x="1503" y="2209"/>
                  </a:cubicBezTo>
                  <a:lnTo>
                    <a:pt x="1257" y="2455"/>
                  </a:lnTo>
                  <a:cubicBezTo>
                    <a:pt x="1222" y="2489"/>
                    <a:pt x="1222" y="2544"/>
                    <a:pt x="1257" y="2578"/>
                  </a:cubicBezTo>
                  <a:cubicBezTo>
                    <a:pt x="1291" y="2612"/>
                    <a:pt x="1346" y="2612"/>
                    <a:pt x="1380" y="2578"/>
                  </a:cubicBezTo>
                  <a:lnTo>
                    <a:pt x="1627" y="2332"/>
                  </a:lnTo>
                  <a:cubicBezTo>
                    <a:pt x="1660" y="2388"/>
                    <a:pt x="1678" y="2451"/>
                    <a:pt x="1678" y="2516"/>
                  </a:cubicBezTo>
                  <a:close/>
                  <a:moveTo>
                    <a:pt x="3040" y="1266"/>
                  </a:moveTo>
                  <a:lnTo>
                    <a:pt x="2762" y="1196"/>
                  </a:lnTo>
                  <a:lnTo>
                    <a:pt x="3212" y="746"/>
                  </a:lnTo>
                  <a:lnTo>
                    <a:pt x="3528" y="778"/>
                  </a:lnTo>
                  <a:lnTo>
                    <a:pt x="3040" y="1266"/>
                  </a:lnTo>
                  <a:close/>
                  <a:moveTo>
                    <a:pt x="3057" y="307"/>
                  </a:moveTo>
                  <a:lnTo>
                    <a:pt x="3089" y="622"/>
                  </a:lnTo>
                  <a:lnTo>
                    <a:pt x="2639" y="1072"/>
                  </a:lnTo>
                  <a:lnTo>
                    <a:pt x="2569" y="795"/>
                  </a:lnTo>
                  <a:lnTo>
                    <a:pt x="3057" y="30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73">
              <a:extLst>
                <a:ext uri="{FF2B5EF4-FFF2-40B4-BE49-F238E27FC236}">
                  <a16:creationId xmlns:a16="http://schemas.microsoft.com/office/drawing/2014/main" id="{D7E6B9F0-B386-4E48-B152-FBAF98774E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5" y="2408"/>
              <a:ext cx="193" cy="282"/>
            </a:xfrm>
            <a:custGeom>
              <a:avLst/>
              <a:gdLst>
                <a:gd name="T0" fmla="*/ 686 w 3539"/>
                <a:gd name="T1" fmla="*/ 2944 h 5188"/>
                <a:gd name="T2" fmla="*/ 1029 w 3539"/>
                <a:gd name="T3" fmla="*/ 3731 h 5188"/>
                <a:gd name="T4" fmla="*/ 1029 w 3539"/>
                <a:gd name="T5" fmla="*/ 4540 h 5188"/>
                <a:gd name="T6" fmla="*/ 1353 w 3539"/>
                <a:gd name="T7" fmla="*/ 4864 h 5188"/>
                <a:gd name="T8" fmla="*/ 1758 w 3539"/>
                <a:gd name="T9" fmla="*/ 4864 h 5188"/>
                <a:gd name="T10" fmla="*/ 1758 w 3539"/>
                <a:gd name="T11" fmla="*/ 5113 h 5188"/>
                <a:gd name="T12" fmla="*/ 1833 w 3539"/>
                <a:gd name="T13" fmla="*/ 5188 h 5188"/>
                <a:gd name="T14" fmla="*/ 1908 w 3539"/>
                <a:gd name="T15" fmla="*/ 5113 h 5188"/>
                <a:gd name="T16" fmla="*/ 1908 w 3539"/>
                <a:gd name="T17" fmla="*/ 4864 h 5188"/>
                <a:gd name="T18" fmla="*/ 2312 w 3539"/>
                <a:gd name="T19" fmla="*/ 4864 h 5188"/>
                <a:gd name="T20" fmla="*/ 2637 w 3539"/>
                <a:gd name="T21" fmla="*/ 4540 h 5188"/>
                <a:gd name="T22" fmla="*/ 2637 w 3539"/>
                <a:gd name="T23" fmla="*/ 3730 h 5188"/>
                <a:gd name="T24" fmla="*/ 2988 w 3539"/>
                <a:gd name="T25" fmla="*/ 2936 h 5188"/>
                <a:gd name="T26" fmla="*/ 3527 w 3539"/>
                <a:gd name="T27" fmla="*/ 1651 h 5188"/>
                <a:gd name="T28" fmla="*/ 3171 w 3539"/>
                <a:gd name="T29" fmla="*/ 657 h 5188"/>
                <a:gd name="T30" fmla="*/ 3052 w 3539"/>
                <a:gd name="T31" fmla="*/ 749 h 5188"/>
                <a:gd name="T32" fmla="*/ 3377 w 3539"/>
                <a:gd name="T33" fmla="*/ 1654 h 5188"/>
                <a:gd name="T34" fmla="*/ 2886 w 3539"/>
                <a:gd name="T35" fmla="*/ 2826 h 5188"/>
                <a:gd name="T36" fmla="*/ 2489 w 3539"/>
                <a:gd name="T37" fmla="*/ 3656 h 5188"/>
                <a:gd name="T38" fmla="*/ 1176 w 3539"/>
                <a:gd name="T39" fmla="*/ 3656 h 5188"/>
                <a:gd name="T40" fmla="*/ 788 w 3539"/>
                <a:gd name="T41" fmla="*/ 2833 h 5188"/>
                <a:gd name="T42" fmla="*/ 393 w 3539"/>
                <a:gd name="T43" fmla="*/ 1135 h 5188"/>
                <a:gd name="T44" fmla="*/ 1833 w 3539"/>
                <a:gd name="T45" fmla="*/ 150 h 5188"/>
                <a:gd name="T46" fmla="*/ 1847 w 3539"/>
                <a:gd name="T47" fmla="*/ 150 h 5188"/>
                <a:gd name="T48" fmla="*/ 2757 w 3539"/>
                <a:gd name="T49" fmla="*/ 459 h 5188"/>
                <a:gd name="T50" fmla="*/ 2862 w 3539"/>
                <a:gd name="T51" fmla="*/ 444 h 5188"/>
                <a:gd name="T52" fmla="*/ 2847 w 3539"/>
                <a:gd name="T53" fmla="*/ 339 h 5188"/>
                <a:gd name="T54" fmla="*/ 1848 w 3539"/>
                <a:gd name="T55" fmla="*/ 1 h 5188"/>
                <a:gd name="T56" fmla="*/ 1833 w 3539"/>
                <a:gd name="T57" fmla="*/ 0 h 5188"/>
                <a:gd name="T58" fmla="*/ 253 w 3539"/>
                <a:gd name="T59" fmla="*/ 1080 h 5188"/>
                <a:gd name="T60" fmla="*/ 686 w 3539"/>
                <a:gd name="T61" fmla="*/ 2944 h 5188"/>
                <a:gd name="T62" fmla="*/ 2312 w 3539"/>
                <a:gd name="T63" fmla="*/ 4714 h 5188"/>
                <a:gd name="T64" fmla="*/ 1353 w 3539"/>
                <a:gd name="T65" fmla="*/ 4714 h 5188"/>
                <a:gd name="T66" fmla="*/ 1179 w 3539"/>
                <a:gd name="T67" fmla="*/ 4540 h 5188"/>
                <a:gd name="T68" fmla="*/ 1179 w 3539"/>
                <a:gd name="T69" fmla="*/ 4508 h 5188"/>
                <a:gd name="T70" fmla="*/ 2038 w 3539"/>
                <a:gd name="T71" fmla="*/ 4508 h 5188"/>
                <a:gd name="T72" fmla="*/ 2113 w 3539"/>
                <a:gd name="T73" fmla="*/ 4433 h 5188"/>
                <a:gd name="T74" fmla="*/ 2038 w 3539"/>
                <a:gd name="T75" fmla="*/ 4358 h 5188"/>
                <a:gd name="T76" fmla="*/ 1179 w 3539"/>
                <a:gd name="T77" fmla="*/ 4358 h 5188"/>
                <a:gd name="T78" fmla="*/ 1179 w 3539"/>
                <a:gd name="T79" fmla="*/ 4152 h 5188"/>
                <a:gd name="T80" fmla="*/ 1390 w 3539"/>
                <a:gd name="T81" fmla="*/ 4152 h 5188"/>
                <a:gd name="T82" fmla="*/ 1465 w 3539"/>
                <a:gd name="T83" fmla="*/ 4077 h 5188"/>
                <a:gd name="T84" fmla="*/ 1390 w 3539"/>
                <a:gd name="T85" fmla="*/ 4002 h 5188"/>
                <a:gd name="T86" fmla="*/ 1179 w 3539"/>
                <a:gd name="T87" fmla="*/ 4002 h 5188"/>
                <a:gd name="T88" fmla="*/ 1179 w 3539"/>
                <a:gd name="T89" fmla="*/ 3806 h 5188"/>
                <a:gd name="T90" fmla="*/ 2487 w 3539"/>
                <a:gd name="T91" fmla="*/ 3806 h 5188"/>
                <a:gd name="T92" fmla="*/ 2487 w 3539"/>
                <a:gd name="T93" fmla="*/ 4002 h 5188"/>
                <a:gd name="T94" fmla="*/ 1648 w 3539"/>
                <a:gd name="T95" fmla="*/ 4002 h 5188"/>
                <a:gd name="T96" fmla="*/ 1573 w 3539"/>
                <a:gd name="T97" fmla="*/ 4077 h 5188"/>
                <a:gd name="T98" fmla="*/ 1648 w 3539"/>
                <a:gd name="T99" fmla="*/ 4152 h 5188"/>
                <a:gd name="T100" fmla="*/ 2487 w 3539"/>
                <a:gd name="T101" fmla="*/ 4152 h 5188"/>
                <a:gd name="T102" fmla="*/ 2487 w 3539"/>
                <a:gd name="T103" fmla="*/ 4358 h 5188"/>
                <a:gd name="T104" fmla="*/ 2296 w 3539"/>
                <a:gd name="T105" fmla="*/ 4358 h 5188"/>
                <a:gd name="T106" fmla="*/ 2221 w 3539"/>
                <a:gd name="T107" fmla="*/ 4433 h 5188"/>
                <a:gd name="T108" fmla="*/ 2296 w 3539"/>
                <a:gd name="T109" fmla="*/ 4508 h 5188"/>
                <a:gd name="T110" fmla="*/ 2487 w 3539"/>
                <a:gd name="T111" fmla="*/ 4508 h 5188"/>
                <a:gd name="T112" fmla="*/ 2487 w 3539"/>
                <a:gd name="T113" fmla="*/ 4540 h 5188"/>
                <a:gd name="T114" fmla="*/ 2312 w 3539"/>
                <a:gd name="T115" fmla="*/ 4714 h 5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39" h="5188">
                  <a:moveTo>
                    <a:pt x="686" y="2944"/>
                  </a:moveTo>
                  <a:cubicBezTo>
                    <a:pt x="905" y="3147"/>
                    <a:pt x="1030" y="3433"/>
                    <a:pt x="1029" y="3731"/>
                  </a:cubicBezTo>
                  <a:lnTo>
                    <a:pt x="1029" y="4540"/>
                  </a:lnTo>
                  <a:cubicBezTo>
                    <a:pt x="1029" y="4719"/>
                    <a:pt x="1174" y="4864"/>
                    <a:pt x="1353" y="4864"/>
                  </a:cubicBezTo>
                  <a:lnTo>
                    <a:pt x="1758" y="4864"/>
                  </a:lnTo>
                  <a:lnTo>
                    <a:pt x="1758" y="5113"/>
                  </a:lnTo>
                  <a:cubicBezTo>
                    <a:pt x="1758" y="5154"/>
                    <a:pt x="1791" y="5188"/>
                    <a:pt x="1833" y="5188"/>
                  </a:cubicBezTo>
                  <a:cubicBezTo>
                    <a:pt x="1874" y="5188"/>
                    <a:pt x="1908" y="5154"/>
                    <a:pt x="1908" y="5113"/>
                  </a:cubicBezTo>
                  <a:lnTo>
                    <a:pt x="1908" y="4864"/>
                  </a:lnTo>
                  <a:lnTo>
                    <a:pt x="2312" y="4864"/>
                  </a:lnTo>
                  <a:cubicBezTo>
                    <a:pt x="2491" y="4864"/>
                    <a:pt x="2636" y="4719"/>
                    <a:pt x="2637" y="4540"/>
                  </a:cubicBezTo>
                  <a:lnTo>
                    <a:pt x="2637" y="3730"/>
                  </a:lnTo>
                  <a:cubicBezTo>
                    <a:pt x="2639" y="3428"/>
                    <a:pt x="2766" y="3141"/>
                    <a:pt x="2988" y="2936"/>
                  </a:cubicBezTo>
                  <a:cubicBezTo>
                    <a:pt x="3343" y="2604"/>
                    <a:pt x="3539" y="2136"/>
                    <a:pt x="3527" y="1651"/>
                  </a:cubicBezTo>
                  <a:cubicBezTo>
                    <a:pt x="3518" y="1290"/>
                    <a:pt x="3393" y="941"/>
                    <a:pt x="3171" y="657"/>
                  </a:cubicBezTo>
                  <a:cubicBezTo>
                    <a:pt x="3109" y="578"/>
                    <a:pt x="2991" y="670"/>
                    <a:pt x="3052" y="749"/>
                  </a:cubicBezTo>
                  <a:cubicBezTo>
                    <a:pt x="3255" y="1008"/>
                    <a:pt x="3369" y="1325"/>
                    <a:pt x="3377" y="1654"/>
                  </a:cubicBezTo>
                  <a:cubicBezTo>
                    <a:pt x="3388" y="2097"/>
                    <a:pt x="3209" y="2524"/>
                    <a:pt x="2886" y="2826"/>
                  </a:cubicBezTo>
                  <a:cubicBezTo>
                    <a:pt x="2652" y="3042"/>
                    <a:pt x="2510" y="3339"/>
                    <a:pt x="2489" y="3656"/>
                  </a:cubicBezTo>
                  <a:lnTo>
                    <a:pt x="1176" y="3656"/>
                  </a:lnTo>
                  <a:cubicBezTo>
                    <a:pt x="1158" y="3342"/>
                    <a:pt x="1019" y="3047"/>
                    <a:pt x="788" y="2833"/>
                  </a:cubicBezTo>
                  <a:cubicBezTo>
                    <a:pt x="319" y="2403"/>
                    <a:pt x="162" y="1728"/>
                    <a:pt x="393" y="1135"/>
                  </a:cubicBezTo>
                  <a:cubicBezTo>
                    <a:pt x="624" y="541"/>
                    <a:pt x="1196" y="151"/>
                    <a:pt x="1833" y="150"/>
                  </a:cubicBezTo>
                  <a:lnTo>
                    <a:pt x="1847" y="150"/>
                  </a:lnTo>
                  <a:cubicBezTo>
                    <a:pt x="2176" y="153"/>
                    <a:pt x="2495" y="261"/>
                    <a:pt x="2757" y="459"/>
                  </a:cubicBezTo>
                  <a:cubicBezTo>
                    <a:pt x="2790" y="484"/>
                    <a:pt x="2837" y="477"/>
                    <a:pt x="2862" y="444"/>
                  </a:cubicBezTo>
                  <a:cubicBezTo>
                    <a:pt x="2887" y="411"/>
                    <a:pt x="2880" y="364"/>
                    <a:pt x="2847" y="339"/>
                  </a:cubicBezTo>
                  <a:cubicBezTo>
                    <a:pt x="2559" y="122"/>
                    <a:pt x="2209" y="3"/>
                    <a:pt x="1848" y="1"/>
                  </a:cubicBezTo>
                  <a:cubicBezTo>
                    <a:pt x="1843" y="0"/>
                    <a:pt x="1838" y="0"/>
                    <a:pt x="1833" y="0"/>
                  </a:cubicBezTo>
                  <a:cubicBezTo>
                    <a:pt x="1134" y="0"/>
                    <a:pt x="507" y="429"/>
                    <a:pt x="253" y="1080"/>
                  </a:cubicBezTo>
                  <a:cubicBezTo>
                    <a:pt x="0" y="1731"/>
                    <a:pt x="172" y="2471"/>
                    <a:pt x="686" y="2944"/>
                  </a:cubicBezTo>
                  <a:close/>
                  <a:moveTo>
                    <a:pt x="2312" y="4714"/>
                  </a:moveTo>
                  <a:lnTo>
                    <a:pt x="1353" y="4714"/>
                  </a:lnTo>
                  <a:cubicBezTo>
                    <a:pt x="1257" y="4714"/>
                    <a:pt x="1179" y="4636"/>
                    <a:pt x="1179" y="4540"/>
                  </a:cubicBezTo>
                  <a:lnTo>
                    <a:pt x="1179" y="4508"/>
                  </a:lnTo>
                  <a:lnTo>
                    <a:pt x="2038" y="4508"/>
                  </a:lnTo>
                  <a:cubicBezTo>
                    <a:pt x="2080" y="4508"/>
                    <a:pt x="2113" y="4474"/>
                    <a:pt x="2113" y="4433"/>
                  </a:cubicBezTo>
                  <a:cubicBezTo>
                    <a:pt x="2113" y="4391"/>
                    <a:pt x="2080" y="4358"/>
                    <a:pt x="2038" y="4358"/>
                  </a:cubicBezTo>
                  <a:lnTo>
                    <a:pt x="1179" y="4358"/>
                  </a:lnTo>
                  <a:lnTo>
                    <a:pt x="1179" y="4152"/>
                  </a:lnTo>
                  <a:lnTo>
                    <a:pt x="1390" y="4152"/>
                  </a:lnTo>
                  <a:cubicBezTo>
                    <a:pt x="1432" y="4152"/>
                    <a:pt x="1465" y="4118"/>
                    <a:pt x="1465" y="4077"/>
                  </a:cubicBezTo>
                  <a:cubicBezTo>
                    <a:pt x="1465" y="4035"/>
                    <a:pt x="1432" y="4002"/>
                    <a:pt x="1390" y="4002"/>
                  </a:cubicBezTo>
                  <a:lnTo>
                    <a:pt x="1179" y="4002"/>
                  </a:lnTo>
                  <a:lnTo>
                    <a:pt x="1179" y="3806"/>
                  </a:lnTo>
                  <a:lnTo>
                    <a:pt x="2487" y="3806"/>
                  </a:lnTo>
                  <a:lnTo>
                    <a:pt x="2487" y="4002"/>
                  </a:lnTo>
                  <a:lnTo>
                    <a:pt x="1648" y="4002"/>
                  </a:lnTo>
                  <a:cubicBezTo>
                    <a:pt x="1607" y="4002"/>
                    <a:pt x="1573" y="4035"/>
                    <a:pt x="1573" y="4077"/>
                  </a:cubicBezTo>
                  <a:cubicBezTo>
                    <a:pt x="1573" y="4118"/>
                    <a:pt x="1607" y="4152"/>
                    <a:pt x="1648" y="4152"/>
                  </a:cubicBezTo>
                  <a:lnTo>
                    <a:pt x="2487" y="4152"/>
                  </a:lnTo>
                  <a:lnTo>
                    <a:pt x="2487" y="4358"/>
                  </a:lnTo>
                  <a:lnTo>
                    <a:pt x="2296" y="4358"/>
                  </a:lnTo>
                  <a:cubicBezTo>
                    <a:pt x="2255" y="4358"/>
                    <a:pt x="2221" y="4391"/>
                    <a:pt x="2221" y="4433"/>
                  </a:cubicBezTo>
                  <a:cubicBezTo>
                    <a:pt x="2221" y="4474"/>
                    <a:pt x="2255" y="4508"/>
                    <a:pt x="2296" y="4508"/>
                  </a:cubicBezTo>
                  <a:lnTo>
                    <a:pt x="2487" y="4508"/>
                  </a:lnTo>
                  <a:lnTo>
                    <a:pt x="2487" y="4540"/>
                  </a:lnTo>
                  <a:cubicBezTo>
                    <a:pt x="2487" y="4636"/>
                    <a:pt x="2409" y="4714"/>
                    <a:pt x="2312" y="471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4">
              <a:extLst>
                <a:ext uri="{FF2B5EF4-FFF2-40B4-BE49-F238E27FC236}">
                  <a16:creationId xmlns:a16="http://schemas.microsoft.com/office/drawing/2014/main" id="{87EFC2D5-B014-4606-9BF5-02317D4AA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4" y="2357"/>
              <a:ext cx="8" cy="36"/>
            </a:xfrm>
            <a:custGeom>
              <a:avLst/>
              <a:gdLst>
                <a:gd name="T0" fmla="*/ 75 w 150"/>
                <a:gd name="T1" fmla="*/ 649 h 649"/>
                <a:gd name="T2" fmla="*/ 150 w 150"/>
                <a:gd name="T3" fmla="*/ 574 h 649"/>
                <a:gd name="T4" fmla="*/ 150 w 150"/>
                <a:gd name="T5" fmla="*/ 75 h 649"/>
                <a:gd name="T6" fmla="*/ 75 w 150"/>
                <a:gd name="T7" fmla="*/ 0 h 649"/>
                <a:gd name="T8" fmla="*/ 0 w 150"/>
                <a:gd name="T9" fmla="*/ 75 h 649"/>
                <a:gd name="T10" fmla="*/ 0 w 150"/>
                <a:gd name="T11" fmla="*/ 574 h 649"/>
                <a:gd name="T12" fmla="*/ 75 w 150"/>
                <a:gd name="T13" fmla="*/ 649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649">
                  <a:moveTo>
                    <a:pt x="75" y="649"/>
                  </a:moveTo>
                  <a:cubicBezTo>
                    <a:pt x="116" y="649"/>
                    <a:pt x="150" y="615"/>
                    <a:pt x="150" y="574"/>
                  </a:cubicBezTo>
                  <a:lnTo>
                    <a:pt x="150" y="75"/>
                  </a:lnTo>
                  <a:cubicBezTo>
                    <a:pt x="150" y="34"/>
                    <a:pt x="116" y="0"/>
                    <a:pt x="75" y="0"/>
                  </a:cubicBezTo>
                  <a:cubicBezTo>
                    <a:pt x="33" y="0"/>
                    <a:pt x="0" y="34"/>
                    <a:pt x="0" y="75"/>
                  </a:cubicBezTo>
                  <a:lnTo>
                    <a:pt x="0" y="574"/>
                  </a:lnTo>
                  <a:cubicBezTo>
                    <a:pt x="0" y="615"/>
                    <a:pt x="33" y="649"/>
                    <a:pt x="75" y="64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75">
              <a:extLst>
                <a:ext uri="{FF2B5EF4-FFF2-40B4-BE49-F238E27FC236}">
                  <a16:creationId xmlns:a16="http://schemas.microsoft.com/office/drawing/2014/main" id="{BAFDB98A-312A-4A97-A117-DF577FAE38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3" y="2486"/>
              <a:ext cx="35" cy="9"/>
            </a:xfrm>
            <a:custGeom>
              <a:avLst/>
              <a:gdLst>
                <a:gd name="T0" fmla="*/ 75 w 649"/>
                <a:gd name="T1" fmla="*/ 0 h 150"/>
                <a:gd name="T2" fmla="*/ 0 w 649"/>
                <a:gd name="T3" fmla="*/ 75 h 150"/>
                <a:gd name="T4" fmla="*/ 75 w 649"/>
                <a:gd name="T5" fmla="*/ 150 h 150"/>
                <a:gd name="T6" fmla="*/ 574 w 649"/>
                <a:gd name="T7" fmla="*/ 150 h 150"/>
                <a:gd name="T8" fmla="*/ 649 w 649"/>
                <a:gd name="T9" fmla="*/ 75 h 150"/>
                <a:gd name="T10" fmla="*/ 574 w 649"/>
                <a:gd name="T11" fmla="*/ 0 h 150"/>
                <a:gd name="T12" fmla="*/ 75 w 649"/>
                <a:gd name="T1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9" h="150">
                  <a:moveTo>
                    <a:pt x="75" y="0"/>
                  </a:moveTo>
                  <a:cubicBezTo>
                    <a:pt x="34" y="0"/>
                    <a:pt x="0" y="34"/>
                    <a:pt x="0" y="75"/>
                  </a:cubicBezTo>
                  <a:cubicBezTo>
                    <a:pt x="0" y="117"/>
                    <a:pt x="34" y="150"/>
                    <a:pt x="75" y="150"/>
                  </a:cubicBezTo>
                  <a:lnTo>
                    <a:pt x="574" y="150"/>
                  </a:lnTo>
                  <a:cubicBezTo>
                    <a:pt x="615" y="150"/>
                    <a:pt x="649" y="117"/>
                    <a:pt x="649" y="75"/>
                  </a:cubicBezTo>
                  <a:cubicBezTo>
                    <a:pt x="649" y="34"/>
                    <a:pt x="615" y="0"/>
                    <a:pt x="574" y="0"/>
                  </a:cubicBezTo>
                  <a:lnTo>
                    <a:pt x="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76">
              <a:extLst>
                <a:ext uri="{FF2B5EF4-FFF2-40B4-BE49-F238E27FC236}">
                  <a16:creationId xmlns:a16="http://schemas.microsoft.com/office/drawing/2014/main" id="{49F202B0-ED3F-4171-AC4B-4945AF5FE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" y="2486"/>
              <a:ext cx="35" cy="9"/>
            </a:xfrm>
            <a:custGeom>
              <a:avLst/>
              <a:gdLst>
                <a:gd name="T0" fmla="*/ 75 w 648"/>
                <a:gd name="T1" fmla="*/ 150 h 150"/>
                <a:gd name="T2" fmla="*/ 573 w 648"/>
                <a:gd name="T3" fmla="*/ 150 h 150"/>
                <a:gd name="T4" fmla="*/ 648 w 648"/>
                <a:gd name="T5" fmla="*/ 75 h 150"/>
                <a:gd name="T6" fmla="*/ 573 w 648"/>
                <a:gd name="T7" fmla="*/ 0 h 150"/>
                <a:gd name="T8" fmla="*/ 75 w 648"/>
                <a:gd name="T9" fmla="*/ 0 h 150"/>
                <a:gd name="T10" fmla="*/ 0 w 648"/>
                <a:gd name="T11" fmla="*/ 75 h 150"/>
                <a:gd name="T12" fmla="*/ 75 w 648"/>
                <a:gd name="T13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8" h="150">
                  <a:moveTo>
                    <a:pt x="75" y="150"/>
                  </a:moveTo>
                  <a:lnTo>
                    <a:pt x="573" y="150"/>
                  </a:lnTo>
                  <a:cubicBezTo>
                    <a:pt x="614" y="150"/>
                    <a:pt x="648" y="117"/>
                    <a:pt x="648" y="75"/>
                  </a:cubicBezTo>
                  <a:cubicBezTo>
                    <a:pt x="648" y="34"/>
                    <a:pt x="614" y="0"/>
                    <a:pt x="573" y="0"/>
                  </a:cubicBezTo>
                  <a:lnTo>
                    <a:pt x="75" y="0"/>
                  </a:lnTo>
                  <a:cubicBezTo>
                    <a:pt x="33" y="0"/>
                    <a:pt x="0" y="34"/>
                    <a:pt x="0" y="75"/>
                  </a:cubicBezTo>
                  <a:cubicBezTo>
                    <a:pt x="0" y="117"/>
                    <a:pt x="33" y="150"/>
                    <a:pt x="75" y="15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77">
              <a:extLst>
                <a:ext uri="{FF2B5EF4-FFF2-40B4-BE49-F238E27FC236}">
                  <a16:creationId xmlns:a16="http://schemas.microsoft.com/office/drawing/2014/main" id="{43D71FC9-BD62-4BF0-8E6B-7B237A16A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3" y="2389"/>
              <a:ext cx="35" cy="34"/>
            </a:xfrm>
            <a:custGeom>
              <a:avLst/>
              <a:gdLst>
                <a:gd name="T0" fmla="*/ 459 w 636"/>
                <a:gd name="T1" fmla="*/ 566 h 637"/>
                <a:gd name="T2" fmla="*/ 565 w 636"/>
                <a:gd name="T3" fmla="*/ 460 h 637"/>
                <a:gd name="T4" fmla="*/ 176 w 636"/>
                <a:gd name="T5" fmla="*/ 71 h 637"/>
                <a:gd name="T6" fmla="*/ 70 w 636"/>
                <a:gd name="T7" fmla="*/ 177 h 637"/>
                <a:gd name="T8" fmla="*/ 459 w 636"/>
                <a:gd name="T9" fmla="*/ 566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6" h="637">
                  <a:moveTo>
                    <a:pt x="459" y="566"/>
                  </a:moveTo>
                  <a:cubicBezTo>
                    <a:pt x="530" y="637"/>
                    <a:pt x="636" y="530"/>
                    <a:pt x="565" y="460"/>
                  </a:cubicBezTo>
                  <a:lnTo>
                    <a:pt x="176" y="71"/>
                  </a:lnTo>
                  <a:cubicBezTo>
                    <a:pt x="106" y="0"/>
                    <a:pt x="0" y="106"/>
                    <a:pt x="70" y="177"/>
                  </a:cubicBezTo>
                  <a:lnTo>
                    <a:pt x="459" y="56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2" name="object 12">
            <a:extLst>
              <a:ext uri="{FF2B5EF4-FFF2-40B4-BE49-F238E27FC236}">
                <a16:creationId xmlns:a16="http://schemas.microsoft.com/office/drawing/2014/main" id="{E04898C2-3BF0-4E4C-A620-A75F2B0245AA}"/>
              </a:ext>
            </a:extLst>
          </p:cNvPr>
          <p:cNvSpPr/>
          <p:nvPr/>
        </p:nvSpPr>
        <p:spPr>
          <a:xfrm>
            <a:off x="6180020" y="177459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63" name="Group 2101">
            <a:extLst>
              <a:ext uri="{FF2B5EF4-FFF2-40B4-BE49-F238E27FC236}">
                <a16:creationId xmlns:a16="http://schemas.microsoft.com/office/drawing/2014/main" id="{4140D902-53B1-4EC6-A0C9-03CC8155250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67438" y="1859276"/>
            <a:ext cx="501244" cy="519251"/>
            <a:chOff x="6533" y="1657"/>
            <a:chExt cx="167" cy="173"/>
          </a:xfrm>
          <a:solidFill>
            <a:schemeClr val="bg2">
              <a:lumMod val="25000"/>
            </a:schemeClr>
          </a:solidFill>
        </p:grpSpPr>
        <p:sp>
          <p:nvSpPr>
            <p:cNvPr id="64" name="Freeform 2102">
              <a:extLst>
                <a:ext uri="{FF2B5EF4-FFF2-40B4-BE49-F238E27FC236}">
                  <a16:creationId xmlns:a16="http://schemas.microsoft.com/office/drawing/2014/main" id="{21FA3568-A0CD-456C-97C7-6A5CA734CA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02" y="1732"/>
              <a:ext cx="98" cy="98"/>
            </a:xfrm>
            <a:custGeom>
              <a:avLst/>
              <a:gdLst>
                <a:gd name="T0" fmla="*/ 4007 w 4524"/>
                <a:gd name="T1" fmla="*/ 1735 h 4523"/>
                <a:gd name="T2" fmla="*/ 4090 w 4524"/>
                <a:gd name="T3" fmla="*/ 1033 h 4523"/>
                <a:gd name="T4" fmla="*/ 3655 w 4524"/>
                <a:gd name="T5" fmla="*/ 455 h 4523"/>
                <a:gd name="T6" fmla="*/ 3123 w 4524"/>
                <a:gd name="T7" fmla="*/ 656 h 4523"/>
                <a:gd name="T8" fmla="*/ 2789 w 4524"/>
                <a:gd name="T9" fmla="*/ 518 h 4523"/>
                <a:gd name="T10" fmla="*/ 2556 w 4524"/>
                <a:gd name="T11" fmla="*/ 0 h 4523"/>
                <a:gd name="T12" fmla="*/ 1840 w 4524"/>
                <a:gd name="T13" fmla="*/ 101 h 4523"/>
                <a:gd name="T14" fmla="*/ 1403 w 4524"/>
                <a:gd name="T15" fmla="*/ 656 h 4523"/>
                <a:gd name="T16" fmla="*/ 871 w 4524"/>
                <a:gd name="T17" fmla="*/ 455 h 4523"/>
                <a:gd name="T18" fmla="*/ 435 w 4524"/>
                <a:gd name="T19" fmla="*/ 1033 h 4523"/>
                <a:gd name="T20" fmla="*/ 519 w 4524"/>
                <a:gd name="T21" fmla="*/ 1735 h 4523"/>
                <a:gd name="T22" fmla="*/ 0 w 4524"/>
                <a:gd name="T23" fmla="*/ 1968 h 4523"/>
                <a:gd name="T24" fmla="*/ 101 w 4524"/>
                <a:gd name="T25" fmla="*/ 2684 h 4523"/>
                <a:gd name="T26" fmla="*/ 657 w 4524"/>
                <a:gd name="T27" fmla="*/ 3121 h 4523"/>
                <a:gd name="T28" fmla="*/ 455 w 4524"/>
                <a:gd name="T29" fmla="*/ 3653 h 4523"/>
                <a:gd name="T30" fmla="*/ 1033 w 4524"/>
                <a:gd name="T31" fmla="*/ 4088 h 4523"/>
                <a:gd name="T32" fmla="*/ 1735 w 4524"/>
                <a:gd name="T33" fmla="*/ 4005 h 4523"/>
                <a:gd name="T34" fmla="*/ 1968 w 4524"/>
                <a:gd name="T35" fmla="*/ 4523 h 4523"/>
                <a:gd name="T36" fmla="*/ 2685 w 4524"/>
                <a:gd name="T37" fmla="*/ 4422 h 4523"/>
                <a:gd name="T38" fmla="*/ 3122 w 4524"/>
                <a:gd name="T39" fmla="*/ 3867 h 4523"/>
                <a:gd name="T40" fmla="*/ 3654 w 4524"/>
                <a:gd name="T41" fmla="*/ 4068 h 4523"/>
                <a:gd name="T42" fmla="*/ 4089 w 4524"/>
                <a:gd name="T43" fmla="*/ 3490 h 4523"/>
                <a:gd name="T44" fmla="*/ 4006 w 4524"/>
                <a:gd name="T45" fmla="*/ 2789 h 4523"/>
                <a:gd name="T46" fmla="*/ 4524 w 4524"/>
                <a:gd name="T47" fmla="*/ 2555 h 4523"/>
                <a:gd name="T48" fmla="*/ 4424 w 4524"/>
                <a:gd name="T49" fmla="*/ 1839 h 4523"/>
                <a:gd name="T50" fmla="*/ 3867 w 4524"/>
                <a:gd name="T51" fmla="*/ 2550 h 4523"/>
                <a:gd name="T52" fmla="*/ 3600 w 4524"/>
                <a:gd name="T53" fmla="*/ 3056 h 4523"/>
                <a:gd name="T54" fmla="*/ 3808 w 4524"/>
                <a:gd name="T55" fmla="*/ 3539 h 4523"/>
                <a:gd name="T56" fmla="*/ 3194 w 4524"/>
                <a:gd name="T57" fmla="*/ 3600 h 4523"/>
                <a:gd name="T58" fmla="*/ 2648 w 4524"/>
                <a:gd name="T59" fmla="*/ 3770 h 4523"/>
                <a:gd name="T60" fmla="*/ 2452 w 4524"/>
                <a:gd name="T61" fmla="*/ 4258 h 4523"/>
                <a:gd name="T62" fmla="*/ 1975 w 4524"/>
                <a:gd name="T63" fmla="*/ 3867 h 4523"/>
                <a:gd name="T64" fmla="*/ 1468 w 4524"/>
                <a:gd name="T65" fmla="*/ 3600 h 4523"/>
                <a:gd name="T66" fmla="*/ 986 w 4524"/>
                <a:gd name="T67" fmla="*/ 3808 h 4523"/>
                <a:gd name="T68" fmla="*/ 925 w 4524"/>
                <a:gd name="T69" fmla="*/ 3194 h 4523"/>
                <a:gd name="T70" fmla="*/ 755 w 4524"/>
                <a:gd name="T71" fmla="*/ 2647 h 4523"/>
                <a:gd name="T72" fmla="*/ 267 w 4524"/>
                <a:gd name="T73" fmla="*/ 2452 h 4523"/>
                <a:gd name="T74" fmla="*/ 658 w 4524"/>
                <a:gd name="T75" fmla="*/ 1974 h 4523"/>
                <a:gd name="T76" fmla="*/ 925 w 4524"/>
                <a:gd name="T77" fmla="*/ 1468 h 4523"/>
                <a:gd name="T78" fmla="*/ 717 w 4524"/>
                <a:gd name="T79" fmla="*/ 985 h 4523"/>
                <a:gd name="T80" fmla="*/ 1331 w 4524"/>
                <a:gd name="T81" fmla="*/ 924 h 4523"/>
                <a:gd name="T82" fmla="*/ 1878 w 4524"/>
                <a:gd name="T83" fmla="*/ 754 h 4523"/>
                <a:gd name="T84" fmla="*/ 2073 w 4524"/>
                <a:gd name="T85" fmla="*/ 266 h 4523"/>
                <a:gd name="T86" fmla="*/ 2550 w 4524"/>
                <a:gd name="T87" fmla="*/ 658 h 4523"/>
                <a:gd name="T88" fmla="*/ 3057 w 4524"/>
                <a:gd name="T89" fmla="*/ 925 h 4523"/>
                <a:gd name="T90" fmla="*/ 3539 w 4524"/>
                <a:gd name="T91" fmla="*/ 717 h 4523"/>
                <a:gd name="T92" fmla="*/ 3600 w 4524"/>
                <a:gd name="T93" fmla="*/ 1331 h 4523"/>
                <a:gd name="T94" fmla="*/ 3771 w 4524"/>
                <a:gd name="T95" fmla="*/ 1877 h 4523"/>
                <a:gd name="T96" fmla="*/ 4259 w 4524"/>
                <a:gd name="T97" fmla="*/ 2072 h 4523"/>
                <a:gd name="T98" fmla="*/ 4259 w 4524"/>
                <a:gd name="T99" fmla="*/ 2452 h 4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524" h="4523">
                  <a:moveTo>
                    <a:pt x="4424" y="1839"/>
                  </a:moveTo>
                  <a:lnTo>
                    <a:pt x="4007" y="1735"/>
                  </a:lnTo>
                  <a:cubicBezTo>
                    <a:pt x="3972" y="1620"/>
                    <a:pt x="3925" y="1508"/>
                    <a:pt x="3868" y="1402"/>
                  </a:cubicBezTo>
                  <a:lnTo>
                    <a:pt x="4090" y="1033"/>
                  </a:lnTo>
                  <a:cubicBezTo>
                    <a:pt x="4121" y="981"/>
                    <a:pt x="4113" y="914"/>
                    <a:pt x="4070" y="871"/>
                  </a:cubicBezTo>
                  <a:lnTo>
                    <a:pt x="3655" y="455"/>
                  </a:lnTo>
                  <a:cubicBezTo>
                    <a:pt x="3611" y="412"/>
                    <a:pt x="3544" y="403"/>
                    <a:pt x="3492" y="435"/>
                  </a:cubicBezTo>
                  <a:lnTo>
                    <a:pt x="3123" y="656"/>
                  </a:lnTo>
                  <a:cubicBezTo>
                    <a:pt x="3075" y="631"/>
                    <a:pt x="3026" y="607"/>
                    <a:pt x="2976" y="585"/>
                  </a:cubicBezTo>
                  <a:cubicBezTo>
                    <a:pt x="2915" y="560"/>
                    <a:pt x="2853" y="537"/>
                    <a:pt x="2789" y="518"/>
                  </a:cubicBezTo>
                  <a:lnTo>
                    <a:pt x="2685" y="101"/>
                  </a:lnTo>
                  <a:cubicBezTo>
                    <a:pt x="2670" y="41"/>
                    <a:pt x="2617" y="0"/>
                    <a:pt x="2556" y="0"/>
                  </a:cubicBezTo>
                  <a:lnTo>
                    <a:pt x="1969" y="0"/>
                  </a:lnTo>
                  <a:cubicBezTo>
                    <a:pt x="1908" y="0"/>
                    <a:pt x="1855" y="41"/>
                    <a:pt x="1840" y="101"/>
                  </a:cubicBezTo>
                  <a:lnTo>
                    <a:pt x="1736" y="518"/>
                  </a:lnTo>
                  <a:cubicBezTo>
                    <a:pt x="1620" y="553"/>
                    <a:pt x="1509" y="599"/>
                    <a:pt x="1403" y="656"/>
                  </a:cubicBezTo>
                  <a:lnTo>
                    <a:pt x="1034" y="435"/>
                  </a:lnTo>
                  <a:cubicBezTo>
                    <a:pt x="982" y="403"/>
                    <a:pt x="914" y="412"/>
                    <a:pt x="871" y="455"/>
                  </a:cubicBezTo>
                  <a:lnTo>
                    <a:pt x="455" y="870"/>
                  </a:lnTo>
                  <a:cubicBezTo>
                    <a:pt x="412" y="913"/>
                    <a:pt x="404" y="980"/>
                    <a:pt x="435" y="1033"/>
                  </a:cubicBezTo>
                  <a:lnTo>
                    <a:pt x="657" y="1402"/>
                  </a:lnTo>
                  <a:cubicBezTo>
                    <a:pt x="600" y="1508"/>
                    <a:pt x="554" y="1619"/>
                    <a:pt x="519" y="1735"/>
                  </a:cubicBezTo>
                  <a:lnTo>
                    <a:pt x="101" y="1839"/>
                  </a:lnTo>
                  <a:cubicBezTo>
                    <a:pt x="42" y="1854"/>
                    <a:pt x="0" y="1907"/>
                    <a:pt x="0" y="1968"/>
                  </a:cubicBezTo>
                  <a:lnTo>
                    <a:pt x="0" y="2555"/>
                  </a:lnTo>
                  <a:cubicBezTo>
                    <a:pt x="0" y="2616"/>
                    <a:pt x="42" y="2670"/>
                    <a:pt x="101" y="2684"/>
                  </a:cubicBezTo>
                  <a:lnTo>
                    <a:pt x="519" y="2789"/>
                  </a:lnTo>
                  <a:cubicBezTo>
                    <a:pt x="554" y="2904"/>
                    <a:pt x="600" y="3015"/>
                    <a:pt x="657" y="3121"/>
                  </a:cubicBezTo>
                  <a:lnTo>
                    <a:pt x="435" y="3490"/>
                  </a:lnTo>
                  <a:cubicBezTo>
                    <a:pt x="404" y="3543"/>
                    <a:pt x="412" y="3610"/>
                    <a:pt x="455" y="3653"/>
                  </a:cubicBezTo>
                  <a:lnTo>
                    <a:pt x="871" y="4068"/>
                  </a:lnTo>
                  <a:cubicBezTo>
                    <a:pt x="914" y="4112"/>
                    <a:pt x="981" y="4120"/>
                    <a:pt x="1033" y="4088"/>
                  </a:cubicBezTo>
                  <a:lnTo>
                    <a:pt x="1402" y="3867"/>
                  </a:lnTo>
                  <a:cubicBezTo>
                    <a:pt x="1508" y="3924"/>
                    <a:pt x="1620" y="3970"/>
                    <a:pt x="1735" y="4005"/>
                  </a:cubicBezTo>
                  <a:lnTo>
                    <a:pt x="1839" y="4422"/>
                  </a:lnTo>
                  <a:cubicBezTo>
                    <a:pt x="1854" y="4482"/>
                    <a:pt x="1907" y="4523"/>
                    <a:pt x="1968" y="4523"/>
                  </a:cubicBezTo>
                  <a:lnTo>
                    <a:pt x="2556" y="4523"/>
                  </a:lnTo>
                  <a:cubicBezTo>
                    <a:pt x="2617" y="4523"/>
                    <a:pt x="2670" y="4482"/>
                    <a:pt x="2685" y="4422"/>
                  </a:cubicBezTo>
                  <a:lnTo>
                    <a:pt x="2789" y="4005"/>
                  </a:lnTo>
                  <a:cubicBezTo>
                    <a:pt x="2904" y="3970"/>
                    <a:pt x="3016" y="3924"/>
                    <a:pt x="3122" y="3867"/>
                  </a:cubicBezTo>
                  <a:lnTo>
                    <a:pt x="3491" y="4088"/>
                  </a:lnTo>
                  <a:cubicBezTo>
                    <a:pt x="3543" y="4120"/>
                    <a:pt x="3610" y="4112"/>
                    <a:pt x="3654" y="4068"/>
                  </a:cubicBezTo>
                  <a:lnTo>
                    <a:pt x="4069" y="3653"/>
                  </a:lnTo>
                  <a:cubicBezTo>
                    <a:pt x="4112" y="3610"/>
                    <a:pt x="4120" y="3543"/>
                    <a:pt x="4089" y="3490"/>
                  </a:cubicBezTo>
                  <a:lnTo>
                    <a:pt x="3867" y="3121"/>
                  </a:lnTo>
                  <a:cubicBezTo>
                    <a:pt x="3924" y="3015"/>
                    <a:pt x="3971" y="2904"/>
                    <a:pt x="4006" y="2789"/>
                  </a:cubicBezTo>
                  <a:lnTo>
                    <a:pt x="4423" y="2684"/>
                  </a:lnTo>
                  <a:cubicBezTo>
                    <a:pt x="4482" y="2670"/>
                    <a:pt x="4524" y="2616"/>
                    <a:pt x="4524" y="2555"/>
                  </a:cubicBezTo>
                  <a:lnTo>
                    <a:pt x="4524" y="1968"/>
                  </a:lnTo>
                  <a:cubicBezTo>
                    <a:pt x="4524" y="1908"/>
                    <a:pt x="4483" y="1855"/>
                    <a:pt x="4424" y="1839"/>
                  </a:cubicBezTo>
                  <a:close/>
                  <a:moveTo>
                    <a:pt x="4259" y="2452"/>
                  </a:moveTo>
                  <a:lnTo>
                    <a:pt x="3867" y="2550"/>
                  </a:lnTo>
                  <a:cubicBezTo>
                    <a:pt x="3820" y="2562"/>
                    <a:pt x="3782" y="2599"/>
                    <a:pt x="3770" y="2646"/>
                  </a:cubicBezTo>
                  <a:cubicBezTo>
                    <a:pt x="3734" y="2790"/>
                    <a:pt x="3676" y="2929"/>
                    <a:pt x="3600" y="3056"/>
                  </a:cubicBezTo>
                  <a:cubicBezTo>
                    <a:pt x="3575" y="3098"/>
                    <a:pt x="3575" y="3151"/>
                    <a:pt x="3600" y="3193"/>
                  </a:cubicBezTo>
                  <a:lnTo>
                    <a:pt x="3808" y="3539"/>
                  </a:lnTo>
                  <a:lnTo>
                    <a:pt x="3540" y="3808"/>
                  </a:lnTo>
                  <a:lnTo>
                    <a:pt x="3194" y="3600"/>
                  </a:lnTo>
                  <a:cubicBezTo>
                    <a:pt x="3152" y="3575"/>
                    <a:pt x="3100" y="3575"/>
                    <a:pt x="3058" y="3600"/>
                  </a:cubicBezTo>
                  <a:cubicBezTo>
                    <a:pt x="2930" y="3676"/>
                    <a:pt x="2792" y="3733"/>
                    <a:pt x="2648" y="3770"/>
                  </a:cubicBezTo>
                  <a:cubicBezTo>
                    <a:pt x="2600" y="3782"/>
                    <a:pt x="2563" y="3819"/>
                    <a:pt x="2551" y="3867"/>
                  </a:cubicBezTo>
                  <a:lnTo>
                    <a:pt x="2452" y="4258"/>
                  </a:lnTo>
                  <a:lnTo>
                    <a:pt x="2073" y="4258"/>
                  </a:lnTo>
                  <a:lnTo>
                    <a:pt x="1975" y="3867"/>
                  </a:lnTo>
                  <a:cubicBezTo>
                    <a:pt x="1963" y="3819"/>
                    <a:pt x="1926" y="3782"/>
                    <a:pt x="1879" y="3770"/>
                  </a:cubicBezTo>
                  <a:cubicBezTo>
                    <a:pt x="1734" y="3733"/>
                    <a:pt x="1596" y="3676"/>
                    <a:pt x="1468" y="3600"/>
                  </a:cubicBezTo>
                  <a:cubicBezTo>
                    <a:pt x="1426" y="3575"/>
                    <a:pt x="1374" y="3575"/>
                    <a:pt x="1332" y="3600"/>
                  </a:cubicBezTo>
                  <a:lnTo>
                    <a:pt x="986" y="3808"/>
                  </a:lnTo>
                  <a:lnTo>
                    <a:pt x="717" y="3540"/>
                  </a:lnTo>
                  <a:lnTo>
                    <a:pt x="925" y="3194"/>
                  </a:lnTo>
                  <a:cubicBezTo>
                    <a:pt x="950" y="3152"/>
                    <a:pt x="950" y="3099"/>
                    <a:pt x="925" y="3057"/>
                  </a:cubicBezTo>
                  <a:cubicBezTo>
                    <a:pt x="849" y="2929"/>
                    <a:pt x="791" y="2791"/>
                    <a:pt x="755" y="2647"/>
                  </a:cubicBezTo>
                  <a:cubicBezTo>
                    <a:pt x="743" y="2600"/>
                    <a:pt x="705" y="2562"/>
                    <a:pt x="658" y="2551"/>
                  </a:cubicBezTo>
                  <a:lnTo>
                    <a:pt x="267" y="2452"/>
                  </a:lnTo>
                  <a:lnTo>
                    <a:pt x="267" y="2072"/>
                  </a:lnTo>
                  <a:lnTo>
                    <a:pt x="658" y="1974"/>
                  </a:lnTo>
                  <a:cubicBezTo>
                    <a:pt x="706" y="1963"/>
                    <a:pt x="743" y="1926"/>
                    <a:pt x="755" y="1878"/>
                  </a:cubicBezTo>
                  <a:cubicBezTo>
                    <a:pt x="792" y="1734"/>
                    <a:pt x="849" y="1596"/>
                    <a:pt x="925" y="1468"/>
                  </a:cubicBezTo>
                  <a:cubicBezTo>
                    <a:pt x="950" y="1426"/>
                    <a:pt x="950" y="1373"/>
                    <a:pt x="925" y="1331"/>
                  </a:cubicBezTo>
                  <a:lnTo>
                    <a:pt x="717" y="985"/>
                  </a:lnTo>
                  <a:lnTo>
                    <a:pt x="985" y="716"/>
                  </a:lnTo>
                  <a:lnTo>
                    <a:pt x="1331" y="924"/>
                  </a:lnTo>
                  <a:cubicBezTo>
                    <a:pt x="1373" y="949"/>
                    <a:pt x="1426" y="949"/>
                    <a:pt x="1468" y="924"/>
                  </a:cubicBezTo>
                  <a:cubicBezTo>
                    <a:pt x="1595" y="848"/>
                    <a:pt x="1734" y="791"/>
                    <a:pt x="1878" y="754"/>
                  </a:cubicBezTo>
                  <a:cubicBezTo>
                    <a:pt x="1925" y="742"/>
                    <a:pt x="1962" y="705"/>
                    <a:pt x="1974" y="657"/>
                  </a:cubicBezTo>
                  <a:lnTo>
                    <a:pt x="2073" y="266"/>
                  </a:lnTo>
                  <a:lnTo>
                    <a:pt x="2452" y="266"/>
                  </a:lnTo>
                  <a:lnTo>
                    <a:pt x="2550" y="658"/>
                  </a:lnTo>
                  <a:cubicBezTo>
                    <a:pt x="2562" y="705"/>
                    <a:pt x="2599" y="742"/>
                    <a:pt x="2647" y="755"/>
                  </a:cubicBezTo>
                  <a:cubicBezTo>
                    <a:pt x="2791" y="791"/>
                    <a:pt x="2929" y="848"/>
                    <a:pt x="3057" y="925"/>
                  </a:cubicBezTo>
                  <a:cubicBezTo>
                    <a:pt x="3099" y="950"/>
                    <a:pt x="3151" y="950"/>
                    <a:pt x="3193" y="925"/>
                  </a:cubicBezTo>
                  <a:lnTo>
                    <a:pt x="3539" y="717"/>
                  </a:lnTo>
                  <a:lnTo>
                    <a:pt x="3808" y="985"/>
                  </a:lnTo>
                  <a:lnTo>
                    <a:pt x="3600" y="1331"/>
                  </a:lnTo>
                  <a:cubicBezTo>
                    <a:pt x="3575" y="1373"/>
                    <a:pt x="3575" y="1425"/>
                    <a:pt x="3600" y="1467"/>
                  </a:cubicBezTo>
                  <a:cubicBezTo>
                    <a:pt x="3677" y="1595"/>
                    <a:pt x="3734" y="1733"/>
                    <a:pt x="3771" y="1877"/>
                  </a:cubicBezTo>
                  <a:cubicBezTo>
                    <a:pt x="3783" y="1925"/>
                    <a:pt x="3820" y="1962"/>
                    <a:pt x="3867" y="1974"/>
                  </a:cubicBezTo>
                  <a:lnTo>
                    <a:pt x="4259" y="2072"/>
                  </a:lnTo>
                  <a:lnTo>
                    <a:pt x="4259" y="2452"/>
                  </a:lnTo>
                  <a:close/>
                  <a:moveTo>
                    <a:pt x="4259" y="2452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103">
              <a:extLst>
                <a:ext uri="{FF2B5EF4-FFF2-40B4-BE49-F238E27FC236}">
                  <a16:creationId xmlns:a16="http://schemas.microsoft.com/office/drawing/2014/main" id="{4BA03DC4-BA43-4CF0-AFCB-B66E853C7A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8" y="1758"/>
              <a:ext cx="47" cy="46"/>
            </a:xfrm>
            <a:custGeom>
              <a:avLst/>
              <a:gdLst>
                <a:gd name="T0" fmla="*/ 1065 w 2129"/>
                <a:gd name="T1" fmla="*/ 0 h 2129"/>
                <a:gd name="T2" fmla="*/ 0 w 2129"/>
                <a:gd name="T3" fmla="*/ 1064 h 2129"/>
                <a:gd name="T4" fmla="*/ 1065 w 2129"/>
                <a:gd name="T5" fmla="*/ 2129 h 2129"/>
                <a:gd name="T6" fmla="*/ 2129 w 2129"/>
                <a:gd name="T7" fmla="*/ 1064 h 2129"/>
                <a:gd name="T8" fmla="*/ 1065 w 2129"/>
                <a:gd name="T9" fmla="*/ 0 h 2129"/>
                <a:gd name="T10" fmla="*/ 1065 w 2129"/>
                <a:gd name="T11" fmla="*/ 1863 h 2129"/>
                <a:gd name="T12" fmla="*/ 266 w 2129"/>
                <a:gd name="T13" fmla="*/ 1064 h 2129"/>
                <a:gd name="T14" fmla="*/ 1065 w 2129"/>
                <a:gd name="T15" fmla="*/ 266 h 2129"/>
                <a:gd name="T16" fmla="*/ 1863 w 2129"/>
                <a:gd name="T17" fmla="*/ 1064 h 2129"/>
                <a:gd name="T18" fmla="*/ 1065 w 2129"/>
                <a:gd name="T19" fmla="*/ 1863 h 2129"/>
                <a:gd name="T20" fmla="*/ 1065 w 2129"/>
                <a:gd name="T21" fmla="*/ 1863 h 2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29" h="2129">
                  <a:moveTo>
                    <a:pt x="1065" y="0"/>
                  </a:moveTo>
                  <a:cubicBezTo>
                    <a:pt x="477" y="0"/>
                    <a:pt x="0" y="476"/>
                    <a:pt x="0" y="1064"/>
                  </a:cubicBezTo>
                  <a:cubicBezTo>
                    <a:pt x="0" y="1652"/>
                    <a:pt x="477" y="2129"/>
                    <a:pt x="1065" y="2129"/>
                  </a:cubicBezTo>
                  <a:cubicBezTo>
                    <a:pt x="1653" y="2129"/>
                    <a:pt x="2129" y="1652"/>
                    <a:pt x="2129" y="1064"/>
                  </a:cubicBezTo>
                  <a:cubicBezTo>
                    <a:pt x="2129" y="476"/>
                    <a:pt x="1652" y="0"/>
                    <a:pt x="1065" y="0"/>
                  </a:cubicBezTo>
                  <a:close/>
                  <a:moveTo>
                    <a:pt x="1065" y="1863"/>
                  </a:moveTo>
                  <a:cubicBezTo>
                    <a:pt x="624" y="1863"/>
                    <a:pt x="266" y="1505"/>
                    <a:pt x="266" y="1064"/>
                  </a:cubicBezTo>
                  <a:cubicBezTo>
                    <a:pt x="266" y="623"/>
                    <a:pt x="624" y="266"/>
                    <a:pt x="1065" y="266"/>
                  </a:cubicBezTo>
                  <a:cubicBezTo>
                    <a:pt x="1506" y="266"/>
                    <a:pt x="1863" y="623"/>
                    <a:pt x="1863" y="1064"/>
                  </a:cubicBezTo>
                  <a:cubicBezTo>
                    <a:pt x="1863" y="1505"/>
                    <a:pt x="1505" y="1862"/>
                    <a:pt x="1065" y="1863"/>
                  </a:cubicBezTo>
                  <a:close/>
                  <a:moveTo>
                    <a:pt x="1065" y="186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104">
              <a:extLst>
                <a:ext uri="{FF2B5EF4-FFF2-40B4-BE49-F238E27FC236}">
                  <a16:creationId xmlns:a16="http://schemas.microsoft.com/office/drawing/2014/main" id="{396E931E-0A84-4EDF-80E5-3494ECE27D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6" y="1692"/>
              <a:ext cx="6" cy="46"/>
            </a:xfrm>
            <a:custGeom>
              <a:avLst/>
              <a:gdLst>
                <a:gd name="T0" fmla="*/ 0 w 266"/>
                <a:gd name="T1" fmla="*/ 0 h 2129"/>
                <a:gd name="T2" fmla="*/ 266 w 266"/>
                <a:gd name="T3" fmla="*/ 0 h 2129"/>
                <a:gd name="T4" fmla="*/ 266 w 266"/>
                <a:gd name="T5" fmla="*/ 2129 h 2129"/>
                <a:gd name="T6" fmla="*/ 0 w 266"/>
                <a:gd name="T7" fmla="*/ 2129 h 2129"/>
                <a:gd name="T8" fmla="*/ 0 w 266"/>
                <a:gd name="T9" fmla="*/ 0 h 2129"/>
                <a:gd name="T10" fmla="*/ 0 w 266"/>
                <a:gd name="T11" fmla="*/ 0 h 2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129">
                  <a:moveTo>
                    <a:pt x="0" y="0"/>
                  </a:moveTo>
                  <a:lnTo>
                    <a:pt x="266" y="0"/>
                  </a:lnTo>
                  <a:lnTo>
                    <a:pt x="266" y="2129"/>
                  </a:lnTo>
                  <a:lnTo>
                    <a:pt x="0" y="2129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105">
              <a:extLst>
                <a:ext uri="{FF2B5EF4-FFF2-40B4-BE49-F238E27FC236}">
                  <a16:creationId xmlns:a16="http://schemas.microsoft.com/office/drawing/2014/main" id="{E2F19010-A9F1-470A-8BFF-ED11F16FE4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3" y="1657"/>
              <a:ext cx="150" cy="162"/>
            </a:xfrm>
            <a:custGeom>
              <a:avLst/>
              <a:gdLst>
                <a:gd name="T0" fmla="*/ 532 w 6919"/>
                <a:gd name="T1" fmla="*/ 7319 h 7452"/>
                <a:gd name="T2" fmla="*/ 3460 w 6919"/>
                <a:gd name="T3" fmla="*/ 7452 h 7452"/>
                <a:gd name="T4" fmla="*/ 798 w 6919"/>
                <a:gd name="T5" fmla="*/ 7186 h 7452"/>
                <a:gd name="T6" fmla="*/ 2395 w 6919"/>
                <a:gd name="T7" fmla="*/ 6787 h 7452"/>
                <a:gd name="T8" fmla="*/ 2987 w 6919"/>
                <a:gd name="T9" fmla="*/ 6507 h 7452"/>
                <a:gd name="T10" fmla="*/ 2987 w 6919"/>
                <a:gd name="T11" fmla="*/ 6269 h 7452"/>
                <a:gd name="T12" fmla="*/ 2395 w 6919"/>
                <a:gd name="T13" fmla="*/ 5988 h 7452"/>
                <a:gd name="T14" fmla="*/ 798 w 6919"/>
                <a:gd name="T15" fmla="*/ 1464 h 7452"/>
                <a:gd name="T16" fmla="*/ 6387 w 6919"/>
                <a:gd name="T17" fmla="*/ 932 h 7452"/>
                <a:gd name="T18" fmla="*/ 6254 w 6919"/>
                <a:gd name="T19" fmla="*/ 532 h 7452"/>
                <a:gd name="T20" fmla="*/ 5855 w 6919"/>
                <a:gd name="T21" fmla="*/ 798 h 7452"/>
                <a:gd name="T22" fmla="*/ 6121 w 6919"/>
                <a:gd name="T23" fmla="*/ 932 h 7452"/>
                <a:gd name="T24" fmla="*/ 5589 w 6919"/>
                <a:gd name="T25" fmla="*/ 932 h 7452"/>
                <a:gd name="T26" fmla="*/ 5855 w 6919"/>
                <a:gd name="T27" fmla="*/ 266 h 7452"/>
                <a:gd name="T28" fmla="*/ 6653 w 6919"/>
                <a:gd name="T29" fmla="*/ 532 h 7452"/>
                <a:gd name="T30" fmla="*/ 6919 w 6919"/>
                <a:gd name="T31" fmla="*/ 3593 h 7452"/>
                <a:gd name="T32" fmla="*/ 6387 w 6919"/>
                <a:gd name="T33" fmla="*/ 0 h 7452"/>
                <a:gd name="T34" fmla="*/ 0 w 6919"/>
                <a:gd name="T35" fmla="*/ 532 h 7452"/>
                <a:gd name="T36" fmla="*/ 532 w 6919"/>
                <a:gd name="T37" fmla="*/ 1464 h 7452"/>
                <a:gd name="T38" fmla="*/ 399 w 6919"/>
                <a:gd name="T39" fmla="*/ 5988 h 7452"/>
                <a:gd name="T40" fmla="*/ 399 w 6919"/>
                <a:gd name="T41" fmla="*/ 6787 h 7452"/>
                <a:gd name="T42" fmla="*/ 266 w 6919"/>
                <a:gd name="T43" fmla="*/ 932 h 7452"/>
                <a:gd name="T44" fmla="*/ 532 w 6919"/>
                <a:gd name="T45" fmla="*/ 266 h 7452"/>
                <a:gd name="T46" fmla="*/ 5323 w 6919"/>
                <a:gd name="T47" fmla="*/ 532 h 7452"/>
                <a:gd name="T48" fmla="*/ 5397 w 6919"/>
                <a:gd name="T49" fmla="*/ 1198 h 7452"/>
                <a:gd name="T50" fmla="*/ 266 w 6919"/>
                <a:gd name="T51" fmla="*/ 932 h 7452"/>
                <a:gd name="T52" fmla="*/ 2364 w 6919"/>
                <a:gd name="T53" fmla="*/ 6521 h 7452"/>
                <a:gd name="T54" fmla="*/ 2262 w 6919"/>
                <a:gd name="T55" fmla="*/ 6254 h 7452"/>
                <a:gd name="T56" fmla="*/ 2630 w 6919"/>
                <a:gd name="T57" fmla="*/ 6388 h 7452"/>
                <a:gd name="T58" fmla="*/ 399 w 6919"/>
                <a:gd name="T59" fmla="*/ 6254 h 7452"/>
                <a:gd name="T60" fmla="*/ 1996 w 6919"/>
                <a:gd name="T61" fmla="*/ 6521 h 7452"/>
                <a:gd name="T62" fmla="*/ 266 w 6919"/>
                <a:gd name="T63" fmla="*/ 6388 h 7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919" h="7452">
                  <a:moveTo>
                    <a:pt x="532" y="6787"/>
                  </a:moveTo>
                  <a:lnTo>
                    <a:pt x="532" y="7319"/>
                  </a:lnTo>
                  <a:cubicBezTo>
                    <a:pt x="532" y="7393"/>
                    <a:pt x="592" y="7452"/>
                    <a:pt x="665" y="7452"/>
                  </a:cubicBezTo>
                  <a:lnTo>
                    <a:pt x="3460" y="7452"/>
                  </a:lnTo>
                  <a:lnTo>
                    <a:pt x="3460" y="7186"/>
                  </a:lnTo>
                  <a:lnTo>
                    <a:pt x="798" y="7186"/>
                  </a:lnTo>
                  <a:lnTo>
                    <a:pt x="798" y="6787"/>
                  </a:lnTo>
                  <a:lnTo>
                    <a:pt x="2395" y="6787"/>
                  </a:lnTo>
                  <a:cubicBezTo>
                    <a:pt x="2416" y="6787"/>
                    <a:pt x="2436" y="6782"/>
                    <a:pt x="2454" y="6773"/>
                  </a:cubicBezTo>
                  <a:lnTo>
                    <a:pt x="2987" y="6507"/>
                  </a:lnTo>
                  <a:cubicBezTo>
                    <a:pt x="3032" y="6485"/>
                    <a:pt x="3060" y="6439"/>
                    <a:pt x="3060" y="6388"/>
                  </a:cubicBezTo>
                  <a:cubicBezTo>
                    <a:pt x="3060" y="6338"/>
                    <a:pt x="3032" y="6292"/>
                    <a:pt x="2987" y="6269"/>
                  </a:cubicBezTo>
                  <a:lnTo>
                    <a:pt x="2454" y="6003"/>
                  </a:lnTo>
                  <a:cubicBezTo>
                    <a:pt x="2436" y="5993"/>
                    <a:pt x="2416" y="5988"/>
                    <a:pt x="2395" y="5988"/>
                  </a:cubicBezTo>
                  <a:lnTo>
                    <a:pt x="798" y="5988"/>
                  </a:lnTo>
                  <a:lnTo>
                    <a:pt x="798" y="1464"/>
                  </a:lnTo>
                  <a:lnTo>
                    <a:pt x="5855" y="1464"/>
                  </a:lnTo>
                  <a:cubicBezTo>
                    <a:pt x="6149" y="1464"/>
                    <a:pt x="6387" y="1225"/>
                    <a:pt x="6387" y="932"/>
                  </a:cubicBezTo>
                  <a:lnTo>
                    <a:pt x="6387" y="665"/>
                  </a:lnTo>
                  <a:cubicBezTo>
                    <a:pt x="6387" y="592"/>
                    <a:pt x="6328" y="532"/>
                    <a:pt x="6254" y="532"/>
                  </a:cubicBezTo>
                  <a:lnTo>
                    <a:pt x="5855" y="532"/>
                  </a:lnTo>
                  <a:lnTo>
                    <a:pt x="5855" y="798"/>
                  </a:lnTo>
                  <a:lnTo>
                    <a:pt x="6121" y="798"/>
                  </a:lnTo>
                  <a:lnTo>
                    <a:pt x="6121" y="932"/>
                  </a:lnTo>
                  <a:cubicBezTo>
                    <a:pt x="6121" y="1078"/>
                    <a:pt x="6002" y="1198"/>
                    <a:pt x="5855" y="1198"/>
                  </a:cubicBezTo>
                  <a:cubicBezTo>
                    <a:pt x="5708" y="1198"/>
                    <a:pt x="5589" y="1078"/>
                    <a:pt x="5589" y="932"/>
                  </a:cubicBezTo>
                  <a:lnTo>
                    <a:pt x="5589" y="532"/>
                  </a:lnTo>
                  <a:cubicBezTo>
                    <a:pt x="5589" y="385"/>
                    <a:pt x="5708" y="266"/>
                    <a:pt x="5855" y="266"/>
                  </a:cubicBezTo>
                  <a:lnTo>
                    <a:pt x="6387" y="266"/>
                  </a:lnTo>
                  <a:cubicBezTo>
                    <a:pt x="6534" y="266"/>
                    <a:pt x="6653" y="385"/>
                    <a:pt x="6653" y="532"/>
                  </a:cubicBezTo>
                  <a:lnTo>
                    <a:pt x="6653" y="3593"/>
                  </a:lnTo>
                  <a:lnTo>
                    <a:pt x="6919" y="3593"/>
                  </a:lnTo>
                  <a:lnTo>
                    <a:pt x="6919" y="532"/>
                  </a:lnTo>
                  <a:cubicBezTo>
                    <a:pt x="6919" y="238"/>
                    <a:pt x="6681" y="0"/>
                    <a:pt x="6387" y="0"/>
                  </a:cubicBezTo>
                  <a:lnTo>
                    <a:pt x="532" y="0"/>
                  </a:lnTo>
                  <a:cubicBezTo>
                    <a:pt x="238" y="0"/>
                    <a:pt x="0" y="238"/>
                    <a:pt x="0" y="532"/>
                  </a:cubicBezTo>
                  <a:lnTo>
                    <a:pt x="0" y="932"/>
                  </a:lnTo>
                  <a:cubicBezTo>
                    <a:pt x="0" y="1225"/>
                    <a:pt x="238" y="1464"/>
                    <a:pt x="532" y="1464"/>
                  </a:cubicBezTo>
                  <a:lnTo>
                    <a:pt x="532" y="5988"/>
                  </a:lnTo>
                  <a:lnTo>
                    <a:pt x="399" y="5988"/>
                  </a:lnTo>
                  <a:cubicBezTo>
                    <a:pt x="178" y="5988"/>
                    <a:pt x="0" y="6167"/>
                    <a:pt x="0" y="6388"/>
                  </a:cubicBezTo>
                  <a:cubicBezTo>
                    <a:pt x="0" y="6608"/>
                    <a:pt x="178" y="6787"/>
                    <a:pt x="399" y="6787"/>
                  </a:cubicBezTo>
                  <a:lnTo>
                    <a:pt x="532" y="6787"/>
                  </a:lnTo>
                  <a:close/>
                  <a:moveTo>
                    <a:pt x="266" y="932"/>
                  </a:moveTo>
                  <a:lnTo>
                    <a:pt x="266" y="532"/>
                  </a:lnTo>
                  <a:cubicBezTo>
                    <a:pt x="266" y="385"/>
                    <a:pt x="385" y="266"/>
                    <a:pt x="532" y="266"/>
                  </a:cubicBezTo>
                  <a:lnTo>
                    <a:pt x="5397" y="266"/>
                  </a:lnTo>
                  <a:cubicBezTo>
                    <a:pt x="5349" y="347"/>
                    <a:pt x="5323" y="439"/>
                    <a:pt x="5323" y="532"/>
                  </a:cubicBezTo>
                  <a:lnTo>
                    <a:pt x="5323" y="932"/>
                  </a:lnTo>
                  <a:cubicBezTo>
                    <a:pt x="5323" y="1025"/>
                    <a:pt x="5349" y="1117"/>
                    <a:pt x="5397" y="1198"/>
                  </a:cubicBezTo>
                  <a:lnTo>
                    <a:pt x="532" y="1198"/>
                  </a:lnTo>
                  <a:cubicBezTo>
                    <a:pt x="385" y="1198"/>
                    <a:pt x="266" y="1078"/>
                    <a:pt x="266" y="932"/>
                  </a:cubicBezTo>
                  <a:close/>
                  <a:moveTo>
                    <a:pt x="2630" y="6388"/>
                  </a:moveTo>
                  <a:lnTo>
                    <a:pt x="2364" y="6521"/>
                  </a:lnTo>
                  <a:lnTo>
                    <a:pt x="2262" y="6521"/>
                  </a:lnTo>
                  <a:lnTo>
                    <a:pt x="2262" y="6254"/>
                  </a:lnTo>
                  <a:lnTo>
                    <a:pt x="2364" y="6254"/>
                  </a:lnTo>
                  <a:lnTo>
                    <a:pt x="2630" y="6388"/>
                  </a:lnTo>
                  <a:close/>
                  <a:moveTo>
                    <a:pt x="266" y="6388"/>
                  </a:moveTo>
                  <a:cubicBezTo>
                    <a:pt x="266" y="6314"/>
                    <a:pt x="325" y="6254"/>
                    <a:pt x="399" y="6254"/>
                  </a:cubicBezTo>
                  <a:lnTo>
                    <a:pt x="1996" y="6254"/>
                  </a:lnTo>
                  <a:lnTo>
                    <a:pt x="1996" y="6521"/>
                  </a:lnTo>
                  <a:lnTo>
                    <a:pt x="399" y="6521"/>
                  </a:lnTo>
                  <a:cubicBezTo>
                    <a:pt x="325" y="6521"/>
                    <a:pt x="266" y="6461"/>
                    <a:pt x="266" y="6388"/>
                  </a:cubicBezTo>
                  <a:close/>
                  <a:moveTo>
                    <a:pt x="266" y="638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106">
              <a:extLst>
                <a:ext uri="{FF2B5EF4-FFF2-40B4-BE49-F238E27FC236}">
                  <a16:creationId xmlns:a16="http://schemas.microsoft.com/office/drawing/2014/main" id="{06157CBD-9DED-43E1-8910-80971A0C07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3" y="1700"/>
              <a:ext cx="6" cy="58"/>
            </a:xfrm>
            <a:custGeom>
              <a:avLst/>
              <a:gdLst>
                <a:gd name="T0" fmla="*/ 0 w 266"/>
                <a:gd name="T1" fmla="*/ 0 h 2662"/>
                <a:gd name="T2" fmla="*/ 266 w 266"/>
                <a:gd name="T3" fmla="*/ 0 h 2662"/>
                <a:gd name="T4" fmla="*/ 266 w 266"/>
                <a:gd name="T5" fmla="*/ 2662 h 2662"/>
                <a:gd name="T6" fmla="*/ 0 w 266"/>
                <a:gd name="T7" fmla="*/ 2662 h 2662"/>
                <a:gd name="T8" fmla="*/ 0 w 266"/>
                <a:gd name="T9" fmla="*/ 0 h 2662"/>
                <a:gd name="T10" fmla="*/ 0 w 266"/>
                <a:gd name="T11" fmla="*/ 0 h 2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662">
                  <a:moveTo>
                    <a:pt x="0" y="0"/>
                  </a:moveTo>
                  <a:lnTo>
                    <a:pt x="266" y="0"/>
                  </a:lnTo>
                  <a:lnTo>
                    <a:pt x="266" y="2662"/>
                  </a:lnTo>
                  <a:lnTo>
                    <a:pt x="0" y="2662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107">
              <a:extLst>
                <a:ext uri="{FF2B5EF4-FFF2-40B4-BE49-F238E27FC236}">
                  <a16:creationId xmlns:a16="http://schemas.microsoft.com/office/drawing/2014/main" id="{7C33E0D9-CF9F-46F1-BC45-548569384C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9" y="1694"/>
              <a:ext cx="87" cy="38"/>
            </a:xfrm>
            <a:custGeom>
              <a:avLst/>
              <a:gdLst>
                <a:gd name="T0" fmla="*/ 4015 w 4015"/>
                <a:gd name="T1" fmla="*/ 410 h 1741"/>
                <a:gd name="T2" fmla="*/ 4015 w 4015"/>
                <a:gd name="T3" fmla="*/ 144 h 1741"/>
                <a:gd name="T4" fmla="*/ 2285 w 4015"/>
                <a:gd name="T5" fmla="*/ 144 h 1741"/>
                <a:gd name="T6" fmla="*/ 2190 w 4015"/>
                <a:gd name="T7" fmla="*/ 183 h 1741"/>
                <a:gd name="T8" fmla="*/ 1947 w 4015"/>
                <a:gd name="T9" fmla="*/ 426 h 1741"/>
                <a:gd name="T10" fmla="*/ 52 w 4015"/>
                <a:gd name="T11" fmla="*/ 573 h 1741"/>
                <a:gd name="T12" fmla="*/ 52 w 4015"/>
                <a:gd name="T13" fmla="*/ 761 h 1741"/>
                <a:gd name="T14" fmla="*/ 993 w 4015"/>
                <a:gd name="T15" fmla="*/ 1702 h 1741"/>
                <a:gd name="T16" fmla="*/ 1087 w 4015"/>
                <a:gd name="T17" fmla="*/ 1741 h 1741"/>
                <a:gd name="T18" fmla="*/ 2418 w 4015"/>
                <a:gd name="T19" fmla="*/ 1741 h 1741"/>
                <a:gd name="T20" fmla="*/ 2551 w 4015"/>
                <a:gd name="T21" fmla="*/ 1608 h 1741"/>
                <a:gd name="T22" fmla="*/ 2148 w 4015"/>
                <a:gd name="T23" fmla="*/ 602 h 1741"/>
                <a:gd name="T24" fmla="*/ 2340 w 4015"/>
                <a:gd name="T25" fmla="*/ 410 h 1741"/>
                <a:gd name="T26" fmla="*/ 4015 w 4015"/>
                <a:gd name="T27" fmla="*/ 410 h 1741"/>
                <a:gd name="T28" fmla="*/ 2277 w 4015"/>
                <a:gd name="T29" fmla="*/ 1475 h 1741"/>
                <a:gd name="T30" fmla="*/ 1142 w 4015"/>
                <a:gd name="T31" fmla="*/ 1475 h 1741"/>
                <a:gd name="T32" fmla="*/ 339 w 4015"/>
                <a:gd name="T33" fmla="*/ 672 h 1741"/>
                <a:gd name="T34" fmla="*/ 1757 w 4015"/>
                <a:gd name="T35" fmla="*/ 617 h 1741"/>
                <a:gd name="T36" fmla="*/ 1392 w 4015"/>
                <a:gd name="T37" fmla="*/ 981 h 1741"/>
                <a:gd name="T38" fmla="*/ 1580 w 4015"/>
                <a:gd name="T39" fmla="*/ 1170 h 1741"/>
                <a:gd name="T40" fmla="*/ 1960 w 4015"/>
                <a:gd name="T41" fmla="*/ 790 h 1741"/>
                <a:gd name="T42" fmla="*/ 2277 w 4015"/>
                <a:gd name="T43" fmla="*/ 1475 h 1741"/>
                <a:gd name="T44" fmla="*/ 2277 w 4015"/>
                <a:gd name="T45" fmla="*/ 1475 h 1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15" h="1741">
                  <a:moveTo>
                    <a:pt x="4015" y="410"/>
                  </a:moveTo>
                  <a:lnTo>
                    <a:pt x="4015" y="144"/>
                  </a:lnTo>
                  <a:lnTo>
                    <a:pt x="2285" y="144"/>
                  </a:lnTo>
                  <a:cubicBezTo>
                    <a:pt x="2249" y="144"/>
                    <a:pt x="2215" y="158"/>
                    <a:pt x="2190" y="183"/>
                  </a:cubicBezTo>
                  <a:lnTo>
                    <a:pt x="1947" y="426"/>
                  </a:lnTo>
                  <a:cubicBezTo>
                    <a:pt x="1366" y="0"/>
                    <a:pt x="561" y="62"/>
                    <a:pt x="52" y="573"/>
                  </a:cubicBezTo>
                  <a:cubicBezTo>
                    <a:pt x="0" y="624"/>
                    <a:pt x="0" y="709"/>
                    <a:pt x="52" y="761"/>
                  </a:cubicBezTo>
                  <a:lnTo>
                    <a:pt x="993" y="1702"/>
                  </a:lnTo>
                  <a:cubicBezTo>
                    <a:pt x="1018" y="1727"/>
                    <a:pt x="1052" y="1741"/>
                    <a:pt x="1087" y="1741"/>
                  </a:cubicBezTo>
                  <a:lnTo>
                    <a:pt x="2418" y="1741"/>
                  </a:lnTo>
                  <a:cubicBezTo>
                    <a:pt x="2491" y="1741"/>
                    <a:pt x="2551" y="1681"/>
                    <a:pt x="2551" y="1608"/>
                  </a:cubicBezTo>
                  <a:cubicBezTo>
                    <a:pt x="2551" y="1233"/>
                    <a:pt x="2406" y="873"/>
                    <a:pt x="2148" y="602"/>
                  </a:cubicBezTo>
                  <a:lnTo>
                    <a:pt x="2340" y="410"/>
                  </a:lnTo>
                  <a:lnTo>
                    <a:pt x="4015" y="410"/>
                  </a:lnTo>
                  <a:close/>
                  <a:moveTo>
                    <a:pt x="2277" y="1475"/>
                  </a:moveTo>
                  <a:lnTo>
                    <a:pt x="1142" y="1475"/>
                  </a:lnTo>
                  <a:lnTo>
                    <a:pt x="339" y="672"/>
                  </a:lnTo>
                  <a:cubicBezTo>
                    <a:pt x="748" y="344"/>
                    <a:pt x="1323" y="322"/>
                    <a:pt x="1757" y="617"/>
                  </a:cubicBezTo>
                  <a:lnTo>
                    <a:pt x="1392" y="981"/>
                  </a:lnTo>
                  <a:lnTo>
                    <a:pt x="1580" y="1170"/>
                  </a:lnTo>
                  <a:lnTo>
                    <a:pt x="1960" y="790"/>
                  </a:lnTo>
                  <a:cubicBezTo>
                    <a:pt x="2137" y="978"/>
                    <a:pt x="2248" y="1218"/>
                    <a:pt x="2277" y="1475"/>
                  </a:cubicBezTo>
                  <a:close/>
                  <a:moveTo>
                    <a:pt x="2277" y="1475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108">
              <a:extLst>
                <a:ext uri="{FF2B5EF4-FFF2-40B4-BE49-F238E27FC236}">
                  <a16:creationId xmlns:a16="http://schemas.microsoft.com/office/drawing/2014/main" id="{B698457D-4D0C-4ED4-AA99-8BD1A94DD8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51" y="1697"/>
              <a:ext cx="6" cy="6"/>
            </a:xfrm>
            <a:custGeom>
              <a:avLst/>
              <a:gdLst>
                <a:gd name="T0" fmla="*/ 0 w 266"/>
                <a:gd name="T1" fmla="*/ 0 h 266"/>
                <a:gd name="T2" fmla="*/ 266 w 266"/>
                <a:gd name="T3" fmla="*/ 0 h 266"/>
                <a:gd name="T4" fmla="*/ 266 w 266"/>
                <a:gd name="T5" fmla="*/ 266 h 266"/>
                <a:gd name="T6" fmla="*/ 0 w 266"/>
                <a:gd name="T7" fmla="*/ 266 h 266"/>
                <a:gd name="T8" fmla="*/ 0 w 266"/>
                <a:gd name="T9" fmla="*/ 0 h 266"/>
                <a:gd name="T10" fmla="*/ 0 w 266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266" y="0"/>
                  </a:lnTo>
                  <a:lnTo>
                    <a:pt x="266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109">
              <a:extLst>
                <a:ext uri="{FF2B5EF4-FFF2-40B4-BE49-F238E27FC236}">
                  <a16:creationId xmlns:a16="http://schemas.microsoft.com/office/drawing/2014/main" id="{0E132FA6-2B2F-4D5F-8F9C-A74330C3CE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65" y="1741"/>
              <a:ext cx="6" cy="5"/>
            </a:xfrm>
            <a:custGeom>
              <a:avLst/>
              <a:gdLst>
                <a:gd name="T0" fmla="*/ 0 w 267"/>
                <a:gd name="T1" fmla="*/ 0 h 266"/>
                <a:gd name="T2" fmla="*/ 267 w 267"/>
                <a:gd name="T3" fmla="*/ 0 h 266"/>
                <a:gd name="T4" fmla="*/ 267 w 267"/>
                <a:gd name="T5" fmla="*/ 266 h 266"/>
                <a:gd name="T6" fmla="*/ 0 w 267"/>
                <a:gd name="T7" fmla="*/ 266 h 266"/>
                <a:gd name="T8" fmla="*/ 0 w 267"/>
                <a:gd name="T9" fmla="*/ 0 h 266"/>
                <a:gd name="T10" fmla="*/ 0 w 267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6">
                  <a:moveTo>
                    <a:pt x="0" y="0"/>
                  </a:moveTo>
                  <a:lnTo>
                    <a:pt x="267" y="0"/>
                  </a:lnTo>
                  <a:lnTo>
                    <a:pt x="267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110">
              <a:extLst>
                <a:ext uri="{FF2B5EF4-FFF2-40B4-BE49-F238E27FC236}">
                  <a16:creationId xmlns:a16="http://schemas.microsoft.com/office/drawing/2014/main" id="{B97549FA-3938-4269-B81E-F1B6C80EF2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77" y="1741"/>
              <a:ext cx="28" cy="5"/>
            </a:xfrm>
            <a:custGeom>
              <a:avLst/>
              <a:gdLst>
                <a:gd name="T0" fmla="*/ 0 w 1330"/>
                <a:gd name="T1" fmla="*/ 0 h 266"/>
                <a:gd name="T2" fmla="*/ 1330 w 1330"/>
                <a:gd name="T3" fmla="*/ 0 h 266"/>
                <a:gd name="T4" fmla="*/ 1330 w 1330"/>
                <a:gd name="T5" fmla="*/ 266 h 266"/>
                <a:gd name="T6" fmla="*/ 0 w 1330"/>
                <a:gd name="T7" fmla="*/ 266 h 266"/>
                <a:gd name="T8" fmla="*/ 0 w 1330"/>
                <a:gd name="T9" fmla="*/ 0 h 266"/>
                <a:gd name="T10" fmla="*/ 0 w 1330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0" h="266">
                  <a:moveTo>
                    <a:pt x="0" y="0"/>
                  </a:moveTo>
                  <a:lnTo>
                    <a:pt x="1330" y="0"/>
                  </a:lnTo>
                  <a:lnTo>
                    <a:pt x="1330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111">
              <a:extLst>
                <a:ext uri="{FF2B5EF4-FFF2-40B4-BE49-F238E27FC236}">
                  <a16:creationId xmlns:a16="http://schemas.microsoft.com/office/drawing/2014/main" id="{A8BE0B83-37FF-4A8A-8CB0-37B7E07269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9" y="1752"/>
              <a:ext cx="46" cy="6"/>
            </a:xfrm>
            <a:custGeom>
              <a:avLst/>
              <a:gdLst>
                <a:gd name="T0" fmla="*/ 0 w 2129"/>
                <a:gd name="T1" fmla="*/ 0 h 267"/>
                <a:gd name="T2" fmla="*/ 2129 w 2129"/>
                <a:gd name="T3" fmla="*/ 0 h 267"/>
                <a:gd name="T4" fmla="*/ 2129 w 2129"/>
                <a:gd name="T5" fmla="*/ 267 h 267"/>
                <a:gd name="T6" fmla="*/ 0 w 2129"/>
                <a:gd name="T7" fmla="*/ 267 h 267"/>
                <a:gd name="T8" fmla="*/ 0 w 2129"/>
                <a:gd name="T9" fmla="*/ 0 h 267"/>
                <a:gd name="T10" fmla="*/ 0 w 2129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29" h="267">
                  <a:moveTo>
                    <a:pt x="0" y="0"/>
                  </a:moveTo>
                  <a:lnTo>
                    <a:pt x="2129" y="0"/>
                  </a:lnTo>
                  <a:lnTo>
                    <a:pt x="2129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112">
              <a:extLst>
                <a:ext uri="{FF2B5EF4-FFF2-40B4-BE49-F238E27FC236}">
                  <a16:creationId xmlns:a16="http://schemas.microsoft.com/office/drawing/2014/main" id="{2A90A931-0BDE-4FA1-AD03-5DF6070555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3" y="1709"/>
              <a:ext cx="5" cy="6"/>
            </a:xfrm>
            <a:custGeom>
              <a:avLst/>
              <a:gdLst>
                <a:gd name="T0" fmla="*/ 0 w 266"/>
                <a:gd name="T1" fmla="*/ 0 h 266"/>
                <a:gd name="T2" fmla="*/ 266 w 266"/>
                <a:gd name="T3" fmla="*/ 0 h 266"/>
                <a:gd name="T4" fmla="*/ 266 w 266"/>
                <a:gd name="T5" fmla="*/ 266 h 266"/>
                <a:gd name="T6" fmla="*/ 0 w 266"/>
                <a:gd name="T7" fmla="*/ 266 h 266"/>
                <a:gd name="T8" fmla="*/ 0 w 266"/>
                <a:gd name="T9" fmla="*/ 0 h 266"/>
                <a:gd name="T10" fmla="*/ 0 w 266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266" y="0"/>
                  </a:lnTo>
                  <a:lnTo>
                    <a:pt x="266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113">
              <a:extLst>
                <a:ext uri="{FF2B5EF4-FFF2-40B4-BE49-F238E27FC236}">
                  <a16:creationId xmlns:a16="http://schemas.microsoft.com/office/drawing/2014/main" id="{D6397AB6-14A8-4B8A-8ED2-2B1A110C75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4" y="1709"/>
              <a:ext cx="23" cy="6"/>
            </a:xfrm>
            <a:custGeom>
              <a:avLst/>
              <a:gdLst>
                <a:gd name="T0" fmla="*/ 0 w 1065"/>
                <a:gd name="T1" fmla="*/ 0 h 266"/>
                <a:gd name="T2" fmla="*/ 1065 w 1065"/>
                <a:gd name="T3" fmla="*/ 0 h 266"/>
                <a:gd name="T4" fmla="*/ 1065 w 1065"/>
                <a:gd name="T5" fmla="*/ 266 h 266"/>
                <a:gd name="T6" fmla="*/ 0 w 1065"/>
                <a:gd name="T7" fmla="*/ 266 h 266"/>
                <a:gd name="T8" fmla="*/ 0 w 1065"/>
                <a:gd name="T9" fmla="*/ 0 h 266"/>
                <a:gd name="T10" fmla="*/ 0 w 1065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5" h="266">
                  <a:moveTo>
                    <a:pt x="0" y="0"/>
                  </a:moveTo>
                  <a:lnTo>
                    <a:pt x="1065" y="0"/>
                  </a:lnTo>
                  <a:lnTo>
                    <a:pt x="1065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114">
              <a:extLst>
                <a:ext uri="{FF2B5EF4-FFF2-40B4-BE49-F238E27FC236}">
                  <a16:creationId xmlns:a16="http://schemas.microsoft.com/office/drawing/2014/main" id="{5F018E12-E115-4D61-8CE4-AFAB1A4A0C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3" y="1720"/>
              <a:ext cx="34" cy="6"/>
            </a:xfrm>
            <a:custGeom>
              <a:avLst/>
              <a:gdLst>
                <a:gd name="T0" fmla="*/ 0 w 1597"/>
                <a:gd name="T1" fmla="*/ 0 h 266"/>
                <a:gd name="T2" fmla="*/ 1597 w 1597"/>
                <a:gd name="T3" fmla="*/ 0 h 266"/>
                <a:gd name="T4" fmla="*/ 1597 w 1597"/>
                <a:gd name="T5" fmla="*/ 266 h 266"/>
                <a:gd name="T6" fmla="*/ 0 w 1597"/>
                <a:gd name="T7" fmla="*/ 266 h 266"/>
                <a:gd name="T8" fmla="*/ 0 w 1597"/>
                <a:gd name="T9" fmla="*/ 0 h 266"/>
                <a:gd name="T10" fmla="*/ 0 w 1597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97" h="266">
                  <a:moveTo>
                    <a:pt x="0" y="0"/>
                  </a:moveTo>
                  <a:lnTo>
                    <a:pt x="1597" y="0"/>
                  </a:lnTo>
                  <a:lnTo>
                    <a:pt x="1597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115">
              <a:extLst>
                <a:ext uri="{FF2B5EF4-FFF2-40B4-BE49-F238E27FC236}">
                  <a16:creationId xmlns:a16="http://schemas.microsoft.com/office/drawing/2014/main" id="{1638C327-8877-40C4-987E-C1B5DDBB1F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9" y="1764"/>
              <a:ext cx="38" cy="5"/>
            </a:xfrm>
            <a:custGeom>
              <a:avLst/>
              <a:gdLst>
                <a:gd name="T0" fmla="*/ 0 w 1730"/>
                <a:gd name="T1" fmla="*/ 0 h 266"/>
                <a:gd name="T2" fmla="*/ 1730 w 1730"/>
                <a:gd name="T3" fmla="*/ 0 h 266"/>
                <a:gd name="T4" fmla="*/ 1730 w 1730"/>
                <a:gd name="T5" fmla="*/ 266 h 266"/>
                <a:gd name="T6" fmla="*/ 0 w 1730"/>
                <a:gd name="T7" fmla="*/ 266 h 266"/>
                <a:gd name="T8" fmla="*/ 0 w 1730"/>
                <a:gd name="T9" fmla="*/ 0 h 266"/>
                <a:gd name="T10" fmla="*/ 0 w 1730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30" h="266">
                  <a:moveTo>
                    <a:pt x="0" y="0"/>
                  </a:moveTo>
                  <a:lnTo>
                    <a:pt x="1730" y="0"/>
                  </a:lnTo>
                  <a:lnTo>
                    <a:pt x="1730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7" name="Picture 2">
            <a:extLst>
              <a:ext uri="{FF2B5EF4-FFF2-40B4-BE49-F238E27FC236}">
                <a16:creationId xmlns:a16="http://schemas.microsoft.com/office/drawing/2014/main" id="{086605A2-3265-4612-9E1B-1346103B0782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21" r="521"/>
          <a:stretch/>
        </p:blipFill>
        <p:spPr bwMode="auto">
          <a:xfrm>
            <a:off x="10811994" y="624763"/>
            <a:ext cx="612000" cy="612000"/>
          </a:xfrm>
          <a:prstGeom prst="flowChartConnector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76504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0419BA20-7391-48E3-BC18-55FF1F34A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</a:t>
            </a:r>
            <a:r>
              <a:rPr lang="ru-RU" dirty="0"/>
              <a:t> </a:t>
            </a:r>
            <a:r>
              <a:rPr lang="ru-RU" dirty="0" err="1"/>
              <a:t>тизимини</a:t>
            </a:r>
            <a:r>
              <a:rPr lang="ru-RU" dirty="0"/>
              <a:t> мониторинг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назорат</a:t>
            </a:r>
            <a:r>
              <a:rPr lang="ru-RU" dirty="0"/>
              <a:t> </a:t>
            </a:r>
            <a:r>
              <a:rPr lang="ru-RU" dirty="0" err="1"/>
              <a:t>қилиш</a:t>
            </a:r>
            <a:r>
              <a:rPr lang="ru-RU" dirty="0"/>
              <a:t>: Ўзбекистон </a:t>
            </a:r>
            <a:r>
              <a:rPr lang="ru-RU" dirty="0" err="1"/>
              <a:t>Республикасида</a:t>
            </a:r>
            <a:r>
              <a:rPr lang="ru-RU" dirty="0"/>
              <a:t> </a:t>
            </a:r>
            <a:r>
              <a:rPr lang="ru-RU" dirty="0" err="1"/>
              <a:t>амалга</a:t>
            </a:r>
            <a:r>
              <a:rPr lang="ru-RU" dirty="0"/>
              <a:t> </a:t>
            </a:r>
            <a:r>
              <a:rPr lang="ru-RU" dirty="0" err="1"/>
              <a:t>ошириш</a:t>
            </a:r>
            <a:r>
              <a:rPr lang="ru-RU" dirty="0"/>
              <a:t> </a:t>
            </a:r>
            <a:r>
              <a:rPr lang="ru-RU" dirty="0" err="1"/>
              <a:t>амалиёти</a:t>
            </a:r>
            <a:r>
              <a:rPr lang="ru-RU" dirty="0"/>
              <a:t> (1/8)</a:t>
            </a:r>
            <a:endParaRPr lang="en-US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152B486-2075-4AD9-82FF-8B5FA86A6A49}"/>
              </a:ext>
            </a:extLst>
          </p:cNvPr>
          <p:cNvGrpSpPr/>
          <p:nvPr/>
        </p:nvGrpSpPr>
        <p:grpSpPr>
          <a:xfrm>
            <a:off x="443080" y="1282696"/>
            <a:ext cx="11306008" cy="736607"/>
            <a:chOff x="3784798" y="1289128"/>
            <a:chExt cx="7964290" cy="440386"/>
          </a:xfrm>
        </p:grpSpPr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ACBA311F-0F16-43F3-AB23-CAAA5B200FB1}"/>
                </a:ext>
              </a:extLst>
            </p:cNvPr>
            <p:cNvSpPr/>
            <p:nvPr/>
          </p:nvSpPr>
          <p:spPr>
            <a:xfrm>
              <a:off x="3921193" y="1348907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45EABCFA-8A35-4721-8463-273A39B5292C}"/>
                </a:ext>
              </a:extLst>
            </p:cNvPr>
            <p:cNvSpPr/>
            <p:nvPr/>
          </p:nvSpPr>
          <p:spPr>
            <a:xfrm>
              <a:off x="3784798" y="1289128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Ўзбекистон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Республикас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Коррупцияга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арш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ураши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агентлиг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авсиялариг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мувофиқ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мониторинг</a:t>
              </a:r>
              <a:r>
                <a:rPr lang="en-US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назорат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йўналишлари</a:t>
              </a:r>
              <a:endParaRPr lang="ru-RU" sz="14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75C710CD-3DB2-4D5E-8A79-F34C3FE09440}"/>
              </a:ext>
            </a:extLst>
          </p:cNvPr>
          <p:cNvCxnSpPr>
            <a:cxnSpLocks/>
          </p:cNvCxnSpPr>
          <p:nvPr/>
        </p:nvCxnSpPr>
        <p:spPr>
          <a:xfrm>
            <a:off x="431999" y="2420039"/>
            <a:ext cx="5592564" cy="0"/>
          </a:xfrm>
          <a:prstGeom prst="line">
            <a:avLst/>
          </a:prstGeom>
          <a:ln w="25400">
            <a:solidFill>
              <a:srgbClr val="1BD7D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C14FE926-0EBE-4C55-8A96-897877F2A26B}"/>
              </a:ext>
            </a:extLst>
          </p:cNvPr>
          <p:cNvSpPr/>
          <p:nvPr/>
        </p:nvSpPr>
        <p:spPr>
          <a:xfrm>
            <a:off x="431999" y="2121096"/>
            <a:ext cx="5592564" cy="307777"/>
          </a:xfrm>
          <a:prstGeom prst="rect">
            <a:avLst/>
          </a:prstGeom>
        </p:spPr>
        <p:txBody>
          <a:bodyPr wrap="square" lIns="0" anchor="b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Мониторинг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йўналишлари</a:t>
            </a:r>
            <a:endParaRPr lang="ru-RU" sz="14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4E384BD8-A4D4-4912-A3FC-2A1A2EABE713}"/>
              </a:ext>
            </a:extLst>
          </p:cNvPr>
          <p:cNvSpPr/>
          <p:nvPr/>
        </p:nvSpPr>
        <p:spPr>
          <a:xfrm>
            <a:off x="445967" y="2458460"/>
            <a:ext cx="5592564" cy="1254654"/>
          </a:xfrm>
          <a:prstGeom prst="rect">
            <a:avLst/>
          </a:prstGeom>
        </p:spPr>
        <p:txBody>
          <a:bodyPr wrap="square" lIns="0" numCol="1" spcCol="72000">
            <a:noAutofit/>
          </a:bodyPr>
          <a:lstStyle/>
          <a:p>
            <a:pPr fontAlgn="base">
              <a:spcBef>
                <a:spcPct val="0"/>
              </a:spcBef>
              <a:spcAft>
                <a:spcPts val="300"/>
              </a:spcAft>
              <a:buClr>
                <a:srgbClr val="1BD7D3"/>
              </a:buClr>
            </a:pPr>
            <a:r>
              <a:rPr lang="ru-RU" sz="1400" b="1" dirty="0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рупцияга </a:t>
            </a:r>
            <a:r>
              <a:rPr lang="ru-RU" sz="1400" b="1" dirty="0" err="1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ши</a:t>
            </a:r>
            <a:r>
              <a:rPr lang="ru-RU" sz="1400" b="1" dirty="0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рашиш</a:t>
            </a:r>
            <a:r>
              <a:rPr lang="ru-RU" sz="1400" b="1" dirty="0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зимининг</a:t>
            </a:r>
            <a:r>
              <a:rPr lang="ru-RU" sz="1400" b="1" dirty="0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зарблиги</a:t>
            </a:r>
            <a:r>
              <a:rPr lang="ru-RU" sz="1400" b="1" dirty="0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400" b="1" dirty="0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арлилиги</a:t>
            </a:r>
            <a:r>
              <a:rPr lang="ru-RU" sz="1400" b="1" dirty="0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z-Cyrl-UZ" sz="1400" b="1" dirty="0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и</a:t>
            </a:r>
            <a:endParaRPr lang="ru-RU" sz="1400" b="1" dirty="0">
              <a:solidFill>
                <a:srgbClr val="3A07D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fontAlgn="base">
              <a:spcBef>
                <a:spcPct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рупцияга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ш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раш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салала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йич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Ўзбекистон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ну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ужжатла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окимият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лари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всияла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z-Cyrl-UZ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66700" indent="-266700" fontAlgn="base">
              <a:spcBef>
                <a:spcPct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рупцияга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ш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арал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зим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рат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ъминла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йич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халқаро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рижи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шкилотлар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всияла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z-Cyrl-UZ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AD11961-5B94-45DC-B69E-68D1E8F25A49}"/>
              </a:ext>
            </a:extLst>
          </p:cNvPr>
          <p:cNvSpPr/>
          <p:nvPr/>
        </p:nvSpPr>
        <p:spPr>
          <a:xfrm>
            <a:off x="445967" y="4432010"/>
            <a:ext cx="5592564" cy="1254654"/>
          </a:xfrm>
          <a:prstGeom prst="rect">
            <a:avLst/>
          </a:prstGeom>
        </p:spPr>
        <p:txBody>
          <a:bodyPr wrap="square" lIns="0" numCol="1" spcCol="72000">
            <a:noAutofit/>
          </a:bodyPr>
          <a:lstStyle/>
          <a:p>
            <a:pPr fontAlgn="base">
              <a:spcBef>
                <a:spcPct val="0"/>
              </a:spcBef>
              <a:spcAft>
                <a:spcPts val="300"/>
              </a:spcAft>
              <a:buClr>
                <a:srgbClr val="1BD7D3"/>
              </a:buClr>
            </a:pPr>
            <a:r>
              <a:rPr lang="ru-RU" sz="1400" b="1" dirty="0" err="1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вжуд</a:t>
            </a:r>
            <a:r>
              <a:rPr lang="ru-RU" sz="1400" b="1" dirty="0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ррупцияга </a:t>
            </a:r>
            <a:r>
              <a:rPr lang="ru-RU" sz="1400" b="1" dirty="0" err="1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ши</a:t>
            </a:r>
            <a:r>
              <a:rPr lang="ru-RU" sz="1400" b="1" dirty="0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зим</a:t>
            </a:r>
            <a:r>
              <a:rPr lang="ru-RU" sz="1400" b="1" dirty="0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арадорлиги</a:t>
            </a:r>
            <a:r>
              <a:rPr lang="ru-RU" sz="1400" b="1" dirty="0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z-Cyrl-UZ" sz="1400" b="1" dirty="0">
                <a:solidFill>
                  <a:srgbClr val="3A07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и</a:t>
            </a:r>
            <a:endParaRPr lang="ru-RU" sz="1400" b="1" dirty="0">
              <a:solidFill>
                <a:srgbClr val="3A07D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fontAlgn="base">
              <a:spcBef>
                <a:spcPct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шу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умлада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ар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димлари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рупцияви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ракатлар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б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илганлиг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ўғрисидагимаълумотлар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АВ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унингдек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агентла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ўғрисидаг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шу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б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ълумотлар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вжудлиг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ониторинги.</a:t>
            </a:r>
          </a:p>
          <a:p>
            <a:pPr marL="266700" indent="-266700" fontAlgn="base">
              <a:spcBef>
                <a:spcPct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димлари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ррупцияга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ш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раш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осла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абла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ўғриси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ардорлиги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шир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8398AB0E-68F3-428A-94E8-AD13D23AD4A6}"/>
              </a:ext>
            </a:extLst>
          </p:cNvPr>
          <p:cNvCxnSpPr>
            <a:cxnSpLocks/>
          </p:cNvCxnSpPr>
          <p:nvPr/>
        </p:nvCxnSpPr>
        <p:spPr>
          <a:xfrm>
            <a:off x="6167439" y="2420039"/>
            <a:ext cx="5592564" cy="0"/>
          </a:xfrm>
          <a:prstGeom prst="line">
            <a:avLst/>
          </a:prstGeom>
          <a:ln w="25400">
            <a:solidFill>
              <a:srgbClr val="1BD7D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E5573136-E49F-4DB3-903C-2ED6726F93E3}"/>
              </a:ext>
            </a:extLst>
          </p:cNvPr>
          <p:cNvSpPr/>
          <p:nvPr/>
        </p:nvSpPr>
        <p:spPr>
          <a:xfrm>
            <a:off x="6167439" y="2121096"/>
            <a:ext cx="5592564" cy="307777"/>
          </a:xfrm>
          <a:prstGeom prst="rect">
            <a:avLst/>
          </a:prstGeom>
        </p:spPr>
        <p:txBody>
          <a:bodyPr wrap="square" lIns="0" anchor="b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Назорат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йўналишлари</a:t>
            </a:r>
            <a:endParaRPr lang="ru-RU" sz="14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3F29F43-3594-4663-936A-64E15D4277F4}"/>
              </a:ext>
            </a:extLst>
          </p:cNvPr>
          <p:cNvSpPr/>
          <p:nvPr/>
        </p:nvSpPr>
        <p:spPr>
          <a:xfrm>
            <a:off x="6181407" y="2458460"/>
            <a:ext cx="5592564" cy="1254654"/>
          </a:xfrm>
          <a:prstGeom prst="rect">
            <a:avLst/>
          </a:prstGeom>
        </p:spPr>
        <p:txBody>
          <a:bodyPr wrap="square" lIns="0" numCol="1" spcCol="72000">
            <a:noAutofit/>
          </a:bodyPr>
          <a:lstStyle/>
          <a:p>
            <a:pPr marL="266700" indent="-266700" fontAlgn="base">
              <a:spcBef>
                <a:spcPct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рупцияга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ш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раш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стурла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ўл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ритала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жарилиши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z-Cyrl-UZ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орат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66700" indent="-266700" fontAlgn="base">
              <a:spcBef>
                <a:spcPct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димла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монида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ррупцияга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ш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ёсат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тиб-таомиллари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оя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илиши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ла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оси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орат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15" name="Picture 2" descr="https://w7.pngwing.com/pngs/564/452/png-transparent-flag-of-uzbekistan-emoji-flag-of-albania-emoji-flag-text-logo.png">
            <a:extLst>
              <a:ext uri="{FF2B5EF4-FFF2-40B4-BE49-F238E27FC236}">
                <a16:creationId xmlns:a16="http://schemas.microsoft.com/office/drawing/2014/main" id="{D7A5AF3E-673E-4CB7-BCA5-49E1F340AB35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93" t="2618" r="24782" b="2590"/>
          <a:stretch/>
        </p:blipFill>
        <p:spPr bwMode="auto">
          <a:xfrm>
            <a:off x="10811994" y="624763"/>
            <a:ext cx="612000" cy="612000"/>
          </a:xfrm>
          <a:prstGeom prst="flowChartConnector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44755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3406AB1-77FD-4B84-9EBF-FC389A9FE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</a:t>
            </a:r>
            <a:r>
              <a:rPr lang="ru-RU" dirty="0"/>
              <a:t> </a:t>
            </a:r>
            <a:r>
              <a:rPr lang="ru-RU" dirty="0" err="1"/>
              <a:t>тизимини</a:t>
            </a:r>
            <a:r>
              <a:rPr lang="ru-RU" dirty="0"/>
              <a:t> мониторинг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назорат</a:t>
            </a:r>
            <a:r>
              <a:rPr lang="ru-RU" dirty="0"/>
              <a:t> </a:t>
            </a:r>
            <a:r>
              <a:rPr lang="ru-RU" dirty="0" err="1"/>
              <a:t>қилиш</a:t>
            </a:r>
            <a:r>
              <a:rPr lang="ru-RU" dirty="0"/>
              <a:t>: Ўзбекистон </a:t>
            </a:r>
            <a:r>
              <a:rPr lang="ru-RU" dirty="0" err="1"/>
              <a:t>Республикасида</a:t>
            </a:r>
            <a:r>
              <a:rPr lang="ru-RU" dirty="0"/>
              <a:t> </a:t>
            </a:r>
            <a:r>
              <a:rPr lang="ru-RU" dirty="0" err="1"/>
              <a:t>амалга</a:t>
            </a:r>
            <a:r>
              <a:rPr lang="ru-RU" dirty="0"/>
              <a:t> </a:t>
            </a:r>
            <a:r>
              <a:rPr lang="ru-RU" dirty="0" err="1"/>
              <a:t>ошириш</a:t>
            </a:r>
            <a:r>
              <a:rPr lang="ru-RU" dirty="0"/>
              <a:t> </a:t>
            </a:r>
            <a:r>
              <a:rPr lang="ru-RU" dirty="0" err="1"/>
              <a:t>амалиёти</a:t>
            </a:r>
            <a:r>
              <a:rPr lang="ru-RU" dirty="0"/>
              <a:t> (2/8)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FA521C6-5679-4A41-B7EF-870EFEED05D7}"/>
              </a:ext>
            </a:extLst>
          </p:cNvPr>
          <p:cNvGrpSpPr/>
          <p:nvPr/>
        </p:nvGrpSpPr>
        <p:grpSpPr>
          <a:xfrm>
            <a:off x="442913" y="1282696"/>
            <a:ext cx="11306176" cy="736607"/>
            <a:chOff x="3784680" y="1289128"/>
            <a:chExt cx="7964408" cy="440386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87A40FF8-48A7-4F3C-A0B3-98FF9746C23B}"/>
                </a:ext>
              </a:extLst>
            </p:cNvPr>
            <p:cNvSpPr/>
            <p:nvPr/>
          </p:nvSpPr>
          <p:spPr>
            <a:xfrm>
              <a:off x="3921193" y="1348907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76E2228F-A9D3-41E9-860C-467DF5ED56E3}"/>
                </a:ext>
              </a:extLst>
            </p:cNvPr>
            <p:cNvSpPr/>
            <p:nvPr/>
          </p:nvSpPr>
          <p:spPr>
            <a:xfrm>
              <a:off x="3784680" y="1289128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ррупцияга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арш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самарал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изим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ярати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аъминла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ўйич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халқаро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хорижий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ашкилотларнинг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авсиялар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uz-Cyrl-UZ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мониторинги</a:t>
              </a:r>
              <a:endParaRPr lang="ru-RU" sz="14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13" name="object 15">
            <a:extLst>
              <a:ext uri="{FF2B5EF4-FFF2-40B4-BE49-F238E27FC236}">
                <a16:creationId xmlns:a16="http://schemas.microsoft.com/office/drawing/2014/main" id="{0B03989F-8440-4FE9-9678-E125A1C5B6D1}"/>
              </a:ext>
            </a:extLst>
          </p:cNvPr>
          <p:cNvSpPr txBox="1"/>
          <p:nvPr/>
        </p:nvSpPr>
        <p:spPr>
          <a:xfrm>
            <a:off x="1271993" y="2119292"/>
            <a:ext cx="2141729" cy="74856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Маъсул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шаҳс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 </a:t>
            </a:r>
          </a:p>
          <a:p>
            <a:pPr marL="10319">
              <a:spcAft>
                <a:spcPts val="600"/>
              </a:spcAft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Комплаенс-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инма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10319">
              <a:spcAft>
                <a:spcPts val="600"/>
              </a:spcAft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/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Юридик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им</a:t>
            </a:r>
            <a:endParaRPr lang="ru-RU" sz="14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4" name="object 12">
            <a:extLst>
              <a:ext uri="{FF2B5EF4-FFF2-40B4-BE49-F238E27FC236}">
                <a16:creationId xmlns:a16="http://schemas.microsoft.com/office/drawing/2014/main" id="{2C45FB6A-161D-45AE-A9EB-0AA760F70416}"/>
              </a:ext>
            </a:extLst>
          </p:cNvPr>
          <p:cNvSpPr/>
          <p:nvPr/>
        </p:nvSpPr>
        <p:spPr>
          <a:xfrm>
            <a:off x="456832" y="207111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" name="object 15">
            <a:extLst>
              <a:ext uri="{FF2B5EF4-FFF2-40B4-BE49-F238E27FC236}">
                <a16:creationId xmlns:a16="http://schemas.microsoft.com/office/drawing/2014/main" id="{3B3CAC22-1D08-4EC0-89FE-50433CAAFC7A}"/>
              </a:ext>
            </a:extLst>
          </p:cNvPr>
          <p:cNvSpPr txBox="1"/>
          <p:nvPr/>
        </p:nvSpPr>
        <p:spPr>
          <a:xfrm>
            <a:off x="1271993" y="3049281"/>
            <a:ext cx="2141730" cy="48695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Даврийлик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 </a:t>
            </a:r>
          </a:p>
          <a:p>
            <a:pPr marL="10319">
              <a:spcAft>
                <a:spcPts val="600"/>
              </a:spcAft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унтазам</a:t>
            </a:r>
            <a:endParaRPr lang="ru-RU"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23" name="object 12">
            <a:extLst>
              <a:ext uri="{FF2B5EF4-FFF2-40B4-BE49-F238E27FC236}">
                <a16:creationId xmlns:a16="http://schemas.microsoft.com/office/drawing/2014/main" id="{81DEFF9E-2222-421C-B0B9-6E182BE5911B}"/>
              </a:ext>
            </a:extLst>
          </p:cNvPr>
          <p:cNvSpPr/>
          <p:nvPr/>
        </p:nvSpPr>
        <p:spPr>
          <a:xfrm>
            <a:off x="456832" y="298810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24" name="Group 379">
            <a:extLst>
              <a:ext uri="{FF2B5EF4-FFF2-40B4-BE49-F238E27FC236}">
                <a16:creationId xmlns:a16="http://schemas.microsoft.com/office/drawing/2014/main" id="{96651ED7-7547-4C68-A4D6-03A8D4F705D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3080" y="3070945"/>
            <a:ext cx="590071" cy="596415"/>
            <a:chOff x="1156" y="3368"/>
            <a:chExt cx="279" cy="282"/>
          </a:xfrm>
          <a:solidFill>
            <a:schemeClr val="bg2">
              <a:lumMod val="25000"/>
            </a:schemeClr>
          </a:solidFill>
        </p:grpSpPr>
        <p:sp>
          <p:nvSpPr>
            <p:cNvPr id="25" name="Freeform 380">
              <a:extLst>
                <a:ext uri="{FF2B5EF4-FFF2-40B4-BE49-F238E27FC236}">
                  <a16:creationId xmlns:a16="http://schemas.microsoft.com/office/drawing/2014/main" id="{F4FE59C7-E14E-47D4-B3A4-C53E0DCAA6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69" y="3516"/>
              <a:ext cx="96" cy="93"/>
            </a:xfrm>
            <a:custGeom>
              <a:avLst/>
              <a:gdLst>
                <a:gd name="T0" fmla="*/ 2440 w 2899"/>
                <a:gd name="T1" fmla="*/ 437 h 2811"/>
                <a:gd name="T2" fmla="*/ 2262 w 2899"/>
                <a:gd name="T3" fmla="*/ 444 h 2811"/>
                <a:gd name="T4" fmla="*/ 2269 w 2899"/>
                <a:gd name="T5" fmla="*/ 621 h 2811"/>
                <a:gd name="T6" fmla="*/ 2341 w 2899"/>
                <a:gd name="T7" fmla="*/ 693 h 2811"/>
                <a:gd name="T8" fmla="*/ 2631 w 2899"/>
                <a:gd name="T9" fmla="*/ 1496 h 2811"/>
                <a:gd name="T10" fmla="*/ 2269 w 2899"/>
                <a:gd name="T11" fmla="*/ 2269 h 2811"/>
                <a:gd name="T12" fmla="*/ 694 w 2899"/>
                <a:gd name="T13" fmla="*/ 2197 h 2811"/>
                <a:gd name="T14" fmla="*/ 765 w 2899"/>
                <a:gd name="T15" fmla="*/ 622 h 2811"/>
                <a:gd name="T16" fmla="*/ 1835 w 2899"/>
                <a:gd name="T17" fmla="*/ 376 h 2811"/>
                <a:gd name="T18" fmla="*/ 1991 w 2899"/>
                <a:gd name="T19" fmla="*/ 292 h 2811"/>
                <a:gd name="T20" fmla="*/ 1906 w 2899"/>
                <a:gd name="T21" fmla="*/ 135 h 2811"/>
                <a:gd name="T22" fmla="*/ 596 w 2899"/>
                <a:gd name="T23" fmla="*/ 436 h 2811"/>
                <a:gd name="T24" fmla="*/ 508 w 2899"/>
                <a:gd name="T25" fmla="*/ 2366 h 2811"/>
                <a:gd name="T26" fmla="*/ 1518 w 2899"/>
                <a:gd name="T27" fmla="*/ 2811 h 2811"/>
                <a:gd name="T28" fmla="*/ 2439 w 2899"/>
                <a:gd name="T29" fmla="*/ 2454 h 2811"/>
                <a:gd name="T30" fmla="*/ 2882 w 2899"/>
                <a:gd name="T31" fmla="*/ 1507 h 2811"/>
                <a:gd name="T32" fmla="*/ 2526 w 2899"/>
                <a:gd name="T33" fmla="*/ 523 h 2811"/>
                <a:gd name="T34" fmla="*/ 2440 w 2899"/>
                <a:gd name="T35" fmla="*/ 437 h 2811"/>
                <a:gd name="T36" fmla="*/ 2440 w 2899"/>
                <a:gd name="T37" fmla="*/ 437 h 2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99" h="2811">
                  <a:moveTo>
                    <a:pt x="2440" y="437"/>
                  </a:moveTo>
                  <a:cubicBezTo>
                    <a:pt x="2389" y="390"/>
                    <a:pt x="2310" y="393"/>
                    <a:pt x="2262" y="444"/>
                  </a:cubicBezTo>
                  <a:cubicBezTo>
                    <a:pt x="2215" y="494"/>
                    <a:pt x="2218" y="574"/>
                    <a:pt x="2269" y="621"/>
                  </a:cubicBezTo>
                  <a:cubicBezTo>
                    <a:pt x="2294" y="645"/>
                    <a:pt x="2318" y="669"/>
                    <a:pt x="2341" y="693"/>
                  </a:cubicBezTo>
                  <a:cubicBezTo>
                    <a:pt x="2541" y="913"/>
                    <a:pt x="2645" y="1198"/>
                    <a:pt x="2631" y="1496"/>
                  </a:cubicBezTo>
                  <a:cubicBezTo>
                    <a:pt x="2618" y="1793"/>
                    <a:pt x="2489" y="2068"/>
                    <a:pt x="2269" y="2269"/>
                  </a:cubicBezTo>
                  <a:cubicBezTo>
                    <a:pt x="1815" y="2683"/>
                    <a:pt x="1108" y="2651"/>
                    <a:pt x="694" y="2197"/>
                  </a:cubicBezTo>
                  <a:cubicBezTo>
                    <a:pt x="279" y="1743"/>
                    <a:pt x="311" y="1037"/>
                    <a:pt x="765" y="622"/>
                  </a:cubicBezTo>
                  <a:cubicBezTo>
                    <a:pt x="1057" y="356"/>
                    <a:pt x="1456" y="264"/>
                    <a:pt x="1835" y="376"/>
                  </a:cubicBezTo>
                  <a:cubicBezTo>
                    <a:pt x="1901" y="396"/>
                    <a:pt x="1971" y="358"/>
                    <a:pt x="1991" y="292"/>
                  </a:cubicBezTo>
                  <a:cubicBezTo>
                    <a:pt x="2011" y="225"/>
                    <a:pt x="1973" y="155"/>
                    <a:pt x="1906" y="135"/>
                  </a:cubicBezTo>
                  <a:cubicBezTo>
                    <a:pt x="1450" y="0"/>
                    <a:pt x="947" y="115"/>
                    <a:pt x="596" y="436"/>
                  </a:cubicBezTo>
                  <a:cubicBezTo>
                    <a:pt x="39" y="944"/>
                    <a:pt x="0" y="1811"/>
                    <a:pt x="508" y="2366"/>
                  </a:cubicBezTo>
                  <a:cubicBezTo>
                    <a:pt x="777" y="2661"/>
                    <a:pt x="1147" y="2811"/>
                    <a:pt x="1518" y="2811"/>
                  </a:cubicBezTo>
                  <a:cubicBezTo>
                    <a:pt x="1847" y="2811"/>
                    <a:pt x="2177" y="2693"/>
                    <a:pt x="2439" y="2454"/>
                  </a:cubicBezTo>
                  <a:cubicBezTo>
                    <a:pt x="2708" y="2208"/>
                    <a:pt x="2866" y="1872"/>
                    <a:pt x="2882" y="1507"/>
                  </a:cubicBezTo>
                  <a:cubicBezTo>
                    <a:pt x="2899" y="1143"/>
                    <a:pt x="2772" y="793"/>
                    <a:pt x="2526" y="523"/>
                  </a:cubicBezTo>
                  <a:cubicBezTo>
                    <a:pt x="2498" y="493"/>
                    <a:pt x="2470" y="465"/>
                    <a:pt x="2440" y="437"/>
                  </a:cubicBezTo>
                  <a:close/>
                  <a:moveTo>
                    <a:pt x="2440" y="437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381">
              <a:extLst>
                <a:ext uri="{FF2B5EF4-FFF2-40B4-BE49-F238E27FC236}">
                  <a16:creationId xmlns:a16="http://schemas.microsoft.com/office/drawing/2014/main" id="{915B6510-5E9A-4EF0-A1F3-37EF7BCBE8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5" y="3452"/>
              <a:ext cx="49" cy="49"/>
            </a:xfrm>
            <a:custGeom>
              <a:avLst/>
              <a:gdLst>
                <a:gd name="T0" fmla="*/ 882 w 1469"/>
                <a:gd name="T1" fmla="*/ 15 h 1469"/>
                <a:gd name="T2" fmla="*/ 734 w 1469"/>
                <a:gd name="T3" fmla="*/ 0 h 1469"/>
                <a:gd name="T4" fmla="*/ 586 w 1469"/>
                <a:gd name="T5" fmla="*/ 15 h 1469"/>
                <a:gd name="T6" fmla="*/ 0 w 1469"/>
                <a:gd name="T7" fmla="*/ 735 h 1469"/>
                <a:gd name="T8" fmla="*/ 734 w 1469"/>
                <a:gd name="T9" fmla="*/ 1469 h 1469"/>
                <a:gd name="T10" fmla="*/ 1469 w 1469"/>
                <a:gd name="T11" fmla="*/ 735 h 1469"/>
                <a:gd name="T12" fmla="*/ 882 w 1469"/>
                <a:gd name="T13" fmla="*/ 15 h 1469"/>
                <a:gd name="T14" fmla="*/ 734 w 1469"/>
                <a:gd name="T15" fmla="*/ 1218 h 1469"/>
                <a:gd name="T16" fmla="*/ 252 w 1469"/>
                <a:gd name="T17" fmla="*/ 735 h 1469"/>
                <a:gd name="T18" fmla="*/ 734 w 1469"/>
                <a:gd name="T19" fmla="*/ 252 h 1469"/>
                <a:gd name="T20" fmla="*/ 1217 w 1469"/>
                <a:gd name="T21" fmla="*/ 735 h 1469"/>
                <a:gd name="T22" fmla="*/ 734 w 1469"/>
                <a:gd name="T23" fmla="*/ 1218 h 1469"/>
                <a:gd name="T24" fmla="*/ 734 w 1469"/>
                <a:gd name="T25" fmla="*/ 1218 h 1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69" h="1469">
                  <a:moveTo>
                    <a:pt x="882" y="15"/>
                  </a:moveTo>
                  <a:cubicBezTo>
                    <a:pt x="834" y="6"/>
                    <a:pt x="785" y="0"/>
                    <a:pt x="734" y="0"/>
                  </a:cubicBezTo>
                  <a:cubicBezTo>
                    <a:pt x="684" y="0"/>
                    <a:pt x="634" y="6"/>
                    <a:pt x="586" y="15"/>
                  </a:cubicBezTo>
                  <a:cubicBezTo>
                    <a:pt x="252" y="84"/>
                    <a:pt x="0" y="380"/>
                    <a:pt x="0" y="735"/>
                  </a:cubicBezTo>
                  <a:cubicBezTo>
                    <a:pt x="0" y="1140"/>
                    <a:pt x="329" y="1469"/>
                    <a:pt x="734" y="1469"/>
                  </a:cubicBezTo>
                  <a:cubicBezTo>
                    <a:pt x="1139" y="1469"/>
                    <a:pt x="1469" y="1140"/>
                    <a:pt x="1469" y="735"/>
                  </a:cubicBezTo>
                  <a:cubicBezTo>
                    <a:pt x="1469" y="380"/>
                    <a:pt x="1217" y="84"/>
                    <a:pt x="882" y="15"/>
                  </a:cubicBezTo>
                  <a:close/>
                  <a:moveTo>
                    <a:pt x="734" y="1218"/>
                  </a:moveTo>
                  <a:cubicBezTo>
                    <a:pt x="468" y="1218"/>
                    <a:pt x="252" y="1001"/>
                    <a:pt x="252" y="735"/>
                  </a:cubicBezTo>
                  <a:cubicBezTo>
                    <a:pt x="252" y="468"/>
                    <a:pt x="468" y="252"/>
                    <a:pt x="734" y="252"/>
                  </a:cubicBezTo>
                  <a:cubicBezTo>
                    <a:pt x="1001" y="252"/>
                    <a:pt x="1217" y="468"/>
                    <a:pt x="1217" y="735"/>
                  </a:cubicBezTo>
                  <a:cubicBezTo>
                    <a:pt x="1217" y="1001"/>
                    <a:pt x="1001" y="1218"/>
                    <a:pt x="734" y="1218"/>
                  </a:cubicBezTo>
                  <a:close/>
                  <a:moveTo>
                    <a:pt x="734" y="121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382">
              <a:extLst>
                <a:ext uri="{FF2B5EF4-FFF2-40B4-BE49-F238E27FC236}">
                  <a16:creationId xmlns:a16="http://schemas.microsoft.com/office/drawing/2014/main" id="{980536EC-E2CA-4D66-B1BC-4E5B9BEEA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6" y="3368"/>
              <a:ext cx="279" cy="282"/>
            </a:xfrm>
            <a:custGeom>
              <a:avLst/>
              <a:gdLst>
                <a:gd name="T0" fmla="*/ 7982 w 8433"/>
                <a:gd name="T1" fmla="*/ 1329 h 8517"/>
                <a:gd name="T2" fmla="*/ 6247 w 8433"/>
                <a:gd name="T3" fmla="*/ 251 h 8517"/>
                <a:gd name="T4" fmla="*/ 6247 w 8433"/>
                <a:gd name="T5" fmla="*/ 0 h 8517"/>
                <a:gd name="T6" fmla="*/ 3586 w 8433"/>
                <a:gd name="T7" fmla="*/ 1250 h 8517"/>
                <a:gd name="T8" fmla="*/ 2858 w 8433"/>
                <a:gd name="T9" fmla="*/ 733 h 8517"/>
                <a:gd name="T10" fmla="*/ 1598 w 8433"/>
                <a:gd name="T11" fmla="*/ 1359 h 8517"/>
                <a:gd name="T12" fmla="*/ 409 w 8433"/>
                <a:gd name="T13" fmla="*/ 1962 h 8517"/>
                <a:gd name="T14" fmla="*/ 367 w 8433"/>
                <a:gd name="T15" fmla="*/ 2583 h 8517"/>
                <a:gd name="T16" fmla="*/ 551 w 8433"/>
                <a:gd name="T17" fmla="*/ 3958 h 8517"/>
                <a:gd name="T18" fmla="*/ 516 w 8433"/>
                <a:gd name="T19" fmla="*/ 4839 h 8517"/>
                <a:gd name="T20" fmla="*/ 1850 w 8433"/>
                <a:gd name="T21" fmla="*/ 5256 h 8517"/>
                <a:gd name="T22" fmla="*/ 2324 w 8433"/>
                <a:gd name="T23" fmla="*/ 6117 h 8517"/>
                <a:gd name="T24" fmla="*/ 2951 w 8433"/>
                <a:gd name="T25" fmla="*/ 6767 h 8517"/>
                <a:gd name="T26" fmla="*/ 3237 w 8433"/>
                <a:gd name="T27" fmla="*/ 7901 h 8517"/>
                <a:gd name="T28" fmla="*/ 4132 w 8433"/>
                <a:gd name="T29" fmla="*/ 8097 h 8517"/>
                <a:gd name="T30" fmla="*/ 5413 w 8433"/>
                <a:gd name="T31" fmla="*/ 8419 h 8517"/>
                <a:gd name="T32" fmla="*/ 5916 w 8433"/>
                <a:gd name="T33" fmla="*/ 8022 h 8517"/>
                <a:gd name="T34" fmla="*/ 7049 w 8433"/>
                <a:gd name="T35" fmla="*/ 7345 h 8517"/>
                <a:gd name="T36" fmla="*/ 7124 w 8433"/>
                <a:gd name="T37" fmla="*/ 6708 h 8517"/>
                <a:gd name="T38" fmla="*/ 7188 w 8433"/>
                <a:gd name="T39" fmla="*/ 5307 h 8517"/>
                <a:gd name="T40" fmla="*/ 7074 w 8433"/>
                <a:gd name="T41" fmla="*/ 4397 h 8517"/>
                <a:gd name="T42" fmla="*/ 2350 w 8433"/>
                <a:gd name="T43" fmla="*/ 5557 h 8517"/>
                <a:gd name="T44" fmla="*/ 2012 w 8433"/>
                <a:gd name="T45" fmla="*/ 5045 h 8517"/>
                <a:gd name="T46" fmla="*/ 1147 w 8433"/>
                <a:gd name="T47" fmla="*/ 5114 h 8517"/>
                <a:gd name="T48" fmla="*/ 890 w 8433"/>
                <a:gd name="T49" fmla="*/ 4300 h 8517"/>
                <a:gd name="T50" fmla="*/ 367 w 8433"/>
                <a:gd name="T51" fmla="*/ 3707 h 8517"/>
                <a:gd name="T52" fmla="*/ 633 w 8433"/>
                <a:gd name="T53" fmla="*/ 2835 h 8517"/>
                <a:gd name="T54" fmla="*/ 694 w 8433"/>
                <a:gd name="T55" fmla="*/ 2044 h 8517"/>
                <a:gd name="T56" fmla="*/ 1311 w 8433"/>
                <a:gd name="T57" fmla="*/ 1427 h 8517"/>
                <a:gd name="T58" fmla="*/ 2101 w 8433"/>
                <a:gd name="T59" fmla="*/ 1342 h 8517"/>
                <a:gd name="T60" fmla="*/ 2974 w 8433"/>
                <a:gd name="T61" fmla="*/ 1100 h 8517"/>
                <a:gd name="T62" fmla="*/ 3602 w 8433"/>
                <a:gd name="T63" fmla="*/ 1590 h 8517"/>
                <a:gd name="T64" fmla="*/ 4132 w 8433"/>
                <a:gd name="T65" fmla="*/ 1632 h 8517"/>
                <a:gd name="T66" fmla="*/ 4328 w 8433"/>
                <a:gd name="T67" fmla="*/ 3795 h 8517"/>
                <a:gd name="T68" fmla="*/ 3874 w 8433"/>
                <a:gd name="T69" fmla="*/ 3271 h 8517"/>
                <a:gd name="T70" fmla="*/ 2830 w 8433"/>
                <a:gd name="T71" fmla="*/ 4575 h 8517"/>
                <a:gd name="T72" fmla="*/ 2743 w 8433"/>
                <a:gd name="T73" fmla="*/ 5104 h 8517"/>
                <a:gd name="T74" fmla="*/ 3535 w 8433"/>
                <a:gd name="T75" fmla="*/ 3697 h 8517"/>
                <a:gd name="T76" fmla="*/ 2537 w 8433"/>
                <a:gd name="T77" fmla="*/ 4356 h 8517"/>
                <a:gd name="T78" fmla="*/ 7177 w 8433"/>
                <a:gd name="T79" fmla="*/ 5558 h 8517"/>
                <a:gd name="T80" fmla="*/ 7136 w 8433"/>
                <a:gd name="T81" fmla="*/ 6457 h 8517"/>
                <a:gd name="T82" fmla="*/ 6583 w 8433"/>
                <a:gd name="T83" fmla="*/ 7045 h 8517"/>
                <a:gd name="T84" fmla="*/ 6273 w 8433"/>
                <a:gd name="T85" fmla="*/ 7861 h 8517"/>
                <a:gd name="T86" fmla="*/ 5764 w 8433"/>
                <a:gd name="T87" fmla="*/ 7615 h 8517"/>
                <a:gd name="T88" fmla="*/ 5243 w 8433"/>
                <a:gd name="T89" fmla="*/ 8233 h 8517"/>
                <a:gd name="T90" fmla="*/ 4396 w 8433"/>
                <a:gd name="T91" fmla="*/ 7824 h 8517"/>
                <a:gd name="T92" fmla="*/ 3595 w 8433"/>
                <a:gd name="T93" fmla="*/ 7739 h 8517"/>
                <a:gd name="T94" fmla="*/ 2987 w 8433"/>
                <a:gd name="T95" fmla="*/ 7074 h 8517"/>
                <a:gd name="T96" fmla="*/ 2959 w 8433"/>
                <a:gd name="T97" fmla="*/ 6267 h 8517"/>
                <a:gd name="T98" fmla="*/ 2605 w 8433"/>
                <a:gd name="T99" fmla="*/ 5472 h 8517"/>
                <a:gd name="T100" fmla="*/ 3110 w 8433"/>
                <a:gd name="T101" fmla="*/ 5281 h 8517"/>
                <a:gd name="T102" fmla="*/ 3070 w 8433"/>
                <a:gd name="T103" fmla="*/ 4479 h 8517"/>
                <a:gd name="T104" fmla="*/ 3766 w 8433"/>
                <a:gd name="T105" fmla="*/ 3960 h 8517"/>
                <a:gd name="T106" fmla="*/ 4575 w 8433"/>
                <a:gd name="T107" fmla="*/ 3899 h 8517"/>
                <a:gd name="T108" fmla="*/ 6646 w 8433"/>
                <a:gd name="T109" fmla="*/ 4336 h 8517"/>
                <a:gd name="T110" fmla="*/ 6697 w 8433"/>
                <a:gd name="T111" fmla="*/ 4906 h 8517"/>
                <a:gd name="T112" fmla="*/ 7177 w 8433"/>
                <a:gd name="T113" fmla="*/ 5558 h 8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433" h="8517">
                  <a:moveTo>
                    <a:pt x="8433" y="2186"/>
                  </a:moveTo>
                  <a:cubicBezTo>
                    <a:pt x="8433" y="1847"/>
                    <a:pt x="8357" y="1521"/>
                    <a:pt x="8207" y="1217"/>
                  </a:cubicBezTo>
                  <a:cubicBezTo>
                    <a:pt x="8177" y="1155"/>
                    <a:pt x="8101" y="1130"/>
                    <a:pt x="8039" y="1160"/>
                  </a:cubicBezTo>
                  <a:cubicBezTo>
                    <a:pt x="7977" y="1191"/>
                    <a:pt x="7951" y="1267"/>
                    <a:pt x="7982" y="1329"/>
                  </a:cubicBezTo>
                  <a:cubicBezTo>
                    <a:pt x="8115" y="1597"/>
                    <a:pt x="8182" y="1886"/>
                    <a:pt x="8182" y="2186"/>
                  </a:cubicBezTo>
                  <a:cubicBezTo>
                    <a:pt x="8182" y="3253"/>
                    <a:pt x="7314" y="4121"/>
                    <a:pt x="6247" y="4121"/>
                  </a:cubicBezTo>
                  <a:cubicBezTo>
                    <a:pt x="5180" y="4121"/>
                    <a:pt x="4312" y="3253"/>
                    <a:pt x="4312" y="2186"/>
                  </a:cubicBezTo>
                  <a:cubicBezTo>
                    <a:pt x="4312" y="1119"/>
                    <a:pt x="5180" y="251"/>
                    <a:pt x="6247" y="251"/>
                  </a:cubicBezTo>
                  <a:cubicBezTo>
                    <a:pt x="6781" y="251"/>
                    <a:pt x="7297" y="475"/>
                    <a:pt x="7661" y="866"/>
                  </a:cubicBezTo>
                  <a:cubicBezTo>
                    <a:pt x="7709" y="917"/>
                    <a:pt x="7788" y="919"/>
                    <a:pt x="7839" y="872"/>
                  </a:cubicBezTo>
                  <a:cubicBezTo>
                    <a:pt x="7890" y="825"/>
                    <a:pt x="7892" y="745"/>
                    <a:pt x="7845" y="694"/>
                  </a:cubicBezTo>
                  <a:cubicBezTo>
                    <a:pt x="7433" y="253"/>
                    <a:pt x="6851" y="0"/>
                    <a:pt x="6247" y="0"/>
                  </a:cubicBezTo>
                  <a:cubicBezTo>
                    <a:pt x="5332" y="0"/>
                    <a:pt x="4546" y="565"/>
                    <a:pt x="4221" y="1365"/>
                  </a:cubicBezTo>
                  <a:lnTo>
                    <a:pt x="4105" y="1249"/>
                  </a:lnTo>
                  <a:cubicBezTo>
                    <a:pt x="4036" y="1180"/>
                    <a:pt x="3944" y="1142"/>
                    <a:pt x="3846" y="1142"/>
                  </a:cubicBezTo>
                  <a:cubicBezTo>
                    <a:pt x="3747" y="1142"/>
                    <a:pt x="3655" y="1180"/>
                    <a:pt x="3586" y="1250"/>
                  </a:cubicBezTo>
                  <a:lnTo>
                    <a:pt x="3489" y="1347"/>
                  </a:lnTo>
                  <a:cubicBezTo>
                    <a:pt x="3404" y="1305"/>
                    <a:pt x="3316" y="1269"/>
                    <a:pt x="3225" y="1239"/>
                  </a:cubicBezTo>
                  <a:lnTo>
                    <a:pt x="3225" y="1100"/>
                  </a:lnTo>
                  <a:cubicBezTo>
                    <a:pt x="3225" y="898"/>
                    <a:pt x="3060" y="733"/>
                    <a:pt x="2858" y="733"/>
                  </a:cubicBezTo>
                  <a:lnTo>
                    <a:pt x="2217" y="733"/>
                  </a:lnTo>
                  <a:cubicBezTo>
                    <a:pt x="2015" y="733"/>
                    <a:pt x="1850" y="898"/>
                    <a:pt x="1850" y="1100"/>
                  </a:cubicBezTo>
                  <a:lnTo>
                    <a:pt x="1850" y="1251"/>
                  </a:lnTo>
                  <a:cubicBezTo>
                    <a:pt x="1764" y="1281"/>
                    <a:pt x="1680" y="1317"/>
                    <a:pt x="1598" y="1359"/>
                  </a:cubicBezTo>
                  <a:lnTo>
                    <a:pt x="1489" y="1249"/>
                  </a:lnTo>
                  <a:cubicBezTo>
                    <a:pt x="1346" y="1106"/>
                    <a:pt x="1113" y="1106"/>
                    <a:pt x="970" y="1249"/>
                  </a:cubicBezTo>
                  <a:lnTo>
                    <a:pt x="516" y="1703"/>
                  </a:lnTo>
                  <a:cubicBezTo>
                    <a:pt x="447" y="1772"/>
                    <a:pt x="409" y="1864"/>
                    <a:pt x="409" y="1962"/>
                  </a:cubicBezTo>
                  <a:cubicBezTo>
                    <a:pt x="409" y="2061"/>
                    <a:pt x="447" y="2153"/>
                    <a:pt x="516" y="2222"/>
                  </a:cubicBezTo>
                  <a:lnTo>
                    <a:pt x="637" y="2342"/>
                  </a:lnTo>
                  <a:cubicBezTo>
                    <a:pt x="599" y="2421"/>
                    <a:pt x="567" y="2501"/>
                    <a:pt x="540" y="2583"/>
                  </a:cubicBezTo>
                  <a:lnTo>
                    <a:pt x="367" y="2583"/>
                  </a:lnTo>
                  <a:cubicBezTo>
                    <a:pt x="164" y="2583"/>
                    <a:pt x="0" y="2748"/>
                    <a:pt x="0" y="2950"/>
                  </a:cubicBezTo>
                  <a:lnTo>
                    <a:pt x="0" y="3591"/>
                  </a:lnTo>
                  <a:cubicBezTo>
                    <a:pt x="0" y="3794"/>
                    <a:pt x="164" y="3958"/>
                    <a:pt x="367" y="3958"/>
                  </a:cubicBezTo>
                  <a:lnTo>
                    <a:pt x="551" y="3958"/>
                  </a:lnTo>
                  <a:cubicBezTo>
                    <a:pt x="579" y="4037"/>
                    <a:pt x="611" y="4113"/>
                    <a:pt x="648" y="4188"/>
                  </a:cubicBezTo>
                  <a:lnTo>
                    <a:pt x="516" y="4319"/>
                  </a:lnTo>
                  <a:cubicBezTo>
                    <a:pt x="447" y="4388"/>
                    <a:pt x="409" y="4481"/>
                    <a:pt x="409" y="4579"/>
                  </a:cubicBezTo>
                  <a:cubicBezTo>
                    <a:pt x="409" y="4677"/>
                    <a:pt x="447" y="4769"/>
                    <a:pt x="516" y="4839"/>
                  </a:cubicBezTo>
                  <a:lnTo>
                    <a:pt x="970" y="5292"/>
                  </a:lnTo>
                  <a:cubicBezTo>
                    <a:pt x="1113" y="5435"/>
                    <a:pt x="1346" y="5435"/>
                    <a:pt x="1489" y="5292"/>
                  </a:cubicBezTo>
                  <a:lnTo>
                    <a:pt x="1620" y="5160"/>
                  </a:lnTo>
                  <a:cubicBezTo>
                    <a:pt x="1695" y="5197"/>
                    <a:pt x="1771" y="5229"/>
                    <a:pt x="1850" y="5256"/>
                  </a:cubicBezTo>
                  <a:lnTo>
                    <a:pt x="1850" y="5442"/>
                  </a:lnTo>
                  <a:cubicBezTo>
                    <a:pt x="1850" y="5644"/>
                    <a:pt x="2015" y="5808"/>
                    <a:pt x="2217" y="5808"/>
                  </a:cubicBezTo>
                  <a:lnTo>
                    <a:pt x="2338" y="5808"/>
                  </a:lnTo>
                  <a:lnTo>
                    <a:pt x="2324" y="6117"/>
                  </a:lnTo>
                  <a:cubicBezTo>
                    <a:pt x="2320" y="6216"/>
                    <a:pt x="2354" y="6311"/>
                    <a:pt x="2421" y="6385"/>
                  </a:cubicBezTo>
                  <a:cubicBezTo>
                    <a:pt x="2489" y="6459"/>
                    <a:pt x="2581" y="6502"/>
                    <a:pt x="2680" y="6506"/>
                  </a:cubicBezTo>
                  <a:lnTo>
                    <a:pt x="2856" y="6514"/>
                  </a:lnTo>
                  <a:cubicBezTo>
                    <a:pt x="2883" y="6600"/>
                    <a:pt x="2914" y="6685"/>
                    <a:pt x="2951" y="6767"/>
                  </a:cubicBezTo>
                  <a:lnTo>
                    <a:pt x="2818" y="6888"/>
                  </a:lnTo>
                  <a:cubicBezTo>
                    <a:pt x="2744" y="6955"/>
                    <a:pt x="2702" y="7047"/>
                    <a:pt x="2697" y="7147"/>
                  </a:cubicBezTo>
                  <a:cubicBezTo>
                    <a:pt x="2693" y="7247"/>
                    <a:pt x="2727" y="7342"/>
                    <a:pt x="2794" y="7415"/>
                  </a:cubicBezTo>
                  <a:lnTo>
                    <a:pt x="3237" y="7901"/>
                  </a:lnTo>
                  <a:cubicBezTo>
                    <a:pt x="3376" y="8052"/>
                    <a:pt x="3612" y="8063"/>
                    <a:pt x="3764" y="7924"/>
                  </a:cubicBezTo>
                  <a:lnTo>
                    <a:pt x="3906" y="7795"/>
                  </a:lnTo>
                  <a:cubicBezTo>
                    <a:pt x="3981" y="7836"/>
                    <a:pt x="4060" y="7872"/>
                    <a:pt x="4141" y="7904"/>
                  </a:cubicBezTo>
                  <a:lnTo>
                    <a:pt x="4132" y="8097"/>
                  </a:lnTo>
                  <a:cubicBezTo>
                    <a:pt x="4123" y="8302"/>
                    <a:pt x="4283" y="8477"/>
                    <a:pt x="4488" y="8486"/>
                  </a:cubicBezTo>
                  <a:lnTo>
                    <a:pt x="5145" y="8516"/>
                  </a:lnTo>
                  <a:cubicBezTo>
                    <a:pt x="5150" y="8517"/>
                    <a:pt x="5156" y="8517"/>
                    <a:pt x="5162" y="8517"/>
                  </a:cubicBezTo>
                  <a:cubicBezTo>
                    <a:pt x="5255" y="8517"/>
                    <a:pt x="5343" y="8482"/>
                    <a:pt x="5413" y="8419"/>
                  </a:cubicBezTo>
                  <a:cubicBezTo>
                    <a:pt x="5486" y="8351"/>
                    <a:pt x="5529" y="8260"/>
                    <a:pt x="5534" y="8161"/>
                  </a:cubicBezTo>
                  <a:lnTo>
                    <a:pt x="5543" y="7968"/>
                  </a:lnTo>
                  <a:cubicBezTo>
                    <a:pt x="5626" y="7944"/>
                    <a:pt x="5707" y="7915"/>
                    <a:pt x="5787" y="7881"/>
                  </a:cubicBezTo>
                  <a:lnTo>
                    <a:pt x="5916" y="8022"/>
                  </a:lnTo>
                  <a:cubicBezTo>
                    <a:pt x="5983" y="8096"/>
                    <a:pt x="6075" y="8139"/>
                    <a:pt x="6175" y="8143"/>
                  </a:cubicBezTo>
                  <a:cubicBezTo>
                    <a:pt x="6274" y="8148"/>
                    <a:pt x="6369" y="8113"/>
                    <a:pt x="6443" y="8046"/>
                  </a:cubicBezTo>
                  <a:lnTo>
                    <a:pt x="6928" y="7603"/>
                  </a:lnTo>
                  <a:cubicBezTo>
                    <a:pt x="7002" y="7536"/>
                    <a:pt x="7045" y="7444"/>
                    <a:pt x="7049" y="7345"/>
                  </a:cubicBezTo>
                  <a:cubicBezTo>
                    <a:pt x="7054" y="7245"/>
                    <a:pt x="7019" y="7150"/>
                    <a:pt x="6952" y="7076"/>
                  </a:cubicBezTo>
                  <a:lnTo>
                    <a:pt x="6831" y="6944"/>
                  </a:lnTo>
                  <a:cubicBezTo>
                    <a:pt x="6875" y="6865"/>
                    <a:pt x="6914" y="6783"/>
                    <a:pt x="6948" y="6700"/>
                  </a:cubicBezTo>
                  <a:lnTo>
                    <a:pt x="7124" y="6708"/>
                  </a:lnTo>
                  <a:cubicBezTo>
                    <a:pt x="7223" y="6713"/>
                    <a:pt x="7319" y="6678"/>
                    <a:pt x="7392" y="6611"/>
                  </a:cubicBezTo>
                  <a:cubicBezTo>
                    <a:pt x="7466" y="6544"/>
                    <a:pt x="7509" y="6452"/>
                    <a:pt x="7514" y="6353"/>
                  </a:cubicBezTo>
                  <a:lnTo>
                    <a:pt x="7544" y="5696"/>
                  </a:lnTo>
                  <a:cubicBezTo>
                    <a:pt x="7553" y="5490"/>
                    <a:pt x="7394" y="5316"/>
                    <a:pt x="7188" y="5307"/>
                  </a:cubicBezTo>
                  <a:lnTo>
                    <a:pt x="7028" y="5299"/>
                  </a:lnTo>
                  <a:cubicBezTo>
                    <a:pt x="7003" y="5207"/>
                    <a:pt x="6971" y="5117"/>
                    <a:pt x="6934" y="5030"/>
                  </a:cubicBezTo>
                  <a:lnTo>
                    <a:pt x="7050" y="4924"/>
                  </a:lnTo>
                  <a:cubicBezTo>
                    <a:pt x="7202" y="4786"/>
                    <a:pt x="7212" y="4549"/>
                    <a:pt x="7074" y="4397"/>
                  </a:cubicBezTo>
                  <a:lnTo>
                    <a:pt x="6946" y="4258"/>
                  </a:lnTo>
                  <a:cubicBezTo>
                    <a:pt x="7810" y="3965"/>
                    <a:pt x="8433" y="3147"/>
                    <a:pt x="8433" y="2186"/>
                  </a:cubicBezTo>
                  <a:close/>
                  <a:moveTo>
                    <a:pt x="2354" y="5460"/>
                  </a:moveTo>
                  <a:lnTo>
                    <a:pt x="2350" y="5557"/>
                  </a:lnTo>
                  <a:lnTo>
                    <a:pt x="2217" y="5557"/>
                  </a:lnTo>
                  <a:cubicBezTo>
                    <a:pt x="2154" y="5557"/>
                    <a:pt x="2101" y="5504"/>
                    <a:pt x="2101" y="5442"/>
                  </a:cubicBezTo>
                  <a:lnTo>
                    <a:pt x="2101" y="5165"/>
                  </a:lnTo>
                  <a:cubicBezTo>
                    <a:pt x="2101" y="5110"/>
                    <a:pt x="2065" y="5061"/>
                    <a:pt x="2012" y="5045"/>
                  </a:cubicBezTo>
                  <a:cubicBezTo>
                    <a:pt x="1889" y="5008"/>
                    <a:pt x="1769" y="4958"/>
                    <a:pt x="1657" y="4896"/>
                  </a:cubicBezTo>
                  <a:cubicBezTo>
                    <a:pt x="1608" y="4869"/>
                    <a:pt x="1547" y="4878"/>
                    <a:pt x="1507" y="4917"/>
                  </a:cubicBezTo>
                  <a:lnTo>
                    <a:pt x="1311" y="5114"/>
                  </a:lnTo>
                  <a:cubicBezTo>
                    <a:pt x="1266" y="5159"/>
                    <a:pt x="1193" y="5159"/>
                    <a:pt x="1147" y="5114"/>
                  </a:cubicBezTo>
                  <a:lnTo>
                    <a:pt x="694" y="4661"/>
                  </a:lnTo>
                  <a:cubicBezTo>
                    <a:pt x="672" y="4639"/>
                    <a:pt x="660" y="4610"/>
                    <a:pt x="660" y="4579"/>
                  </a:cubicBezTo>
                  <a:cubicBezTo>
                    <a:pt x="660" y="4548"/>
                    <a:pt x="672" y="4519"/>
                    <a:pt x="694" y="4497"/>
                  </a:cubicBezTo>
                  <a:lnTo>
                    <a:pt x="890" y="4300"/>
                  </a:lnTo>
                  <a:cubicBezTo>
                    <a:pt x="930" y="4261"/>
                    <a:pt x="939" y="4200"/>
                    <a:pt x="912" y="4151"/>
                  </a:cubicBezTo>
                  <a:cubicBezTo>
                    <a:pt x="851" y="4039"/>
                    <a:pt x="800" y="3920"/>
                    <a:pt x="763" y="3796"/>
                  </a:cubicBezTo>
                  <a:cubicBezTo>
                    <a:pt x="747" y="3743"/>
                    <a:pt x="698" y="3707"/>
                    <a:pt x="643" y="3707"/>
                  </a:cubicBezTo>
                  <a:lnTo>
                    <a:pt x="367" y="3707"/>
                  </a:lnTo>
                  <a:cubicBezTo>
                    <a:pt x="303" y="3707"/>
                    <a:pt x="251" y="3655"/>
                    <a:pt x="251" y="3591"/>
                  </a:cubicBezTo>
                  <a:lnTo>
                    <a:pt x="251" y="2950"/>
                  </a:lnTo>
                  <a:cubicBezTo>
                    <a:pt x="251" y="2886"/>
                    <a:pt x="303" y="2835"/>
                    <a:pt x="367" y="2835"/>
                  </a:cubicBezTo>
                  <a:lnTo>
                    <a:pt x="633" y="2835"/>
                  </a:lnTo>
                  <a:cubicBezTo>
                    <a:pt x="689" y="2835"/>
                    <a:pt x="738" y="2797"/>
                    <a:pt x="754" y="2743"/>
                  </a:cubicBezTo>
                  <a:cubicBezTo>
                    <a:pt x="789" y="2617"/>
                    <a:pt x="839" y="2494"/>
                    <a:pt x="901" y="2377"/>
                  </a:cubicBezTo>
                  <a:cubicBezTo>
                    <a:pt x="927" y="2328"/>
                    <a:pt x="918" y="2268"/>
                    <a:pt x="879" y="2229"/>
                  </a:cubicBezTo>
                  <a:lnTo>
                    <a:pt x="694" y="2044"/>
                  </a:lnTo>
                  <a:cubicBezTo>
                    <a:pt x="672" y="2022"/>
                    <a:pt x="660" y="1993"/>
                    <a:pt x="660" y="1962"/>
                  </a:cubicBezTo>
                  <a:cubicBezTo>
                    <a:pt x="660" y="1931"/>
                    <a:pt x="672" y="1902"/>
                    <a:pt x="694" y="1881"/>
                  </a:cubicBezTo>
                  <a:lnTo>
                    <a:pt x="1148" y="1427"/>
                  </a:lnTo>
                  <a:cubicBezTo>
                    <a:pt x="1192" y="1382"/>
                    <a:pt x="1266" y="1382"/>
                    <a:pt x="1311" y="1427"/>
                  </a:cubicBezTo>
                  <a:lnTo>
                    <a:pt x="1486" y="1602"/>
                  </a:lnTo>
                  <a:cubicBezTo>
                    <a:pt x="1526" y="1642"/>
                    <a:pt x="1587" y="1650"/>
                    <a:pt x="1636" y="1623"/>
                  </a:cubicBezTo>
                  <a:cubicBezTo>
                    <a:pt x="1757" y="1555"/>
                    <a:pt x="1883" y="1501"/>
                    <a:pt x="2012" y="1463"/>
                  </a:cubicBezTo>
                  <a:cubicBezTo>
                    <a:pt x="2065" y="1447"/>
                    <a:pt x="2101" y="1398"/>
                    <a:pt x="2101" y="1342"/>
                  </a:cubicBezTo>
                  <a:lnTo>
                    <a:pt x="2101" y="1100"/>
                  </a:lnTo>
                  <a:cubicBezTo>
                    <a:pt x="2101" y="1036"/>
                    <a:pt x="2153" y="985"/>
                    <a:pt x="2217" y="985"/>
                  </a:cubicBezTo>
                  <a:lnTo>
                    <a:pt x="2858" y="985"/>
                  </a:lnTo>
                  <a:cubicBezTo>
                    <a:pt x="2921" y="985"/>
                    <a:pt x="2974" y="1037"/>
                    <a:pt x="2974" y="1100"/>
                  </a:cubicBezTo>
                  <a:lnTo>
                    <a:pt x="2974" y="1332"/>
                  </a:lnTo>
                  <a:cubicBezTo>
                    <a:pt x="2974" y="1388"/>
                    <a:pt x="3011" y="1437"/>
                    <a:pt x="3065" y="1453"/>
                  </a:cubicBezTo>
                  <a:cubicBezTo>
                    <a:pt x="3201" y="1491"/>
                    <a:pt x="3331" y="1545"/>
                    <a:pt x="3452" y="1611"/>
                  </a:cubicBezTo>
                  <a:cubicBezTo>
                    <a:pt x="3501" y="1638"/>
                    <a:pt x="3562" y="1630"/>
                    <a:pt x="3602" y="1590"/>
                  </a:cubicBezTo>
                  <a:lnTo>
                    <a:pt x="3764" y="1427"/>
                  </a:lnTo>
                  <a:cubicBezTo>
                    <a:pt x="3785" y="1406"/>
                    <a:pt x="3814" y="1394"/>
                    <a:pt x="3846" y="1394"/>
                  </a:cubicBezTo>
                  <a:cubicBezTo>
                    <a:pt x="3877" y="1394"/>
                    <a:pt x="3906" y="1406"/>
                    <a:pt x="3927" y="1427"/>
                  </a:cubicBezTo>
                  <a:lnTo>
                    <a:pt x="4132" y="1632"/>
                  </a:lnTo>
                  <a:cubicBezTo>
                    <a:pt x="4085" y="1809"/>
                    <a:pt x="4060" y="1995"/>
                    <a:pt x="4060" y="2186"/>
                  </a:cubicBezTo>
                  <a:cubicBezTo>
                    <a:pt x="4060" y="2640"/>
                    <a:pt x="4200" y="3062"/>
                    <a:pt x="4437" y="3412"/>
                  </a:cubicBezTo>
                  <a:cubicBezTo>
                    <a:pt x="4376" y="3476"/>
                    <a:pt x="4338" y="3561"/>
                    <a:pt x="4334" y="3653"/>
                  </a:cubicBezTo>
                  <a:lnTo>
                    <a:pt x="4328" y="3795"/>
                  </a:lnTo>
                  <a:cubicBezTo>
                    <a:pt x="4232" y="3823"/>
                    <a:pt x="4139" y="3857"/>
                    <a:pt x="4049" y="3897"/>
                  </a:cubicBezTo>
                  <a:lnTo>
                    <a:pt x="3952" y="3791"/>
                  </a:lnTo>
                  <a:cubicBezTo>
                    <a:pt x="3911" y="3746"/>
                    <a:pt x="3861" y="3713"/>
                    <a:pt x="3806" y="3692"/>
                  </a:cubicBezTo>
                  <a:cubicBezTo>
                    <a:pt x="3851" y="3557"/>
                    <a:pt x="3874" y="3416"/>
                    <a:pt x="3874" y="3271"/>
                  </a:cubicBezTo>
                  <a:cubicBezTo>
                    <a:pt x="3874" y="2534"/>
                    <a:pt x="3274" y="1934"/>
                    <a:pt x="2537" y="1934"/>
                  </a:cubicBezTo>
                  <a:cubicBezTo>
                    <a:pt x="1800" y="1934"/>
                    <a:pt x="1201" y="2534"/>
                    <a:pt x="1201" y="3271"/>
                  </a:cubicBezTo>
                  <a:cubicBezTo>
                    <a:pt x="1201" y="4007"/>
                    <a:pt x="1800" y="4607"/>
                    <a:pt x="2537" y="4607"/>
                  </a:cubicBezTo>
                  <a:cubicBezTo>
                    <a:pt x="2636" y="4607"/>
                    <a:pt x="2734" y="4596"/>
                    <a:pt x="2830" y="4575"/>
                  </a:cubicBezTo>
                  <a:cubicBezTo>
                    <a:pt x="2844" y="4635"/>
                    <a:pt x="2874" y="4690"/>
                    <a:pt x="2916" y="4736"/>
                  </a:cubicBezTo>
                  <a:lnTo>
                    <a:pt x="3022" y="4852"/>
                  </a:lnTo>
                  <a:cubicBezTo>
                    <a:pt x="2976" y="4936"/>
                    <a:pt x="2937" y="5023"/>
                    <a:pt x="2903" y="5112"/>
                  </a:cubicBezTo>
                  <a:lnTo>
                    <a:pt x="2743" y="5104"/>
                  </a:lnTo>
                  <a:cubicBezTo>
                    <a:pt x="2644" y="5100"/>
                    <a:pt x="2549" y="5135"/>
                    <a:pt x="2475" y="5202"/>
                  </a:cubicBezTo>
                  <a:cubicBezTo>
                    <a:pt x="2401" y="5269"/>
                    <a:pt x="2358" y="5361"/>
                    <a:pt x="2354" y="5460"/>
                  </a:cubicBezTo>
                  <a:close/>
                  <a:moveTo>
                    <a:pt x="3622" y="3271"/>
                  </a:moveTo>
                  <a:cubicBezTo>
                    <a:pt x="3622" y="3419"/>
                    <a:pt x="3593" y="3563"/>
                    <a:pt x="3535" y="3697"/>
                  </a:cubicBezTo>
                  <a:cubicBezTo>
                    <a:pt x="3495" y="3714"/>
                    <a:pt x="3458" y="3737"/>
                    <a:pt x="3425" y="3766"/>
                  </a:cubicBezTo>
                  <a:lnTo>
                    <a:pt x="2940" y="4210"/>
                  </a:lnTo>
                  <a:cubicBezTo>
                    <a:pt x="2909" y="4238"/>
                    <a:pt x="2884" y="4270"/>
                    <a:pt x="2865" y="4305"/>
                  </a:cubicBezTo>
                  <a:cubicBezTo>
                    <a:pt x="2759" y="4339"/>
                    <a:pt x="2649" y="4356"/>
                    <a:pt x="2537" y="4356"/>
                  </a:cubicBezTo>
                  <a:cubicBezTo>
                    <a:pt x="1939" y="4356"/>
                    <a:pt x="1452" y="3869"/>
                    <a:pt x="1452" y="3271"/>
                  </a:cubicBezTo>
                  <a:cubicBezTo>
                    <a:pt x="1452" y="2672"/>
                    <a:pt x="1939" y="2186"/>
                    <a:pt x="2537" y="2186"/>
                  </a:cubicBezTo>
                  <a:cubicBezTo>
                    <a:pt x="3136" y="2186"/>
                    <a:pt x="3622" y="2672"/>
                    <a:pt x="3622" y="3271"/>
                  </a:cubicBezTo>
                  <a:close/>
                  <a:moveTo>
                    <a:pt x="7177" y="5558"/>
                  </a:moveTo>
                  <a:cubicBezTo>
                    <a:pt x="7243" y="5561"/>
                    <a:pt x="7296" y="5619"/>
                    <a:pt x="7293" y="5684"/>
                  </a:cubicBezTo>
                  <a:lnTo>
                    <a:pt x="7263" y="6341"/>
                  </a:lnTo>
                  <a:cubicBezTo>
                    <a:pt x="7261" y="6373"/>
                    <a:pt x="7247" y="6403"/>
                    <a:pt x="7223" y="6425"/>
                  </a:cubicBezTo>
                  <a:cubicBezTo>
                    <a:pt x="7199" y="6447"/>
                    <a:pt x="7168" y="6458"/>
                    <a:pt x="7136" y="6457"/>
                  </a:cubicBezTo>
                  <a:lnTo>
                    <a:pt x="6869" y="6445"/>
                  </a:lnTo>
                  <a:cubicBezTo>
                    <a:pt x="6813" y="6442"/>
                    <a:pt x="6763" y="6476"/>
                    <a:pt x="6744" y="6528"/>
                  </a:cubicBezTo>
                  <a:cubicBezTo>
                    <a:pt x="6699" y="6655"/>
                    <a:pt x="6640" y="6778"/>
                    <a:pt x="6569" y="6894"/>
                  </a:cubicBezTo>
                  <a:cubicBezTo>
                    <a:pt x="6539" y="6942"/>
                    <a:pt x="6545" y="7003"/>
                    <a:pt x="6583" y="7045"/>
                  </a:cubicBezTo>
                  <a:lnTo>
                    <a:pt x="6766" y="7245"/>
                  </a:lnTo>
                  <a:cubicBezTo>
                    <a:pt x="6788" y="7269"/>
                    <a:pt x="6799" y="7301"/>
                    <a:pt x="6798" y="7333"/>
                  </a:cubicBezTo>
                  <a:cubicBezTo>
                    <a:pt x="6796" y="7366"/>
                    <a:pt x="6783" y="7396"/>
                    <a:pt x="6759" y="7417"/>
                  </a:cubicBezTo>
                  <a:lnTo>
                    <a:pt x="6273" y="7861"/>
                  </a:lnTo>
                  <a:cubicBezTo>
                    <a:pt x="6250" y="7882"/>
                    <a:pt x="6218" y="7893"/>
                    <a:pt x="6186" y="7892"/>
                  </a:cubicBezTo>
                  <a:cubicBezTo>
                    <a:pt x="6153" y="7890"/>
                    <a:pt x="6124" y="7877"/>
                    <a:pt x="6102" y="7853"/>
                  </a:cubicBezTo>
                  <a:lnTo>
                    <a:pt x="5911" y="7644"/>
                  </a:lnTo>
                  <a:cubicBezTo>
                    <a:pt x="5874" y="7603"/>
                    <a:pt x="5814" y="7591"/>
                    <a:pt x="5764" y="7615"/>
                  </a:cubicBezTo>
                  <a:cubicBezTo>
                    <a:pt x="5645" y="7672"/>
                    <a:pt x="5519" y="7717"/>
                    <a:pt x="5392" y="7748"/>
                  </a:cubicBezTo>
                  <a:cubicBezTo>
                    <a:pt x="5337" y="7761"/>
                    <a:pt x="5298" y="7808"/>
                    <a:pt x="5296" y="7864"/>
                  </a:cubicBezTo>
                  <a:lnTo>
                    <a:pt x="5283" y="8149"/>
                  </a:lnTo>
                  <a:cubicBezTo>
                    <a:pt x="5281" y="8181"/>
                    <a:pt x="5267" y="8211"/>
                    <a:pt x="5243" y="8233"/>
                  </a:cubicBezTo>
                  <a:cubicBezTo>
                    <a:pt x="5219" y="8255"/>
                    <a:pt x="5188" y="8267"/>
                    <a:pt x="5156" y="8265"/>
                  </a:cubicBezTo>
                  <a:lnTo>
                    <a:pt x="4499" y="8235"/>
                  </a:lnTo>
                  <a:cubicBezTo>
                    <a:pt x="4433" y="8232"/>
                    <a:pt x="4381" y="8174"/>
                    <a:pt x="4383" y="8108"/>
                  </a:cubicBezTo>
                  <a:lnTo>
                    <a:pt x="4396" y="7824"/>
                  </a:lnTo>
                  <a:cubicBezTo>
                    <a:pt x="4399" y="7768"/>
                    <a:pt x="4364" y="7717"/>
                    <a:pt x="4312" y="7699"/>
                  </a:cubicBezTo>
                  <a:cubicBezTo>
                    <a:pt x="4184" y="7655"/>
                    <a:pt x="4064" y="7599"/>
                    <a:pt x="3953" y="7533"/>
                  </a:cubicBezTo>
                  <a:cubicBezTo>
                    <a:pt x="3905" y="7504"/>
                    <a:pt x="3844" y="7510"/>
                    <a:pt x="3803" y="7548"/>
                  </a:cubicBezTo>
                  <a:lnTo>
                    <a:pt x="3595" y="7739"/>
                  </a:lnTo>
                  <a:cubicBezTo>
                    <a:pt x="3545" y="7784"/>
                    <a:pt x="3468" y="7780"/>
                    <a:pt x="3423" y="7731"/>
                  </a:cubicBezTo>
                  <a:lnTo>
                    <a:pt x="2980" y="7246"/>
                  </a:lnTo>
                  <a:cubicBezTo>
                    <a:pt x="2958" y="7222"/>
                    <a:pt x="2947" y="7191"/>
                    <a:pt x="2948" y="7158"/>
                  </a:cubicBezTo>
                  <a:cubicBezTo>
                    <a:pt x="2950" y="7126"/>
                    <a:pt x="2964" y="7096"/>
                    <a:pt x="2987" y="7074"/>
                  </a:cubicBezTo>
                  <a:lnTo>
                    <a:pt x="3189" y="6891"/>
                  </a:lnTo>
                  <a:cubicBezTo>
                    <a:pt x="3230" y="6853"/>
                    <a:pt x="3241" y="6792"/>
                    <a:pt x="3216" y="6742"/>
                  </a:cubicBezTo>
                  <a:cubicBezTo>
                    <a:pt x="3156" y="6621"/>
                    <a:pt x="3108" y="6493"/>
                    <a:pt x="3075" y="6361"/>
                  </a:cubicBezTo>
                  <a:cubicBezTo>
                    <a:pt x="3061" y="6308"/>
                    <a:pt x="3014" y="6270"/>
                    <a:pt x="2959" y="6267"/>
                  </a:cubicBezTo>
                  <a:lnTo>
                    <a:pt x="2691" y="6255"/>
                  </a:lnTo>
                  <a:cubicBezTo>
                    <a:pt x="2659" y="6254"/>
                    <a:pt x="2629" y="6240"/>
                    <a:pt x="2607" y="6215"/>
                  </a:cubicBezTo>
                  <a:cubicBezTo>
                    <a:pt x="2585" y="6191"/>
                    <a:pt x="2574" y="6160"/>
                    <a:pt x="2575" y="6128"/>
                  </a:cubicBezTo>
                  <a:lnTo>
                    <a:pt x="2605" y="5472"/>
                  </a:lnTo>
                  <a:cubicBezTo>
                    <a:pt x="2607" y="5439"/>
                    <a:pt x="2621" y="5409"/>
                    <a:pt x="2645" y="5387"/>
                  </a:cubicBezTo>
                  <a:cubicBezTo>
                    <a:pt x="2669" y="5365"/>
                    <a:pt x="2700" y="5354"/>
                    <a:pt x="2732" y="5355"/>
                  </a:cubicBezTo>
                  <a:lnTo>
                    <a:pt x="2985" y="5367"/>
                  </a:lnTo>
                  <a:cubicBezTo>
                    <a:pt x="3041" y="5370"/>
                    <a:pt x="3093" y="5334"/>
                    <a:pt x="3110" y="5281"/>
                  </a:cubicBezTo>
                  <a:cubicBezTo>
                    <a:pt x="3154" y="5148"/>
                    <a:pt x="3212" y="5020"/>
                    <a:pt x="3284" y="4899"/>
                  </a:cubicBezTo>
                  <a:cubicBezTo>
                    <a:pt x="3312" y="4852"/>
                    <a:pt x="3306" y="4791"/>
                    <a:pt x="3269" y="4750"/>
                  </a:cubicBezTo>
                  <a:lnTo>
                    <a:pt x="3102" y="4567"/>
                  </a:lnTo>
                  <a:cubicBezTo>
                    <a:pt x="3080" y="4543"/>
                    <a:pt x="3069" y="4512"/>
                    <a:pt x="3070" y="4479"/>
                  </a:cubicBezTo>
                  <a:cubicBezTo>
                    <a:pt x="3072" y="4447"/>
                    <a:pt x="3086" y="4417"/>
                    <a:pt x="3109" y="4395"/>
                  </a:cubicBezTo>
                  <a:lnTo>
                    <a:pt x="3595" y="3952"/>
                  </a:lnTo>
                  <a:cubicBezTo>
                    <a:pt x="3619" y="3930"/>
                    <a:pt x="3650" y="3919"/>
                    <a:pt x="3682" y="3921"/>
                  </a:cubicBezTo>
                  <a:cubicBezTo>
                    <a:pt x="3715" y="3922"/>
                    <a:pt x="3745" y="3936"/>
                    <a:pt x="3766" y="3960"/>
                  </a:cubicBezTo>
                  <a:lnTo>
                    <a:pt x="3926" y="4135"/>
                  </a:lnTo>
                  <a:cubicBezTo>
                    <a:pt x="3964" y="4177"/>
                    <a:pt x="4025" y="4188"/>
                    <a:pt x="4076" y="4163"/>
                  </a:cubicBezTo>
                  <a:cubicBezTo>
                    <a:pt x="4202" y="4100"/>
                    <a:pt x="4338" y="4050"/>
                    <a:pt x="4479" y="4015"/>
                  </a:cubicBezTo>
                  <a:cubicBezTo>
                    <a:pt x="4533" y="4002"/>
                    <a:pt x="4572" y="3954"/>
                    <a:pt x="4575" y="3899"/>
                  </a:cubicBezTo>
                  <a:lnTo>
                    <a:pt x="4585" y="3664"/>
                  </a:lnTo>
                  <a:cubicBezTo>
                    <a:pt x="4586" y="3648"/>
                    <a:pt x="4590" y="3633"/>
                    <a:pt x="4597" y="3619"/>
                  </a:cubicBezTo>
                  <a:cubicBezTo>
                    <a:pt x="4998" y="4080"/>
                    <a:pt x="5589" y="4372"/>
                    <a:pt x="6247" y="4372"/>
                  </a:cubicBezTo>
                  <a:cubicBezTo>
                    <a:pt x="6383" y="4372"/>
                    <a:pt x="6517" y="4360"/>
                    <a:pt x="6646" y="4336"/>
                  </a:cubicBezTo>
                  <a:cubicBezTo>
                    <a:pt x="6655" y="4334"/>
                    <a:pt x="6664" y="4333"/>
                    <a:pt x="6673" y="4331"/>
                  </a:cubicBezTo>
                  <a:lnTo>
                    <a:pt x="6888" y="4567"/>
                  </a:lnTo>
                  <a:cubicBezTo>
                    <a:pt x="6933" y="4616"/>
                    <a:pt x="6930" y="4694"/>
                    <a:pt x="6880" y="4739"/>
                  </a:cubicBezTo>
                  <a:lnTo>
                    <a:pt x="6697" y="4906"/>
                  </a:lnTo>
                  <a:cubicBezTo>
                    <a:pt x="6656" y="4943"/>
                    <a:pt x="6645" y="5003"/>
                    <a:pt x="6669" y="5053"/>
                  </a:cubicBezTo>
                  <a:cubicBezTo>
                    <a:pt x="6729" y="5178"/>
                    <a:pt x="6775" y="5311"/>
                    <a:pt x="6807" y="5449"/>
                  </a:cubicBezTo>
                  <a:cubicBezTo>
                    <a:pt x="6820" y="5504"/>
                    <a:pt x="6867" y="5544"/>
                    <a:pt x="6924" y="5547"/>
                  </a:cubicBezTo>
                  <a:lnTo>
                    <a:pt x="7177" y="5558"/>
                  </a:lnTo>
                  <a:close/>
                  <a:moveTo>
                    <a:pt x="7177" y="555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83">
              <a:extLst>
                <a:ext uri="{FF2B5EF4-FFF2-40B4-BE49-F238E27FC236}">
                  <a16:creationId xmlns:a16="http://schemas.microsoft.com/office/drawing/2014/main" id="{B77AE825-FDEB-4E71-972C-9F8DC60B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4" y="3538"/>
              <a:ext cx="50" cy="50"/>
            </a:xfrm>
            <a:custGeom>
              <a:avLst/>
              <a:gdLst>
                <a:gd name="T0" fmla="*/ 287 w 1507"/>
                <a:gd name="T1" fmla="*/ 174 h 1506"/>
                <a:gd name="T2" fmla="*/ 281 w 1507"/>
                <a:gd name="T3" fmla="*/ 179 h 1506"/>
                <a:gd name="T4" fmla="*/ 273 w 1507"/>
                <a:gd name="T5" fmla="*/ 186 h 1506"/>
                <a:gd name="T6" fmla="*/ 253 w 1507"/>
                <a:gd name="T7" fmla="*/ 204 h 1506"/>
                <a:gd name="T8" fmla="*/ 226 w 1507"/>
                <a:gd name="T9" fmla="*/ 230 h 1506"/>
                <a:gd name="T10" fmla="*/ 218 w 1507"/>
                <a:gd name="T11" fmla="*/ 237 h 1506"/>
                <a:gd name="T12" fmla="*/ 200 w 1507"/>
                <a:gd name="T13" fmla="*/ 257 h 1506"/>
                <a:gd name="T14" fmla="*/ 179 w 1507"/>
                <a:gd name="T15" fmla="*/ 281 h 1506"/>
                <a:gd name="T16" fmla="*/ 176 w 1507"/>
                <a:gd name="T17" fmla="*/ 285 h 1506"/>
                <a:gd name="T18" fmla="*/ 156 w 1507"/>
                <a:gd name="T19" fmla="*/ 311 h 1506"/>
                <a:gd name="T20" fmla="*/ 154 w 1507"/>
                <a:gd name="T21" fmla="*/ 314 h 1506"/>
                <a:gd name="T22" fmla="*/ 137 w 1507"/>
                <a:gd name="T23" fmla="*/ 337 h 1506"/>
                <a:gd name="T24" fmla="*/ 133 w 1507"/>
                <a:gd name="T25" fmla="*/ 344 h 1506"/>
                <a:gd name="T26" fmla="*/ 118 w 1507"/>
                <a:gd name="T27" fmla="*/ 366 h 1506"/>
                <a:gd name="T28" fmla="*/ 113 w 1507"/>
                <a:gd name="T29" fmla="*/ 375 h 1506"/>
                <a:gd name="T30" fmla="*/ 42 w 1507"/>
                <a:gd name="T31" fmla="*/ 535 h 1506"/>
                <a:gd name="T32" fmla="*/ 40 w 1507"/>
                <a:gd name="T33" fmla="*/ 541 h 1506"/>
                <a:gd name="T34" fmla="*/ 16 w 1507"/>
                <a:gd name="T35" fmla="*/ 648 h 1506"/>
                <a:gd name="T36" fmla="*/ 16 w 1507"/>
                <a:gd name="T37" fmla="*/ 649 h 1506"/>
                <a:gd name="T38" fmla="*/ 14 w 1507"/>
                <a:gd name="T39" fmla="*/ 665 h 1506"/>
                <a:gd name="T40" fmla="*/ 9 w 1507"/>
                <a:gd name="T41" fmla="*/ 723 h 1506"/>
                <a:gd name="T42" fmla="*/ 204 w 1507"/>
                <a:gd name="T43" fmla="*/ 1262 h 1506"/>
                <a:gd name="T44" fmla="*/ 759 w 1507"/>
                <a:gd name="T45" fmla="*/ 1506 h 1506"/>
                <a:gd name="T46" fmla="*/ 1263 w 1507"/>
                <a:gd name="T47" fmla="*/ 1311 h 1506"/>
                <a:gd name="T48" fmla="*/ 1291 w 1507"/>
                <a:gd name="T49" fmla="*/ 1284 h 1506"/>
                <a:gd name="T50" fmla="*/ 1507 w 1507"/>
                <a:gd name="T51" fmla="*/ 755 h 1506"/>
                <a:gd name="T52" fmla="*/ 1402 w 1507"/>
                <a:gd name="T53" fmla="*/ 374 h 1506"/>
                <a:gd name="T54" fmla="*/ 1311 w 1507"/>
                <a:gd name="T55" fmla="*/ 252 h 1506"/>
                <a:gd name="T56" fmla="*/ 792 w 1507"/>
                <a:gd name="T57" fmla="*/ 9 h 1506"/>
                <a:gd name="T58" fmla="*/ 287 w 1507"/>
                <a:gd name="T59" fmla="*/ 174 h 1506"/>
                <a:gd name="T60" fmla="*/ 1126 w 1507"/>
                <a:gd name="T61" fmla="*/ 421 h 1506"/>
                <a:gd name="T62" fmla="*/ 1094 w 1507"/>
                <a:gd name="T63" fmla="*/ 1125 h 1506"/>
                <a:gd name="T64" fmla="*/ 390 w 1507"/>
                <a:gd name="T65" fmla="*/ 1093 h 1506"/>
                <a:gd name="T66" fmla="*/ 261 w 1507"/>
                <a:gd name="T67" fmla="*/ 784 h 1506"/>
                <a:gd name="T68" fmla="*/ 260 w 1507"/>
                <a:gd name="T69" fmla="*/ 735 h 1506"/>
                <a:gd name="T70" fmla="*/ 422 w 1507"/>
                <a:gd name="T71" fmla="*/ 390 h 1506"/>
                <a:gd name="T72" fmla="*/ 422 w 1507"/>
                <a:gd name="T73" fmla="*/ 390 h 1506"/>
                <a:gd name="T74" fmla="*/ 758 w 1507"/>
                <a:gd name="T75" fmla="*/ 259 h 1506"/>
                <a:gd name="T76" fmla="*/ 781 w 1507"/>
                <a:gd name="T77" fmla="*/ 260 h 1506"/>
                <a:gd name="T78" fmla="*/ 1126 w 1507"/>
                <a:gd name="T79" fmla="*/ 421 h 1506"/>
                <a:gd name="T80" fmla="*/ 1126 w 1507"/>
                <a:gd name="T81" fmla="*/ 421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7" h="1506">
                  <a:moveTo>
                    <a:pt x="287" y="174"/>
                  </a:moveTo>
                  <a:cubicBezTo>
                    <a:pt x="285" y="176"/>
                    <a:pt x="283" y="178"/>
                    <a:pt x="281" y="179"/>
                  </a:cubicBezTo>
                  <a:cubicBezTo>
                    <a:pt x="278" y="182"/>
                    <a:pt x="276" y="184"/>
                    <a:pt x="273" y="186"/>
                  </a:cubicBezTo>
                  <a:cubicBezTo>
                    <a:pt x="266" y="192"/>
                    <a:pt x="260" y="198"/>
                    <a:pt x="253" y="204"/>
                  </a:cubicBezTo>
                  <a:cubicBezTo>
                    <a:pt x="244" y="212"/>
                    <a:pt x="235" y="221"/>
                    <a:pt x="226" y="230"/>
                  </a:cubicBezTo>
                  <a:cubicBezTo>
                    <a:pt x="223" y="232"/>
                    <a:pt x="221" y="235"/>
                    <a:pt x="218" y="237"/>
                  </a:cubicBezTo>
                  <a:cubicBezTo>
                    <a:pt x="212" y="244"/>
                    <a:pt x="206" y="250"/>
                    <a:pt x="200" y="257"/>
                  </a:cubicBezTo>
                  <a:cubicBezTo>
                    <a:pt x="193" y="265"/>
                    <a:pt x="186" y="273"/>
                    <a:pt x="179" y="281"/>
                  </a:cubicBezTo>
                  <a:cubicBezTo>
                    <a:pt x="178" y="282"/>
                    <a:pt x="177" y="283"/>
                    <a:pt x="176" y="285"/>
                  </a:cubicBezTo>
                  <a:cubicBezTo>
                    <a:pt x="169" y="293"/>
                    <a:pt x="162" y="302"/>
                    <a:pt x="156" y="311"/>
                  </a:cubicBezTo>
                  <a:cubicBezTo>
                    <a:pt x="155" y="312"/>
                    <a:pt x="154" y="313"/>
                    <a:pt x="154" y="314"/>
                  </a:cubicBezTo>
                  <a:cubicBezTo>
                    <a:pt x="148" y="322"/>
                    <a:pt x="143" y="329"/>
                    <a:pt x="137" y="337"/>
                  </a:cubicBezTo>
                  <a:cubicBezTo>
                    <a:pt x="136" y="339"/>
                    <a:pt x="134" y="342"/>
                    <a:pt x="133" y="344"/>
                  </a:cubicBezTo>
                  <a:cubicBezTo>
                    <a:pt x="128" y="351"/>
                    <a:pt x="123" y="359"/>
                    <a:pt x="118" y="366"/>
                  </a:cubicBezTo>
                  <a:cubicBezTo>
                    <a:pt x="117" y="369"/>
                    <a:pt x="115" y="372"/>
                    <a:pt x="113" y="375"/>
                  </a:cubicBezTo>
                  <a:cubicBezTo>
                    <a:pt x="83" y="425"/>
                    <a:pt x="59" y="479"/>
                    <a:pt x="42" y="535"/>
                  </a:cubicBezTo>
                  <a:cubicBezTo>
                    <a:pt x="41" y="537"/>
                    <a:pt x="41" y="539"/>
                    <a:pt x="40" y="541"/>
                  </a:cubicBezTo>
                  <a:cubicBezTo>
                    <a:pt x="30" y="576"/>
                    <a:pt x="22" y="612"/>
                    <a:pt x="16" y="648"/>
                  </a:cubicBezTo>
                  <a:cubicBezTo>
                    <a:pt x="16" y="648"/>
                    <a:pt x="16" y="649"/>
                    <a:pt x="16" y="649"/>
                  </a:cubicBezTo>
                  <a:cubicBezTo>
                    <a:pt x="15" y="654"/>
                    <a:pt x="15" y="660"/>
                    <a:pt x="14" y="665"/>
                  </a:cubicBezTo>
                  <a:cubicBezTo>
                    <a:pt x="12" y="684"/>
                    <a:pt x="10" y="704"/>
                    <a:pt x="9" y="723"/>
                  </a:cubicBezTo>
                  <a:cubicBezTo>
                    <a:pt x="0" y="923"/>
                    <a:pt x="69" y="1115"/>
                    <a:pt x="204" y="1262"/>
                  </a:cubicBezTo>
                  <a:cubicBezTo>
                    <a:pt x="352" y="1424"/>
                    <a:pt x="555" y="1506"/>
                    <a:pt x="759" y="1506"/>
                  </a:cubicBezTo>
                  <a:cubicBezTo>
                    <a:pt x="939" y="1506"/>
                    <a:pt x="1120" y="1442"/>
                    <a:pt x="1263" y="1311"/>
                  </a:cubicBezTo>
                  <a:cubicBezTo>
                    <a:pt x="1273" y="1302"/>
                    <a:pt x="1282" y="1293"/>
                    <a:pt x="1291" y="1284"/>
                  </a:cubicBezTo>
                  <a:cubicBezTo>
                    <a:pt x="1435" y="1139"/>
                    <a:pt x="1507" y="947"/>
                    <a:pt x="1507" y="755"/>
                  </a:cubicBezTo>
                  <a:cubicBezTo>
                    <a:pt x="1507" y="623"/>
                    <a:pt x="1472" y="491"/>
                    <a:pt x="1402" y="374"/>
                  </a:cubicBezTo>
                  <a:cubicBezTo>
                    <a:pt x="1376" y="331"/>
                    <a:pt x="1346" y="290"/>
                    <a:pt x="1311" y="252"/>
                  </a:cubicBezTo>
                  <a:cubicBezTo>
                    <a:pt x="1176" y="104"/>
                    <a:pt x="992" y="18"/>
                    <a:pt x="792" y="9"/>
                  </a:cubicBezTo>
                  <a:cubicBezTo>
                    <a:pt x="607" y="0"/>
                    <a:pt x="430" y="59"/>
                    <a:pt x="287" y="174"/>
                  </a:cubicBezTo>
                  <a:close/>
                  <a:moveTo>
                    <a:pt x="1126" y="421"/>
                  </a:moveTo>
                  <a:cubicBezTo>
                    <a:pt x="1311" y="624"/>
                    <a:pt x="1297" y="940"/>
                    <a:pt x="1094" y="1125"/>
                  </a:cubicBezTo>
                  <a:cubicBezTo>
                    <a:pt x="891" y="1310"/>
                    <a:pt x="575" y="1296"/>
                    <a:pt x="390" y="1093"/>
                  </a:cubicBezTo>
                  <a:cubicBezTo>
                    <a:pt x="312" y="1007"/>
                    <a:pt x="267" y="899"/>
                    <a:pt x="261" y="784"/>
                  </a:cubicBezTo>
                  <a:cubicBezTo>
                    <a:pt x="260" y="768"/>
                    <a:pt x="260" y="751"/>
                    <a:pt x="260" y="735"/>
                  </a:cubicBezTo>
                  <a:cubicBezTo>
                    <a:pt x="266" y="602"/>
                    <a:pt x="324" y="479"/>
                    <a:pt x="422" y="390"/>
                  </a:cubicBezTo>
                  <a:cubicBezTo>
                    <a:pt x="422" y="390"/>
                    <a:pt x="422" y="390"/>
                    <a:pt x="422" y="390"/>
                  </a:cubicBezTo>
                  <a:cubicBezTo>
                    <a:pt x="515" y="305"/>
                    <a:pt x="633" y="259"/>
                    <a:pt x="758" y="259"/>
                  </a:cubicBezTo>
                  <a:cubicBezTo>
                    <a:pt x="765" y="259"/>
                    <a:pt x="773" y="259"/>
                    <a:pt x="781" y="260"/>
                  </a:cubicBezTo>
                  <a:cubicBezTo>
                    <a:pt x="914" y="266"/>
                    <a:pt x="1036" y="323"/>
                    <a:pt x="1126" y="421"/>
                  </a:cubicBezTo>
                  <a:close/>
                  <a:moveTo>
                    <a:pt x="1126" y="42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384">
              <a:extLst>
                <a:ext uri="{FF2B5EF4-FFF2-40B4-BE49-F238E27FC236}">
                  <a16:creationId xmlns:a16="http://schemas.microsoft.com/office/drawing/2014/main" id="{487DC5E1-F421-4FD3-8317-E5DCCBEBE1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10" y="3388"/>
              <a:ext cx="105" cy="105"/>
            </a:xfrm>
            <a:custGeom>
              <a:avLst/>
              <a:gdLst>
                <a:gd name="T0" fmla="*/ 1583 w 3166"/>
                <a:gd name="T1" fmla="*/ 0 h 3166"/>
                <a:gd name="T2" fmla="*/ 0 w 3166"/>
                <a:gd name="T3" fmla="*/ 1583 h 3166"/>
                <a:gd name="T4" fmla="*/ 1583 w 3166"/>
                <a:gd name="T5" fmla="*/ 3166 h 3166"/>
                <a:gd name="T6" fmla="*/ 3166 w 3166"/>
                <a:gd name="T7" fmla="*/ 1583 h 3166"/>
                <a:gd name="T8" fmla="*/ 1583 w 3166"/>
                <a:gd name="T9" fmla="*/ 0 h 3166"/>
                <a:gd name="T10" fmla="*/ 2855 w 3166"/>
                <a:gd name="T11" fmla="*/ 1709 h 3166"/>
                <a:gd name="T12" fmla="*/ 2908 w 3166"/>
                <a:gd name="T13" fmla="*/ 1709 h 3166"/>
                <a:gd name="T14" fmla="*/ 1709 w 3166"/>
                <a:gd name="T15" fmla="*/ 2909 h 3166"/>
                <a:gd name="T16" fmla="*/ 1709 w 3166"/>
                <a:gd name="T17" fmla="*/ 2855 h 3166"/>
                <a:gd name="T18" fmla="*/ 1583 w 3166"/>
                <a:gd name="T19" fmla="*/ 2729 h 3166"/>
                <a:gd name="T20" fmla="*/ 1457 w 3166"/>
                <a:gd name="T21" fmla="*/ 2855 h 3166"/>
                <a:gd name="T22" fmla="*/ 1457 w 3166"/>
                <a:gd name="T23" fmla="*/ 2909 h 3166"/>
                <a:gd name="T24" fmla="*/ 258 w 3166"/>
                <a:gd name="T25" fmla="*/ 1709 h 3166"/>
                <a:gd name="T26" fmla="*/ 311 w 3166"/>
                <a:gd name="T27" fmla="*/ 1709 h 3166"/>
                <a:gd name="T28" fmla="*/ 437 w 3166"/>
                <a:gd name="T29" fmla="*/ 1583 h 3166"/>
                <a:gd name="T30" fmla="*/ 311 w 3166"/>
                <a:gd name="T31" fmla="*/ 1458 h 3166"/>
                <a:gd name="T32" fmla="*/ 258 w 3166"/>
                <a:gd name="T33" fmla="*/ 1458 h 3166"/>
                <a:gd name="T34" fmla="*/ 1457 w 3166"/>
                <a:gd name="T35" fmla="*/ 258 h 3166"/>
                <a:gd name="T36" fmla="*/ 1457 w 3166"/>
                <a:gd name="T37" fmla="*/ 312 h 3166"/>
                <a:gd name="T38" fmla="*/ 1583 w 3166"/>
                <a:gd name="T39" fmla="*/ 437 h 3166"/>
                <a:gd name="T40" fmla="*/ 1709 w 3166"/>
                <a:gd name="T41" fmla="*/ 312 h 3166"/>
                <a:gd name="T42" fmla="*/ 1709 w 3166"/>
                <a:gd name="T43" fmla="*/ 258 h 3166"/>
                <a:gd name="T44" fmla="*/ 2908 w 3166"/>
                <a:gd name="T45" fmla="*/ 1458 h 3166"/>
                <a:gd name="T46" fmla="*/ 2855 w 3166"/>
                <a:gd name="T47" fmla="*/ 1458 h 3166"/>
                <a:gd name="T48" fmla="*/ 2729 w 3166"/>
                <a:gd name="T49" fmla="*/ 1583 h 3166"/>
                <a:gd name="T50" fmla="*/ 2855 w 3166"/>
                <a:gd name="T51" fmla="*/ 1709 h 3166"/>
                <a:gd name="T52" fmla="*/ 2855 w 3166"/>
                <a:gd name="T53" fmla="*/ 1709 h 3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66" h="3166">
                  <a:moveTo>
                    <a:pt x="1583" y="0"/>
                  </a:moveTo>
                  <a:cubicBezTo>
                    <a:pt x="710" y="0"/>
                    <a:pt x="0" y="711"/>
                    <a:pt x="0" y="1583"/>
                  </a:cubicBezTo>
                  <a:cubicBezTo>
                    <a:pt x="0" y="2456"/>
                    <a:pt x="710" y="3166"/>
                    <a:pt x="1583" y="3166"/>
                  </a:cubicBezTo>
                  <a:cubicBezTo>
                    <a:pt x="2456" y="3166"/>
                    <a:pt x="3166" y="2456"/>
                    <a:pt x="3166" y="1583"/>
                  </a:cubicBezTo>
                  <a:cubicBezTo>
                    <a:pt x="3166" y="711"/>
                    <a:pt x="2456" y="0"/>
                    <a:pt x="1583" y="0"/>
                  </a:cubicBezTo>
                  <a:close/>
                  <a:moveTo>
                    <a:pt x="2855" y="1709"/>
                  </a:moveTo>
                  <a:lnTo>
                    <a:pt x="2908" y="1709"/>
                  </a:lnTo>
                  <a:cubicBezTo>
                    <a:pt x="2848" y="2343"/>
                    <a:pt x="2343" y="2849"/>
                    <a:pt x="1709" y="2909"/>
                  </a:cubicBezTo>
                  <a:lnTo>
                    <a:pt x="1709" y="2855"/>
                  </a:lnTo>
                  <a:cubicBezTo>
                    <a:pt x="1709" y="2786"/>
                    <a:pt x="1652" y="2729"/>
                    <a:pt x="1583" y="2729"/>
                  </a:cubicBezTo>
                  <a:cubicBezTo>
                    <a:pt x="1513" y="2729"/>
                    <a:pt x="1457" y="2786"/>
                    <a:pt x="1457" y="2855"/>
                  </a:cubicBezTo>
                  <a:lnTo>
                    <a:pt x="1457" y="2909"/>
                  </a:lnTo>
                  <a:cubicBezTo>
                    <a:pt x="823" y="2849"/>
                    <a:pt x="317" y="2343"/>
                    <a:pt x="258" y="1709"/>
                  </a:cubicBezTo>
                  <a:lnTo>
                    <a:pt x="311" y="1709"/>
                  </a:lnTo>
                  <a:cubicBezTo>
                    <a:pt x="381" y="1709"/>
                    <a:pt x="437" y="1653"/>
                    <a:pt x="437" y="1583"/>
                  </a:cubicBezTo>
                  <a:cubicBezTo>
                    <a:pt x="437" y="1514"/>
                    <a:pt x="381" y="1458"/>
                    <a:pt x="311" y="1458"/>
                  </a:cubicBezTo>
                  <a:lnTo>
                    <a:pt x="258" y="1458"/>
                  </a:lnTo>
                  <a:cubicBezTo>
                    <a:pt x="317" y="824"/>
                    <a:pt x="823" y="317"/>
                    <a:pt x="1457" y="258"/>
                  </a:cubicBezTo>
                  <a:lnTo>
                    <a:pt x="1457" y="312"/>
                  </a:lnTo>
                  <a:cubicBezTo>
                    <a:pt x="1457" y="381"/>
                    <a:pt x="1513" y="437"/>
                    <a:pt x="1583" y="437"/>
                  </a:cubicBezTo>
                  <a:cubicBezTo>
                    <a:pt x="1652" y="437"/>
                    <a:pt x="1709" y="381"/>
                    <a:pt x="1709" y="312"/>
                  </a:cubicBezTo>
                  <a:lnTo>
                    <a:pt x="1709" y="258"/>
                  </a:lnTo>
                  <a:cubicBezTo>
                    <a:pt x="2343" y="317"/>
                    <a:pt x="2848" y="824"/>
                    <a:pt x="2908" y="1458"/>
                  </a:cubicBezTo>
                  <a:lnTo>
                    <a:pt x="2855" y="1458"/>
                  </a:lnTo>
                  <a:cubicBezTo>
                    <a:pt x="2785" y="1458"/>
                    <a:pt x="2729" y="1514"/>
                    <a:pt x="2729" y="1583"/>
                  </a:cubicBezTo>
                  <a:cubicBezTo>
                    <a:pt x="2729" y="1653"/>
                    <a:pt x="2785" y="1709"/>
                    <a:pt x="2855" y="1709"/>
                  </a:cubicBezTo>
                  <a:close/>
                  <a:moveTo>
                    <a:pt x="2855" y="170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385">
              <a:extLst>
                <a:ext uri="{FF2B5EF4-FFF2-40B4-BE49-F238E27FC236}">
                  <a16:creationId xmlns:a16="http://schemas.microsoft.com/office/drawing/2014/main" id="{79EECC28-BB6D-459D-BFCB-7C6882A818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4" y="3416"/>
              <a:ext cx="23" cy="36"/>
            </a:xfrm>
            <a:custGeom>
              <a:avLst/>
              <a:gdLst>
                <a:gd name="T0" fmla="*/ 543 w 669"/>
                <a:gd name="T1" fmla="*/ 0 h 1086"/>
                <a:gd name="T2" fmla="*/ 417 w 669"/>
                <a:gd name="T3" fmla="*/ 125 h 1086"/>
                <a:gd name="T4" fmla="*/ 417 w 669"/>
                <a:gd name="T5" fmla="*/ 834 h 1086"/>
                <a:gd name="T6" fmla="*/ 126 w 669"/>
                <a:gd name="T7" fmla="*/ 834 h 1086"/>
                <a:gd name="T8" fmla="*/ 0 w 669"/>
                <a:gd name="T9" fmla="*/ 960 h 1086"/>
                <a:gd name="T10" fmla="*/ 126 w 669"/>
                <a:gd name="T11" fmla="*/ 1086 h 1086"/>
                <a:gd name="T12" fmla="*/ 543 w 669"/>
                <a:gd name="T13" fmla="*/ 1086 h 1086"/>
                <a:gd name="T14" fmla="*/ 669 w 669"/>
                <a:gd name="T15" fmla="*/ 960 h 1086"/>
                <a:gd name="T16" fmla="*/ 669 w 669"/>
                <a:gd name="T17" fmla="*/ 125 h 1086"/>
                <a:gd name="T18" fmla="*/ 543 w 669"/>
                <a:gd name="T19" fmla="*/ 0 h 1086"/>
                <a:gd name="T20" fmla="*/ 543 w 669"/>
                <a:gd name="T21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9" h="1086">
                  <a:moveTo>
                    <a:pt x="543" y="0"/>
                  </a:moveTo>
                  <a:cubicBezTo>
                    <a:pt x="473" y="0"/>
                    <a:pt x="417" y="56"/>
                    <a:pt x="417" y="125"/>
                  </a:cubicBezTo>
                  <a:lnTo>
                    <a:pt x="417" y="834"/>
                  </a:lnTo>
                  <a:lnTo>
                    <a:pt x="126" y="834"/>
                  </a:lnTo>
                  <a:cubicBezTo>
                    <a:pt x="56" y="834"/>
                    <a:pt x="0" y="891"/>
                    <a:pt x="0" y="960"/>
                  </a:cubicBezTo>
                  <a:cubicBezTo>
                    <a:pt x="0" y="1029"/>
                    <a:pt x="56" y="1086"/>
                    <a:pt x="126" y="1086"/>
                  </a:cubicBezTo>
                  <a:lnTo>
                    <a:pt x="543" y="1086"/>
                  </a:lnTo>
                  <a:cubicBezTo>
                    <a:pt x="612" y="1086"/>
                    <a:pt x="669" y="1029"/>
                    <a:pt x="669" y="960"/>
                  </a:cubicBezTo>
                  <a:lnTo>
                    <a:pt x="669" y="125"/>
                  </a:lnTo>
                  <a:cubicBezTo>
                    <a:pt x="669" y="56"/>
                    <a:pt x="612" y="0"/>
                    <a:pt x="543" y="0"/>
                  </a:cubicBezTo>
                  <a:close/>
                  <a:moveTo>
                    <a:pt x="543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" name="Group 248">
            <a:extLst>
              <a:ext uri="{FF2B5EF4-FFF2-40B4-BE49-F238E27FC236}">
                <a16:creationId xmlns:a16="http://schemas.microsoft.com/office/drawing/2014/main" id="{C7AF7A2E-16F5-412F-9AFA-DA57BD98A8E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6153" y="2142579"/>
            <a:ext cx="584897" cy="530671"/>
            <a:chOff x="1780" y="300"/>
            <a:chExt cx="4088" cy="3709"/>
          </a:xfrm>
          <a:solidFill>
            <a:schemeClr val="bg2">
              <a:lumMod val="25000"/>
            </a:schemeClr>
          </a:solidFill>
        </p:grpSpPr>
        <p:sp>
          <p:nvSpPr>
            <p:cNvPr id="34" name="Freeform 249">
              <a:extLst>
                <a:ext uri="{FF2B5EF4-FFF2-40B4-BE49-F238E27FC236}">
                  <a16:creationId xmlns:a16="http://schemas.microsoft.com/office/drawing/2014/main" id="{63E8E221-79EE-4036-8E15-B62902049F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0" y="300"/>
              <a:ext cx="4088" cy="3709"/>
            </a:xfrm>
            <a:custGeom>
              <a:avLst/>
              <a:gdLst>
                <a:gd name="T0" fmla="*/ 7231 w 8517"/>
                <a:gd name="T1" fmla="*/ 2632 h 7729"/>
                <a:gd name="T2" fmla="*/ 5932 w 8517"/>
                <a:gd name="T3" fmla="*/ 1311 h 7729"/>
                <a:gd name="T4" fmla="*/ 4661 w 8517"/>
                <a:gd name="T5" fmla="*/ 0 h 7729"/>
                <a:gd name="T6" fmla="*/ 2630 w 8517"/>
                <a:gd name="T7" fmla="*/ 1317 h 7729"/>
                <a:gd name="T8" fmla="*/ 941 w 8517"/>
                <a:gd name="T9" fmla="*/ 2243 h 7729"/>
                <a:gd name="T10" fmla="*/ 480 w 8517"/>
                <a:gd name="T11" fmla="*/ 3397 h 7729"/>
                <a:gd name="T12" fmla="*/ 1042 w 8517"/>
                <a:gd name="T13" fmla="*/ 5238 h 7729"/>
                <a:gd name="T14" fmla="*/ 1532 w 8517"/>
                <a:gd name="T15" fmla="*/ 7555 h 7729"/>
                <a:gd name="T16" fmla="*/ 2332 w 8517"/>
                <a:gd name="T17" fmla="*/ 6226 h 7729"/>
                <a:gd name="T18" fmla="*/ 2776 w 8517"/>
                <a:gd name="T19" fmla="*/ 7229 h 7729"/>
                <a:gd name="T20" fmla="*/ 3633 w 8517"/>
                <a:gd name="T21" fmla="*/ 7233 h 7729"/>
                <a:gd name="T22" fmla="*/ 4081 w 8517"/>
                <a:gd name="T23" fmla="*/ 6226 h 7729"/>
                <a:gd name="T24" fmla="*/ 4546 w 8517"/>
                <a:gd name="T25" fmla="*/ 7605 h 7729"/>
                <a:gd name="T26" fmla="*/ 4747 w 8517"/>
                <a:gd name="T27" fmla="*/ 6576 h 7729"/>
                <a:gd name="T28" fmla="*/ 5191 w 8517"/>
                <a:gd name="T29" fmla="*/ 7198 h 7729"/>
                <a:gd name="T30" fmla="*/ 5661 w 8517"/>
                <a:gd name="T31" fmla="*/ 7610 h 7729"/>
                <a:gd name="T32" fmla="*/ 6076 w 8517"/>
                <a:gd name="T33" fmla="*/ 6435 h 7729"/>
                <a:gd name="T34" fmla="*/ 6658 w 8517"/>
                <a:gd name="T35" fmla="*/ 7599 h 7729"/>
                <a:gd name="T36" fmla="*/ 7540 w 8517"/>
                <a:gd name="T37" fmla="*/ 6322 h 7729"/>
                <a:gd name="T38" fmla="*/ 8029 w 8517"/>
                <a:gd name="T39" fmla="*/ 5179 h 7729"/>
                <a:gd name="T40" fmla="*/ 3016 w 8517"/>
                <a:gd name="T41" fmla="*/ 3937 h 7729"/>
                <a:gd name="T42" fmla="*/ 3475 w 8517"/>
                <a:gd name="T43" fmla="*/ 3641 h 7729"/>
                <a:gd name="T44" fmla="*/ 3784 w 8517"/>
                <a:gd name="T45" fmla="*/ 4446 h 7729"/>
                <a:gd name="T46" fmla="*/ 2750 w 8517"/>
                <a:gd name="T47" fmla="*/ 5038 h 7729"/>
                <a:gd name="T48" fmla="*/ 2972 w 8517"/>
                <a:gd name="T49" fmla="*/ 5611 h 7729"/>
                <a:gd name="T50" fmla="*/ 3491 w 8517"/>
                <a:gd name="T51" fmla="*/ 5842 h 7729"/>
                <a:gd name="T52" fmla="*/ 3403 w 8517"/>
                <a:gd name="T53" fmla="*/ 7111 h 7729"/>
                <a:gd name="T54" fmla="*/ 5141 w 8517"/>
                <a:gd name="T55" fmla="*/ 4717 h 7729"/>
                <a:gd name="T56" fmla="*/ 6031 w 8517"/>
                <a:gd name="T57" fmla="*/ 4794 h 7729"/>
                <a:gd name="T58" fmla="*/ 5944 w 8517"/>
                <a:gd name="T59" fmla="*/ 5500 h 7729"/>
                <a:gd name="T60" fmla="*/ 5141 w 8517"/>
                <a:gd name="T61" fmla="*/ 4998 h 7729"/>
                <a:gd name="T62" fmla="*/ 5586 w 8517"/>
                <a:gd name="T63" fmla="*/ 5937 h 7729"/>
                <a:gd name="T64" fmla="*/ 5577 w 8517"/>
                <a:gd name="T65" fmla="*/ 7340 h 7729"/>
                <a:gd name="T66" fmla="*/ 8268 w 8517"/>
                <a:gd name="T67" fmla="*/ 4661 h 7729"/>
                <a:gd name="T68" fmla="*/ 7017 w 8517"/>
                <a:gd name="T69" fmla="*/ 6095 h 7729"/>
                <a:gd name="T70" fmla="*/ 6368 w 8517"/>
                <a:gd name="T71" fmla="*/ 6270 h 7729"/>
                <a:gd name="T72" fmla="*/ 6011 w 8517"/>
                <a:gd name="T73" fmla="*/ 6049 h 7729"/>
                <a:gd name="T74" fmla="*/ 6281 w 8517"/>
                <a:gd name="T75" fmla="*/ 4967 h 7729"/>
                <a:gd name="T76" fmla="*/ 4891 w 8517"/>
                <a:gd name="T77" fmla="*/ 4636 h 7729"/>
                <a:gd name="T78" fmla="*/ 5169 w 8517"/>
                <a:gd name="T79" fmla="*/ 5756 h 7729"/>
                <a:gd name="T80" fmla="*/ 4635 w 8517"/>
                <a:gd name="T81" fmla="*/ 6351 h 7729"/>
                <a:gd name="T82" fmla="*/ 3690 w 8517"/>
                <a:gd name="T83" fmla="*/ 5313 h 7729"/>
                <a:gd name="T84" fmla="*/ 4033 w 8517"/>
                <a:gd name="T85" fmla="*/ 3950 h 7729"/>
                <a:gd name="T86" fmla="*/ 2380 w 8517"/>
                <a:gd name="T87" fmla="*/ 4301 h 7729"/>
                <a:gd name="T88" fmla="*/ 2625 w 8517"/>
                <a:gd name="T89" fmla="*/ 5835 h 7729"/>
                <a:gd name="T90" fmla="*/ 1181 w 8517"/>
                <a:gd name="T91" fmla="*/ 6850 h 7729"/>
                <a:gd name="T92" fmla="*/ 1021 w 8517"/>
                <a:gd name="T93" fmla="*/ 4962 h 7729"/>
                <a:gd name="T94" fmla="*/ 1010 w 8517"/>
                <a:gd name="T95" fmla="*/ 3607 h 7729"/>
                <a:gd name="T96" fmla="*/ 1140 w 8517"/>
                <a:gd name="T97" fmla="*/ 1708 h 7729"/>
                <a:gd name="T98" fmla="*/ 3399 w 8517"/>
                <a:gd name="T99" fmla="*/ 1266 h 7729"/>
                <a:gd name="T100" fmla="*/ 4930 w 8517"/>
                <a:gd name="T101" fmla="*/ 503 h 7729"/>
                <a:gd name="T102" fmla="*/ 6484 w 8517"/>
                <a:gd name="T103" fmla="*/ 1167 h 7729"/>
                <a:gd name="T104" fmla="*/ 7006 w 8517"/>
                <a:gd name="T105" fmla="*/ 2795 h 7729"/>
                <a:gd name="T106" fmla="*/ 8268 w 8517"/>
                <a:gd name="T107" fmla="*/ 4661 h 7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17" h="7729">
                  <a:moveTo>
                    <a:pt x="8037" y="3397"/>
                  </a:moveTo>
                  <a:lnTo>
                    <a:pt x="7526" y="3358"/>
                  </a:lnTo>
                  <a:cubicBezTo>
                    <a:pt x="7509" y="3357"/>
                    <a:pt x="7495" y="3346"/>
                    <a:pt x="7491" y="3330"/>
                  </a:cubicBezTo>
                  <a:cubicBezTo>
                    <a:pt x="7426" y="3105"/>
                    <a:pt x="7337" y="2885"/>
                    <a:pt x="7226" y="2677"/>
                  </a:cubicBezTo>
                  <a:cubicBezTo>
                    <a:pt x="7218" y="2663"/>
                    <a:pt x="7220" y="2645"/>
                    <a:pt x="7231" y="2632"/>
                  </a:cubicBezTo>
                  <a:lnTo>
                    <a:pt x="7576" y="2243"/>
                  </a:lnTo>
                  <a:cubicBezTo>
                    <a:pt x="7757" y="2038"/>
                    <a:pt x="7748" y="1726"/>
                    <a:pt x="7554" y="1532"/>
                  </a:cubicBezTo>
                  <a:lnTo>
                    <a:pt x="7027" y="1004"/>
                  </a:lnTo>
                  <a:cubicBezTo>
                    <a:pt x="6836" y="814"/>
                    <a:pt x="6526" y="802"/>
                    <a:pt x="6321" y="977"/>
                  </a:cubicBezTo>
                  <a:lnTo>
                    <a:pt x="5932" y="1311"/>
                  </a:lnTo>
                  <a:cubicBezTo>
                    <a:pt x="5920" y="1322"/>
                    <a:pt x="5901" y="1324"/>
                    <a:pt x="5887" y="1316"/>
                  </a:cubicBezTo>
                  <a:cubicBezTo>
                    <a:pt x="5682" y="1202"/>
                    <a:pt x="5463" y="1110"/>
                    <a:pt x="5238" y="1042"/>
                  </a:cubicBezTo>
                  <a:cubicBezTo>
                    <a:pt x="5223" y="1037"/>
                    <a:pt x="5212" y="1022"/>
                    <a:pt x="5211" y="1006"/>
                  </a:cubicBezTo>
                  <a:lnTo>
                    <a:pt x="5179" y="488"/>
                  </a:lnTo>
                  <a:cubicBezTo>
                    <a:pt x="5162" y="214"/>
                    <a:pt x="4935" y="0"/>
                    <a:pt x="4661" y="0"/>
                  </a:cubicBezTo>
                  <a:lnTo>
                    <a:pt x="3915" y="0"/>
                  </a:lnTo>
                  <a:cubicBezTo>
                    <a:pt x="3645" y="0"/>
                    <a:pt x="3418" y="211"/>
                    <a:pt x="3397" y="480"/>
                  </a:cubicBezTo>
                  <a:lnTo>
                    <a:pt x="3358" y="991"/>
                  </a:lnTo>
                  <a:cubicBezTo>
                    <a:pt x="3357" y="1008"/>
                    <a:pt x="3346" y="1022"/>
                    <a:pt x="3330" y="1026"/>
                  </a:cubicBezTo>
                  <a:cubicBezTo>
                    <a:pt x="3087" y="1096"/>
                    <a:pt x="2851" y="1194"/>
                    <a:pt x="2630" y="1317"/>
                  </a:cubicBezTo>
                  <a:cubicBezTo>
                    <a:pt x="2616" y="1324"/>
                    <a:pt x="2598" y="1322"/>
                    <a:pt x="2585" y="1311"/>
                  </a:cubicBezTo>
                  <a:lnTo>
                    <a:pt x="2196" y="977"/>
                  </a:lnTo>
                  <a:cubicBezTo>
                    <a:pt x="1991" y="802"/>
                    <a:pt x="1682" y="814"/>
                    <a:pt x="1491" y="1004"/>
                  </a:cubicBezTo>
                  <a:lnTo>
                    <a:pt x="963" y="1532"/>
                  </a:lnTo>
                  <a:cubicBezTo>
                    <a:pt x="769" y="1726"/>
                    <a:pt x="760" y="2038"/>
                    <a:pt x="941" y="2243"/>
                  </a:cubicBezTo>
                  <a:lnTo>
                    <a:pt x="1286" y="2632"/>
                  </a:lnTo>
                  <a:cubicBezTo>
                    <a:pt x="1297" y="2645"/>
                    <a:pt x="1299" y="2663"/>
                    <a:pt x="1292" y="2677"/>
                  </a:cubicBezTo>
                  <a:cubicBezTo>
                    <a:pt x="1180" y="2885"/>
                    <a:pt x="1091" y="3105"/>
                    <a:pt x="1027" y="3330"/>
                  </a:cubicBezTo>
                  <a:cubicBezTo>
                    <a:pt x="1022" y="3346"/>
                    <a:pt x="1008" y="3357"/>
                    <a:pt x="991" y="3358"/>
                  </a:cubicBezTo>
                  <a:lnTo>
                    <a:pt x="480" y="3397"/>
                  </a:lnTo>
                  <a:cubicBezTo>
                    <a:pt x="211" y="3418"/>
                    <a:pt x="0" y="3645"/>
                    <a:pt x="0" y="3915"/>
                  </a:cubicBezTo>
                  <a:lnTo>
                    <a:pt x="0" y="4661"/>
                  </a:lnTo>
                  <a:cubicBezTo>
                    <a:pt x="0" y="4935"/>
                    <a:pt x="215" y="5163"/>
                    <a:pt x="488" y="5179"/>
                  </a:cubicBezTo>
                  <a:lnTo>
                    <a:pt x="1006" y="5211"/>
                  </a:lnTo>
                  <a:cubicBezTo>
                    <a:pt x="1023" y="5212"/>
                    <a:pt x="1037" y="5223"/>
                    <a:pt x="1042" y="5238"/>
                  </a:cubicBezTo>
                  <a:cubicBezTo>
                    <a:pt x="1110" y="5463"/>
                    <a:pt x="1203" y="5682"/>
                    <a:pt x="1316" y="5887"/>
                  </a:cubicBezTo>
                  <a:cubicBezTo>
                    <a:pt x="1324" y="5902"/>
                    <a:pt x="1322" y="5920"/>
                    <a:pt x="1311" y="5932"/>
                  </a:cubicBezTo>
                  <a:lnTo>
                    <a:pt x="977" y="6322"/>
                  </a:lnTo>
                  <a:cubicBezTo>
                    <a:pt x="802" y="6526"/>
                    <a:pt x="814" y="6836"/>
                    <a:pt x="1004" y="7027"/>
                  </a:cubicBezTo>
                  <a:lnTo>
                    <a:pt x="1532" y="7555"/>
                  </a:lnTo>
                  <a:cubicBezTo>
                    <a:pt x="1579" y="7602"/>
                    <a:pt x="1634" y="7639"/>
                    <a:pt x="1695" y="7665"/>
                  </a:cubicBezTo>
                  <a:cubicBezTo>
                    <a:pt x="1758" y="7692"/>
                    <a:pt x="1831" y="7663"/>
                    <a:pt x="1858" y="7599"/>
                  </a:cubicBezTo>
                  <a:cubicBezTo>
                    <a:pt x="1868" y="7576"/>
                    <a:pt x="1871" y="7552"/>
                    <a:pt x="1867" y="7529"/>
                  </a:cubicBezTo>
                  <a:lnTo>
                    <a:pt x="1867" y="6875"/>
                  </a:lnTo>
                  <a:cubicBezTo>
                    <a:pt x="1867" y="6580"/>
                    <a:pt x="2054" y="6319"/>
                    <a:pt x="2332" y="6226"/>
                  </a:cubicBezTo>
                  <a:lnTo>
                    <a:pt x="2594" y="6137"/>
                  </a:lnTo>
                  <a:cubicBezTo>
                    <a:pt x="2645" y="6121"/>
                    <a:pt x="2692" y="6097"/>
                    <a:pt x="2735" y="6067"/>
                  </a:cubicBezTo>
                  <a:cubicBezTo>
                    <a:pt x="2830" y="6096"/>
                    <a:pt x="2928" y="6116"/>
                    <a:pt x="3027" y="6126"/>
                  </a:cubicBezTo>
                  <a:lnTo>
                    <a:pt x="2749" y="7111"/>
                  </a:lnTo>
                  <a:cubicBezTo>
                    <a:pt x="2737" y="7152"/>
                    <a:pt x="2747" y="7197"/>
                    <a:pt x="2776" y="7229"/>
                  </a:cubicBezTo>
                  <a:lnTo>
                    <a:pt x="3097" y="7586"/>
                  </a:lnTo>
                  <a:cubicBezTo>
                    <a:pt x="3120" y="7612"/>
                    <a:pt x="3152" y="7627"/>
                    <a:pt x="3186" y="7628"/>
                  </a:cubicBezTo>
                  <a:lnTo>
                    <a:pt x="3190" y="7628"/>
                  </a:lnTo>
                  <a:cubicBezTo>
                    <a:pt x="3223" y="7628"/>
                    <a:pt x="3255" y="7615"/>
                    <a:pt x="3278" y="7591"/>
                  </a:cubicBezTo>
                  <a:lnTo>
                    <a:pt x="3633" y="7233"/>
                  </a:lnTo>
                  <a:cubicBezTo>
                    <a:pt x="3666" y="7200"/>
                    <a:pt x="3677" y="7152"/>
                    <a:pt x="3664" y="7108"/>
                  </a:cubicBezTo>
                  <a:lnTo>
                    <a:pt x="3355" y="6122"/>
                  </a:lnTo>
                  <a:cubicBezTo>
                    <a:pt x="3458" y="6109"/>
                    <a:pt x="3560" y="6086"/>
                    <a:pt x="3658" y="6052"/>
                  </a:cubicBezTo>
                  <a:cubicBezTo>
                    <a:pt x="3707" y="6089"/>
                    <a:pt x="3761" y="6118"/>
                    <a:pt x="3819" y="6137"/>
                  </a:cubicBezTo>
                  <a:lnTo>
                    <a:pt x="4081" y="6226"/>
                  </a:lnTo>
                  <a:cubicBezTo>
                    <a:pt x="4259" y="6286"/>
                    <a:pt x="4406" y="6418"/>
                    <a:pt x="4484" y="6589"/>
                  </a:cubicBezTo>
                  <a:cubicBezTo>
                    <a:pt x="4524" y="6676"/>
                    <a:pt x="4545" y="6768"/>
                    <a:pt x="4546" y="6862"/>
                  </a:cubicBezTo>
                  <a:cubicBezTo>
                    <a:pt x="4546" y="6865"/>
                    <a:pt x="4546" y="6867"/>
                    <a:pt x="4546" y="6869"/>
                  </a:cubicBezTo>
                  <a:cubicBezTo>
                    <a:pt x="4546" y="6871"/>
                    <a:pt x="4546" y="6873"/>
                    <a:pt x="4546" y="6875"/>
                  </a:cubicBezTo>
                  <a:lnTo>
                    <a:pt x="4546" y="7605"/>
                  </a:lnTo>
                  <a:cubicBezTo>
                    <a:pt x="4546" y="7673"/>
                    <a:pt x="4602" y="7729"/>
                    <a:pt x="4671" y="7729"/>
                  </a:cubicBezTo>
                  <a:cubicBezTo>
                    <a:pt x="4740" y="7729"/>
                    <a:pt x="4796" y="7673"/>
                    <a:pt x="4796" y="7605"/>
                  </a:cubicBezTo>
                  <a:lnTo>
                    <a:pt x="4796" y="6875"/>
                  </a:lnTo>
                  <a:cubicBezTo>
                    <a:pt x="4796" y="6868"/>
                    <a:pt x="4796" y="6862"/>
                    <a:pt x="4796" y="6856"/>
                  </a:cubicBezTo>
                  <a:cubicBezTo>
                    <a:pt x="4794" y="6760"/>
                    <a:pt x="4777" y="6666"/>
                    <a:pt x="4747" y="6576"/>
                  </a:cubicBezTo>
                  <a:cubicBezTo>
                    <a:pt x="4788" y="6547"/>
                    <a:pt x="4834" y="6523"/>
                    <a:pt x="4883" y="6507"/>
                  </a:cubicBezTo>
                  <a:lnTo>
                    <a:pt x="5096" y="6435"/>
                  </a:lnTo>
                  <a:cubicBezTo>
                    <a:pt x="5136" y="6422"/>
                    <a:pt x="5173" y="6404"/>
                    <a:pt x="5207" y="6381"/>
                  </a:cubicBezTo>
                  <a:cubicBezTo>
                    <a:pt x="5274" y="6401"/>
                    <a:pt x="5341" y="6415"/>
                    <a:pt x="5410" y="6424"/>
                  </a:cubicBezTo>
                  <a:lnTo>
                    <a:pt x="5191" y="7198"/>
                  </a:lnTo>
                  <a:cubicBezTo>
                    <a:pt x="5180" y="7239"/>
                    <a:pt x="5190" y="7283"/>
                    <a:pt x="5218" y="7315"/>
                  </a:cubicBezTo>
                  <a:lnTo>
                    <a:pt x="5479" y="7606"/>
                  </a:lnTo>
                  <a:cubicBezTo>
                    <a:pt x="5502" y="7631"/>
                    <a:pt x="5535" y="7646"/>
                    <a:pt x="5569" y="7647"/>
                  </a:cubicBezTo>
                  <a:cubicBezTo>
                    <a:pt x="5570" y="7647"/>
                    <a:pt x="5571" y="7647"/>
                    <a:pt x="5572" y="7647"/>
                  </a:cubicBezTo>
                  <a:cubicBezTo>
                    <a:pt x="5605" y="7647"/>
                    <a:pt x="5637" y="7634"/>
                    <a:pt x="5661" y="7610"/>
                  </a:cubicBezTo>
                  <a:lnTo>
                    <a:pt x="5949" y="7319"/>
                  </a:lnTo>
                  <a:cubicBezTo>
                    <a:pt x="5982" y="7286"/>
                    <a:pt x="5993" y="7238"/>
                    <a:pt x="5979" y="7194"/>
                  </a:cubicBezTo>
                  <a:lnTo>
                    <a:pt x="5737" y="6420"/>
                  </a:lnTo>
                  <a:cubicBezTo>
                    <a:pt x="5809" y="6409"/>
                    <a:pt x="5879" y="6393"/>
                    <a:pt x="5949" y="6369"/>
                  </a:cubicBezTo>
                  <a:cubicBezTo>
                    <a:pt x="5987" y="6398"/>
                    <a:pt x="6030" y="6420"/>
                    <a:pt x="6076" y="6435"/>
                  </a:cubicBezTo>
                  <a:lnTo>
                    <a:pt x="6288" y="6507"/>
                  </a:lnTo>
                  <a:cubicBezTo>
                    <a:pt x="6505" y="6580"/>
                    <a:pt x="6651" y="6783"/>
                    <a:pt x="6651" y="7012"/>
                  </a:cubicBezTo>
                  <a:lnTo>
                    <a:pt x="6651" y="7522"/>
                  </a:lnTo>
                  <a:cubicBezTo>
                    <a:pt x="6651" y="7523"/>
                    <a:pt x="6651" y="7523"/>
                    <a:pt x="6651" y="7524"/>
                  </a:cubicBezTo>
                  <a:cubicBezTo>
                    <a:pt x="6645" y="7548"/>
                    <a:pt x="6647" y="7574"/>
                    <a:pt x="6658" y="7599"/>
                  </a:cubicBezTo>
                  <a:cubicBezTo>
                    <a:pt x="6678" y="7647"/>
                    <a:pt x="6724" y="7675"/>
                    <a:pt x="6773" y="7675"/>
                  </a:cubicBezTo>
                  <a:cubicBezTo>
                    <a:pt x="6789" y="7675"/>
                    <a:pt x="6805" y="7672"/>
                    <a:pt x="6821" y="7665"/>
                  </a:cubicBezTo>
                  <a:cubicBezTo>
                    <a:pt x="6883" y="7639"/>
                    <a:pt x="6938" y="7602"/>
                    <a:pt x="6985" y="7555"/>
                  </a:cubicBezTo>
                  <a:lnTo>
                    <a:pt x="7513" y="7027"/>
                  </a:lnTo>
                  <a:cubicBezTo>
                    <a:pt x="7704" y="6836"/>
                    <a:pt x="7716" y="6526"/>
                    <a:pt x="7540" y="6322"/>
                  </a:cubicBezTo>
                  <a:lnTo>
                    <a:pt x="7206" y="5932"/>
                  </a:lnTo>
                  <a:cubicBezTo>
                    <a:pt x="7195" y="5920"/>
                    <a:pt x="7193" y="5902"/>
                    <a:pt x="7201" y="5887"/>
                  </a:cubicBezTo>
                  <a:cubicBezTo>
                    <a:pt x="7315" y="5682"/>
                    <a:pt x="7407" y="5463"/>
                    <a:pt x="7476" y="5238"/>
                  </a:cubicBezTo>
                  <a:cubicBezTo>
                    <a:pt x="7480" y="5223"/>
                    <a:pt x="7495" y="5212"/>
                    <a:pt x="7512" y="5211"/>
                  </a:cubicBezTo>
                  <a:lnTo>
                    <a:pt x="8029" y="5179"/>
                  </a:lnTo>
                  <a:cubicBezTo>
                    <a:pt x="8303" y="5163"/>
                    <a:pt x="8517" y="4935"/>
                    <a:pt x="8517" y="4661"/>
                  </a:cubicBezTo>
                  <a:lnTo>
                    <a:pt x="8517" y="3915"/>
                  </a:lnTo>
                  <a:cubicBezTo>
                    <a:pt x="8517" y="3645"/>
                    <a:pt x="8306" y="3418"/>
                    <a:pt x="8037" y="3397"/>
                  </a:cubicBezTo>
                  <a:close/>
                  <a:moveTo>
                    <a:pt x="3784" y="4184"/>
                  </a:moveTo>
                  <a:lnTo>
                    <a:pt x="3016" y="3937"/>
                  </a:lnTo>
                  <a:cubicBezTo>
                    <a:pt x="2984" y="3927"/>
                    <a:pt x="2949" y="3930"/>
                    <a:pt x="2920" y="3945"/>
                  </a:cubicBezTo>
                  <a:lnTo>
                    <a:pt x="2629" y="4097"/>
                  </a:lnTo>
                  <a:lnTo>
                    <a:pt x="2629" y="3950"/>
                  </a:lnTo>
                  <a:cubicBezTo>
                    <a:pt x="2629" y="3780"/>
                    <a:pt x="2768" y="3641"/>
                    <a:pt x="2938" y="3641"/>
                  </a:cubicBezTo>
                  <a:lnTo>
                    <a:pt x="3475" y="3641"/>
                  </a:lnTo>
                  <a:cubicBezTo>
                    <a:pt x="3645" y="3641"/>
                    <a:pt x="3784" y="3780"/>
                    <a:pt x="3784" y="3950"/>
                  </a:cubicBezTo>
                  <a:lnTo>
                    <a:pt x="3784" y="4184"/>
                  </a:lnTo>
                  <a:close/>
                  <a:moveTo>
                    <a:pt x="2629" y="4378"/>
                  </a:moveTo>
                  <a:lnTo>
                    <a:pt x="2989" y="4190"/>
                  </a:lnTo>
                  <a:lnTo>
                    <a:pt x="3784" y="4446"/>
                  </a:lnTo>
                  <a:lnTo>
                    <a:pt x="3784" y="4822"/>
                  </a:lnTo>
                  <a:cubicBezTo>
                    <a:pt x="3784" y="4910"/>
                    <a:pt x="3737" y="4992"/>
                    <a:pt x="3663" y="5038"/>
                  </a:cubicBezTo>
                  <a:lnTo>
                    <a:pt x="3337" y="5236"/>
                  </a:lnTo>
                  <a:cubicBezTo>
                    <a:pt x="3257" y="5285"/>
                    <a:pt x="3156" y="5285"/>
                    <a:pt x="3076" y="5236"/>
                  </a:cubicBezTo>
                  <a:lnTo>
                    <a:pt x="2750" y="5038"/>
                  </a:lnTo>
                  <a:cubicBezTo>
                    <a:pt x="2676" y="4992"/>
                    <a:pt x="2629" y="4910"/>
                    <a:pt x="2629" y="4822"/>
                  </a:cubicBezTo>
                  <a:lnTo>
                    <a:pt x="2629" y="4378"/>
                  </a:lnTo>
                  <a:close/>
                  <a:moveTo>
                    <a:pt x="3201" y="5884"/>
                  </a:moveTo>
                  <a:cubicBezTo>
                    <a:pt x="3104" y="5886"/>
                    <a:pt x="3009" y="5876"/>
                    <a:pt x="2915" y="5856"/>
                  </a:cubicBezTo>
                  <a:cubicBezTo>
                    <a:pt x="2952" y="5781"/>
                    <a:pt x="2972" y="5697"/>
                    <a:pt x="2972" y="5611"/>
                  </a:cubicBezTo>
                  <a:lnTo>
                    <a:pt x="2972" y="5464"/>
                  </a:lnTo>
                  <a:cubicBezTo>
                    <a:pt x="3046" y="5503"/>
                    <a:pt x="3126" y="5523"/>
                    <a:pt x="3206" y="5523"/>
                  </a:cubicBezTo>
                  <a:cubicBezTo>
                    <a:pt x="3287" y="5523"/>
                    <a:pt x="3367" y="5503"/>
                    <a:pt x="3441" y="5464"/>
                  </a:cubicBezTo>
                  <a:lnTo>
                    <a:pt x="3441" y="5611"/>
                  </a:lnTo>
                  <a:cubicBezTo>
                    <a:pt x="3441" y="5692"/>
                    <a:pt x="3458" y="5771"/>
                    <a:pt x="3491" y="5842"/>
                  </a:cubicBezTo>
                  <a:cubicBezTo>
                    <a:pt x="3396" y="5867"/>
                    <a:pt x="3299" y="5881"/>
                    <a:pt x="3201" y="5884"/>
                  </a:cubicBezTo>
                  <a:close/>
                  <a:moveTo>
                    <a:pt x="3194" y="7321"/>
                  </a:moveTo>
                  <a:lnTo>
                    <a:pt x="3007" y="7113"/>
                  </a:lnTo>
                  <a:lnTo>
                    <a:pt x="3196" y="6448"/>
                  </a:lnTo>
                  <a:lnTo>
                    <a:pt x="3403" y="7111"/>
                  </a:lnTo>
                  <a:lnTo>
                    <a:pt x="3194" y="7321"/>
                  </a:lnTo>
                  <a:close/>
                  <a:moveTo>
                    <a:pt x="6031" y="4794"/>
                  </a:moveTo>
                  <a:lnTo>
                    <a:pt x="5438" y="4603"/>
                  </a:lnTo>
                  <a:cubicBezTo>
                    <a:pt x="5406" y="4593"/>
                    <a:pt x="5372" y="4596"/>
                    <a:pt x="5342" y="4611"/>
                  </a:cubicBezTo>
                  <a:lnTo>
                    <a:pt x="5141" y="4717"/>
                  </a:lnTo>
                  <a:lnTo>
                    <a:pt x="5141" y="4636"/>
                  </a:lnTo>
                  <a:cubicBezTo>
                    <a:pt x="5141" y="4511"/>
                    <a:pt x="5242" y="4408"/>
                    <a:pt x="5368" y="4408"/>
                  </a:cubicBezTo>
                  <a:lnTo>
                    <a:pt x="5804" y="4408"/>
                  </a:lnTo>
                  <a:cubicBezTo>
                    <a:pt x="5929" y="4408"/>
                    <a:pt x="6031" y="4511"/>
                    <a:pt x="6031" y="4636"/>
                  </a:cubicBezTo>
                  <a:lnTo>
                    <a:pt x="6031" y="4794"/>
                  </a:lnTo>
                  <a:close/>
                  <a:moveTo>
                    <a:pt x="5141" y="4998"/>
                  </a:moveTo>
                  <a:lnTo>
                    <a:pt x="5411" y="4857"/>
                  </a:lnTo>
                  <a:lnTo>
                    <a:pt x="6031" y="5056"/>
                  </a:lnTo>
                  <a:lnTo>
                    <a:pt x="6031" y="5345"/>
                  </a:lnTo>
                  <a:cubicBezTo>
                    <a:pt x="6031" y="5408"/>
                    <a:pt x="5998" y="5467"/>
                    <a:pt x="5944" y="5500"/>
                  </a:cubicBezTo>
                  <a:lnTo>
                    <a:pt x="5680" y="5661"/>
                  </a:lnTo>
                  <a:cubicBezTo>
                    <a:pt x="5622" y="5696"/>
                    <a:pt x="5550" y="5696"/>
                    <a:pt x="5492" y="5661"/>
                  </a:cubicBezTo>
                  <a:lnTo>
                    <a:pt x="5227" y="5500"/>
                  </a:lnTo>
                  <a:cubicBezTo>
                    <a:pt x="5174" y="5467"/>
                    <a:pt x="5141" y="5408"/>
                    <a:pt x="5141" y="5345"/>
                  </a:cubicBezTo>
                  <a:lnTo>
                    <a:pt x="5141" y="4998"/>
                  </a:lnTo>
                  <a:close/>
                  <a:moveTo>
                    <a:pt x="5581" y="6183"/>
                  </a:moveTo>
                  <a:cubicBezTo>
                    <a:pt x="5514" y="6185"/>
                    <a:pt x="5448" y="6179"/>
                    <a:pt x="5382" y="6167"/>
                  </a:cubicBezTo>
                  <a:cubicBezTo>
                    <a:pt x="5406" y="6110"/>
                    <a:pt x="5419" y="6048"/>
                    <a:pt x="5419" y="5985"/>
                  </a:cubicBezTo>
                  <a:lnTo>
                    <a:pt x="5419" y="5903"/>
                  </a:lnTo>
                  <a:cubicBezTo>
                    <a:pt x="5472" y="5926"/>
                    <a:pt x="5529" y="5937"/>
                    <a:pt x="5586" y="5937"/>
                  </a:cubicBezTo>
                  <a:cubicBezTo>
                    <a:pt x="5643" y="5937"/>
                    <a:pt x="5699" y="5926"/>
                    <a:pt x="5753" y="5903"/>
                  </a:cubicBezTo>
                  <a:lnTo>
                    <a:pt x="5753" y="5985"/>
                  </a:lnTo>
                  <a:cubicBezTo>
                    <a:pt x="5753" y="6045"/>
                    <a:pt x="5764" y="6103"/>
                    <a:pt x="5785" y="6157"/>
                  </a:cubicBezTo>
                  <a:cubicBezTo>
                    <a:pt x="5718" y="6173"/>
                    <a:pt x="5650" y="6182"/>
                    <a:pt x="5581" y="6183"/>
                  </a:cubicBezTo>
                  <a:close/>
                  <a:moveTo>
                    <a:pt x="5577" y="7340"/>
                  </a:moveTo>
                  <a:lnTo>
                    <a:pt x="5450" y="7199"/>
                  </a:lnTo>
                  <a:lnTo>
                    <a:pt x="5578" y="6747"/>
                  </a:lnTo>
                  <a:lnTo>
                    <a:pt x="5719" y="7197"/>
                  </a:lnTo>
                  <a:lnTo>
                    <a:pt x="5577" y="7340"/>
                  </a:lnTo>
                  <a:close/>
                  <a:moveTo>
                    <a:pt x="8268" y="4661"/>
                  </a:moveTo>
                  <a:cubicBezTo>
                    <a:pt x="8268" y="4803"/>
                    <a:pt x="8156" y="4922"/>
                    <a:pt x="8014" y="4930"/>
                  </a:cubicBezTo>
                  <a:lnTo>
                    <a:pt x="7496" y="4962"/>
                  </a:lnTo>
                  <a:cubicBezTo>
                    <a:pt x="7376" y="4969"/>
                    <a:pt x="7272" y="5051"/>
                    <a:pt x="7237" y="5166"/>
                  </a:cubicBezTo>
                  <a:cubicBezTo>
                    <a:pt x="7174" y="5374"/>
                    <a:pt x="7088" y="5576"/>
                    <a:pt x="6983" y="5766"/>
                  </a:cubicBezTo>
                  <a:cubicBezTo>
                    <a:pt x="6924" y="5871"/>
                    <a:pt x="6938" y="6003"/>
                    <a:pt x="7017" y="6095"/>
                  </a:cubicBezTo>
                  <a:lnTo>
                    <a:pt x="7351" y="6484"/>
                  </a:lnTo>
                  <a:cubicBezTo>
                    <a:pt x="7442" y="6591"/>
                    <a:pt x="7436" y="6751"/>
                    <a:pt x="7337" y="6850"/>
                  </a:cubicBezTo>
                  <a:lnTo>
                    <a:pt x="6900" y="7287"/>
                  </a:lnTo>
                  <a:lnTo>
                    <a:pt x="6900" y="7012"/>
                  </a:lnTo>
                  <a:cubicBezTo>
                    <a:pt x="6900" y="6675"/>
                    <a:pt x="6686" y="6377"/>
                    <a:pt x="6368" y="6270"/>
                  </a:cubicBezTo>
                  <a:lnTo>
                    <a:pt x="6200" y="6214"/>
                  </a:lnTo>
                  <a:cubicBezTo>
                    <a:pt x="6685" y="5731"/>
                    <a:pt x="6979" y="5080"/>
                    <a:pt x="7013" y="4402"/>
                  </a:cubicBezTo>
                  <a:cubicBezTo>
                    <a:pt x="7017" y="4333"/>
                    <a:pt x="6964" y="4275"/>
                    <a:pt x="6895" y="4271"/>
                  </a:cubicBezTo>
                  <a:cubicBezTo>
                    <a:pt x="6826" y="4268"/>
                    <a:pt x="6768" y="4321"/>
                    <a:pt x="6764" y="4390"/>
                  </a:cubicBezTo>
                  <a:cubicBezTo>
                    <a:pt x="6733" y="5012"/>
                    <a:pt x="6460" y="5609"/>
                    <a:pt x="6011" y="6049"/>
                  </a:cubicBezTo>
                  <a:cubicBezTo>
                    <a:pt x="6005" y="6029"/>
                    <a:pt x="6002" y="6007"/>
                    <a:pt x="6002" y="5985"/>
                  </a:cubicBezTo>
                  <a:lnTo>
                    <a:pt x="6002" y="5756"/>
                  </a:lnTo>
                  <a:lnTo>
                    <a:pt x="6074" y="5713"/>
                  </a:lnTo>
                  <a:cubicBezTo>
                    <a:pt x="6202" y="5635"/>
                    <a:pt x="6281" y="5494"/>
                    <a:pt x="6281" y="5345"/>
                  </a:cubicBezTo>
                  <a:lnTo>
                    <a:pt x="6281" y="4967"/>
                  </a:lnTo>
                  <a:lnTo>
                    <a:pt x="6281" y="4966"/>
                  </a:lnTo>
                  <a:lnTo>
                    <a:pt x="6281" y="4636"/>
                  </a:lnTo>
                  <a:cubicBezTo>
                    <a:pt x="6281" y="4373"/>
                    <a:pt x="6067" y="4159"/>
                    <a:pt x="5804" y="4159"/>
                  </a:cubicBezTo>
                  <a:lnTo>
                    <a:pt x="5368" y="4159"/>
                  </a:lnTo>
                  <a:cubicBezTo>
                    <a:pt x="5105" y="4159"/>
                    <a:pt x="4891" y="4373"/>
                    <a:pt x="4891" y="4636"/>
                  </a:cubicBezTo>
                  <a:lnTo>
                    <a:pt x="4891" y="4920"/>
                  </a:lnTo>
                  <a:lnTo>
                    <a:pt x="4891" y="4921"/>
                  </a:lnTo>
                  <a:lnTo>
                    <a:pt x="4891" y="5345"/>
                  </a:lnTo>
                  <a:cubicBezTo>
                    <a:pt x="4891" y="5494"/>
                    <a:pt x="4970" y="5635"/>
                    <a:pt x="5097" y="5713"/>
                  </a:cubicBezTo>
                  <a:lnTo>
                    <a:pt x="5169" y="5756"/>
                  </a:lnTo>
                  <a:lnTo>
                    <a:pt x="5169" y="5985"/>
                  </a:lnTo>
                  <a:cubicBezTo>
                    <a:pt x="5169" y="6048"/>
                    <a:pt x="5143" y="6108"/>
                    <a:pt x="5098" y="6150"/>
                  </a:cubicBezTo>
                  <a:cubicBezTo>
                    <a:pt x="5074" y="6172"/>
                    <a:pt x="5047" y="6188"/>
                    <a:pt x="5017" y="6199"/>
                  </a:cubicBezTo>
                  <a:lnTo>
                    <a:pt x="4804" y="6270"/>
                  </a:lnTo>
                  <a:cubicBezTo>
                    <a:pt x="4744" y="6291"/>
                    <a:pt x="4687" y="6318"/>
                    <a:pt x="4635" y="6351"/>
                  </a:cubicBezTo>
                  <a:cubicBezTo>
                    <a:pt x="4521" y="6183"/>
                    <a:pt x="4354" y="6054"/>
                    <a:pt x="4160" y="5989"/>
                  </a:cubicBezTo>
                  <a:lnTo>
                    <a:pt x="3898" y="5901"/>
                  </a:lnTo>
                  <a:cubicBezTo>
                    <a:pt x="3851" y="5885"/>
                    <a:pt x="3810" y="5859"/>
                    <a:pt x="3775" y="5823"/>
                  </a:cubicBezTo>
                  <a:cubicBezTo>
                    <a:pt x="3720" y="5766"/>
                    <a:pt x="3690" y="5690"/>
                    <a:pt x="3690" y="5611"/>
                  </a:cubicBezTo>
                  <a:lnTo>
                    <a:pt x="3690" y="5313"/>
                  </a:lnTo>
                  <a:lnTo>
                    <a:pt x="3793" y="5251"/>
                  </a:lnTo>
                  <a:cubicBezTo>
                    <a:pt x="3941" y="5160"/>
                    <a:pt x="4033" y="4996"/>
                    <a:pt x="4033" y="4822"/>
                  </a:cubicBezTo>
                  <a:lnTo>
                    <a:pt x="4033" y="4357"/>
                  </a:lnTo>
                  <a:lnTo>
                    <a:pt x="4033" y="4356"/>
                  </a:lnTo>
                  <a:lnTo>
                    <a:pt x="4033" y="3950"/>
                  </a:lnTo>
                  <a:cubicBezTo>
                    <a:pt x="4033" y="3642"/>
                    <a:pt x="3783" y="3391"/>
                    <a:pt x="3475" y="3391"/>
                  </a:cubicBezTo>
                  <a:lnTo>
                    <a:pt x="2938" y="3391"/>
                  </a:lnTo>
                  <a:cubicBezTo>
                    <a:pt x="2630" y="3391"/>
                    <a:pt x="2380" y="3642"/>
                    <a:pt x="2380" y="3950"/>
                  </a:cubicBezTo>
                  <a:lnTo>
                    <a:pt x="2380" y="4301"/>
                  </a:lnTo>
                  <a:lnTo>
                    <a:pt x="2380" y="4301"/>
                  </a:lnTo>
                  <a:lnTo>
                    <a:pt x="2380" y="4822"/>
                  </a:lnTo>
                  <a:cubicBezTo>
                    <a:pt x="2380" y="4996"/>
                    <a:pt x="2472" y="5160"/>
                    <a:pt x="2620" y="5251"/>
                  </a:cubicBezTo>
                  <a:lnTo>
                    <a:pt x="2723" y="5313"/>
                  </a:lnTo>
                  <a:lnTo>
                    <a:pt x="2723" y="5611"/>
                  </a:lnTo>
                  <a:cubicBezTo>
                    <a:pt x="2723" y="5696"/>
                    <a:pt x="2687" y="5778"/>
                    <a:pt x="2625" y="5835"/>
                  </a:cubicBezTo>
                  <a:cubicBezTo>
                    <a:pt x="2593" y="5865"/>
                    <a:pt x="2556" y="5887"/>
                    <a:pt x="2515" y="5901"/>
                  </a:cubicBezTo>
                  <a:lnTo>
                    <a:pt x="2253" y="5989"/>
                  </a:lnTo>
                  <a:cubicBezTo>
                    <a:pt x="1873" y="6117"/>
                    <a:pt x="1617" y="6473"/>
                    <a:pt x="1617" y="6875"/>
                  </a:cubicBezTo>
                  <a:lnTo>
                    <a:pt x="1617" y="7287"/>
                  </a:lnTo>
                  <a:lnTo>
                    <a:pt x="1181" y="6850"/>
                  </a:lnTo>
                  <a:cubicBezTo>
                    <a:pt x="1082" y="6751"/>
                    <a:pt x="1076" y="6591"/>
                    <a:pt x="1167" y="6484"/>
                  </a:cubicBezTo>
                  <a:lnTo>
                    <a:pt x="1501" y="6095"/>
                  </a:lnTo>
                  <a:cubicBezTo>
                    <a:pt x="1579" y="6003"/>
                    <a:pt x="1593" y="5871"/>
                    <a:pt x="1535" y="5766"/>
                  </a:cubicBezTo>
                  <a:cubicBezTo>
                    <a:pt x="1429" y="5576"/>
                    <a:pt x="1344" y="5374"/>
                    <a:pt x="1280" y="5166"/>
                  </a:cubicBezTo>
                  <a:cubicBezTo>
                    <a:pt x="1246" y="5051"/>
                    <a:pt x="1141" y="4969"/>
                    <a:pt x="1021" y="4962"/>
                  </a:cubicBezTo>
                  <a:lnTo>
                    <a:pt x="503" y="4930"/>
                  </a:lnTo>
                  <a:cubicBezTo>
                    <a:pt x="361" y="4922"/>
                    <a:pt x="250" y="4803"/>
                    <a:pt x="250" y="4661"/>
                  </a:cubicBezTo>
                  <a:lnTo>
                    <a:pt x="250" y="3915"/>
                  </a:lnTo>
                  <a:cubicBezTo>
                    <a:pt x="250" y="3775"/>
                    <a:pt x="359" y="3657"/>
                    <a:pt x="499" y="3646"/>
                  </a:cubicBezTo>
                  <a:lnTo>
                    <a:pt x="1010" y="3607"/>
                  </a:lnTo>
                  <a:cubicBezTo>
                    <a:pt x="1130" y="3598"/>
                    <a:pt x="1233" y="3514"/>
                    <a:pt x="1266" y="3399"/>
                  </a:cubicBezTo>
                  <a:cubicBezTo>
                    <a:pt x="1326" y="3190"/>
                    <a:pt x="1409" y="2987"/>
                    <a:pt x="1512" y="2795"/>
                  </a:cubicBezTo>
                  <a:cubicBezTo>
                    <a:pt x="1568" y="2689"/>
                    <a:pt x="1553" y="2557"/>
                    <a:pt x="1473" y="2467"/>
                  </a:cubicBezTo>
                  <a:lnTo>
                    <a:pt x="1128" y="2078"/>
                  </a:lnTo>
                  <a:cubicBezTo>
                    <a:pt x="1034" y="1971"/>
                    <a:pt x="1039" y="1809"/>
                    <a:pt x="1140" y="1708"/>
                  </a:cubicBezTo>
                  <a:lnTo>
                    <a:pt x="1667" y="1181"/>
                  </a:lnTo>
                  <a:cubicBezTo>
                    <a:pt x="1766" y="1082"/>
                    <a:pt x="1927" y="1075"/>
                    <a:pt x="2033" y="1167"/>
                  </a:cubicBezTo>
                  <a:lnTo>
                    <a:pt x="2423" y="1501"/>
                  </a:lnTo>
                  <a:cubicBezTo>
                    <a:pt x="2514" y="1579"/>
                    <a:pt x="2646" y="1593"/>
                    <a:pt x="2751" y="1535"/>
                  </a:cubicBezTo>
                  <a:cubicBezTo>
                    <a:pt x="2956" y="1421"/>
                    <a:pt x="3174" y="1331"/>
                    <a:pt x="3399" y="1266"/>
                  </a:cubicBezTo>
                  <a:cubicBezTo>
                    <a:pt x="3514" y="1233"/>
                    <a:pt x="3598" y="1130"/>
                    <a:pt x="3607" y="1010"/>
                  </a:cubicBezTo>
                  <a:lnTo>
                    <a:pt x="3646" y="499"/>
                  </a:lnTo>
                  <a:cubicBezTo>
                    <a:pt x="3657" y="359"/>
                    <a:pt x="3775" y="250"/>
                    <a:pt x="3915" y="250"/>
                  </a:cubicBezTo>
                  <a:lnTo>
                    <a:pt x="4661" y="250"/>
                  </a:lnTo>
                  <a:cubicBezTo>
                    <a:pt x="4803" y="250"/>
                    <a:pt x="4921" y="361"/>
                    <a:pt x="4930" y="503"/>
                  </a:cubicBezTo>
                  <a:lnTo>
                    <a:pt x="4962" y="1021"/>
                  </a:lnTo>
                  <a:cubicBezTo>
                    <a:pt x="4969" y="1141"/>
                    <a:pt x="5051" y="1245"/>
                    <a:pt x="5166" y="1280"/>
                  </a:cubicBezTo>
                  <a:cubicBezTo>
                    <a:pt x="5374" y="1344"/>
                    <a:pt x="5576" y="1429"/>
                    <a:pt x="5766" y="1535"/>
                  </a:cubicBezTo>
                  <a:cubicBezTo>
                    <a:pt x="5871" y="1593"/>
                    <a:pt x="6003" y="1579"/>
                    <a:pt x="6095" y="1501"/>
                  </a:cubicBezTo>
                  <a:lnTo>
                    <a:pt x="6484" y="1167"/>
                  </a:lnTo>
                  <a:cubicBezTo>
                    <a:pt x="6590" y="1076"/>
                    <a:pt x="6751" y="1082"/>
                    <a:pt x="6850" y="1181"/>
                  </a:cubicBezTo>
                  <a:lnTo>
                    <a:pt x="7378" y="1708"/>
                  </a:lnTo>
                  <a:cubicBezTo>
                    <a:pt x="7478" y="1809"/>
                    <a:pt x="7483" y="1971"/>
                    <a:pt x="7389" y="2078"/>
                  </a:cubicBezTo>
                  <a:lnTo>
                    <a:pt x="7045" y="2467"/>
                  </a:lnTo>
                  <a:cubicBezTo>
                    <a:pt x="6965" y="2557"/>
                    <a:pt x="6949" y="2689"/>
                    <a:pt x="7006" y="2795"/>
                  </a:cubicBezTo>
                  <a:cubicBezTo>
                    <a:pt x="7109" y="2987"/>
                    <a:pt x="7191" y="3190"/>
                    <a:pt x="7251" y="3399"/>
                  </a:cubicBezTo>
                  <a:cubicBezTo>
                    <a:pt x="7284" y="3514"/>
                    <a:pt x="7387" y="3598"/>
                    <a:pt x="7507" y="3607"/>
                  </a:cubicBezTo>
                  <a:lnTo>
                    <a:pt x="8018" y="3646"/>
                  </a:lnTo>
                  <a:cubicBezTo>
                    <a:pt x="8158" y="3657"/>
                    <a:pt x="8268" y="3775"/>
                    <a:pt x="8268" y="3915"/>
                  </a:cubicBezTo>
                  <a:lnTo>
                    <a:pt x="8268" y="4661"/>
                  </a:lnTo>
                  <a:close/>
                  <a:moveTo>
                    <a:pt x="8268" y="4661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50">
              <a:extLst>
                <a:ext uri="{FF2B5EF4-FFF2-40B4-BE49-F238E27FC236}">
                  <a16:creationId xmlns:a16="http://schemas.microsoft.com/office/drawing/2014/main" id="{D3885DA2-7968-4474-A276-DAE0B7617C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7" y="987"/>
              <a:ext cx="2648" cy="2103"/>
            </a:xfrm>
            <a:custGeom>
              <a:avLst/>
              <a:gdLst>
                <a:gd name="T0" fmla="*/ 2641 w 5517"/>
                <a:gd name="T1" fmla="*/ 71 h 4381"/>
                <a:gd name="T2" fmla="*/ 837 w 5517"/>
                <a:gd name="T3" fmla="*/ 877 h 4381"/>
                <a:gd name="T4" fmla="*/ 30 w 5517"/>
                <a:gd name="T5" fmla="*/ 2682 h 4381"/>
                <a:gd name="T6" fmla="*/ 468 w 5517"/>
                <a:gd name="T7" fmla="*/ 4324 h 4381"/>
                <a:gd name="T8" fmla="*/ 573 w 5517"/>
                <a:gd name="T9" fmla="*/ 4381 h 4381"/>
                <a:gd name="T10" fmla="*/ 641 w 5517"/>
                <a:gd name="T11" fmla="*/ 4361 h 4381"/>
                <a:gd name="T12" fmla="*/ 678 w 5517"/>
                <a:gd name="T13" fmla="*/ 4188 h 4381"/>
                <a:gd name="T14" fmla="*/ 279 w 5517"/>
                <a:gd name="T15" fmla="*/ 2695 h 4381"/>
                <a:gd name="T16" fmla="*/ 1013 w 5517"/>
                <a:gd name="T17" fmla="*/ 1054 h 4381"/>
                <a:gd name="T18" fmla="*/ 2654 w 5517"/>
                <a:gd name="T19" fmla="*/ 320 h 4381"/>
                <a:gd name="T20" fmla="*/ 5260 w 5517"/>
                <a:gd name="T21" fmla="*/ 2412 h 4381"/>
                <a:gd name="T22" fmla="*/ 5403 w 5517"/>
                <a:gd name="T23" fmla="*/ 2515 h 4381"/>
                <a:gd name="T24" fmla="*/ 5506 w 5517"/>
                <a:gd name="T25" fmla="*/ 2372 h 4381"/>
                <a:gd name="T26" fmla="*/ 2641 w 5517"/>
                <a:gd name="T27" fmla="*/ 71 h 4381"/>
                <a:gd name="T28" fmla="*/ 2641 w 5517"/>
                <a:gd name="T29" fmla="*/ 71 h 4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17" h="4381">
                  <a:moveTo>
                    <a:pt x="2641" y="71"/>
                  </a:moveTo>
                  <a:cubicBezTo>
                    <a:pt x="1963" y="105"/>
                    <a:pt x="1322" y="392"/>
                    <a:pt x="837" y="877"/>
                  </a:cubicBezTo>
                  <a:cubicBezTo>
                    <a:pt x="351" y="1363"/>
                    <a:pt x="64" y="2004"/>
                    <a:pt x="30" y="2682"/>
                  </a:cubicBezTo>
                  <a:cubicBezTo>
                    <a:pt x="0" y="3268"/>
                    <a:pt x="152" y="3836"/>
                    <a:pt x="468" y="4324"/>
                  </a:cubicBezTo>
                  <a:cubicBezTo>
                    <a:pt x="492" y="4361"/>
                    <a:pt x="532" y="4381"/>
                    <a:pt x="573" y="4381"/>
                  </a:cubicBezTo>
                  <a:cubicBezTo>
                    <a:pt x="596" y="4381"/>
                    <a:pt x="620" y="4374"/>
                    <a:pt x="641" y="4361"/>
                  </a:cubicBezTo>
                  <a:cubicBezTo>
                    <a:pt x="699" y="4323"/>
                    <a:pt x="715" y="4246"/>
                    <a:pt x="678" y="4188"/>
                  </a:cubicBezTo>
                  <a:cubicBezTo>
                    <a:pt x="390" y="3744"/>
                    <a:pt x="252" y="3228"/>
                    <a:pt x="279" y="2695"/>
                  </a:cubicBezTo>
                  <a:cubicBezTo>
                    <a:pt x="310" y="2079"/>
                    <a:pt x="571" y="1496"/>
                    <a:pt x="1013" y="1054"/>
                  </a:cubicBezTo>
                  <a:cubicBezTo>
                    <a:pt x="1455" y="612"/>
                    <a:pt x="2038" y="351"/>
                    <a:pt x="2654" y="320"/>
                  </a:cubicBezTo>
                  <a:cubicBezTo>
                    <a:pt x="3932" y="255"/>
                    <a:pt x="5051" y="1155"/>
                    <a:pt x="5260" y="2412"/>
                  </a:cubicBezTo>
                  <a:cubicBezTo>
                    <a:pt x="5271" y="2480"/>
                    <a:pt x="5335" y="2526"/>
                    <a:pt x="5403" y="2515"/>
                  </a:cubicBezTo>
                  <a:cubicBezTo>
                    <a:pt x="5471" y="2504"/>
                    <a:pt x="5517" y="2440"/>
                    <a:pt x="5506" y="2372"/>
                  </a:cubicBezTo>
                  <a:cubicBezTo>
                    <a:pt x="5277" y="989"/>
                    <a:pt x="4045" y="0"/>
                    <a:pt x="2641" y="71"/>
                  </a:cubicBezTo>
                  <a:close/>
                  <a:moveTo>
                    <a:pt x="2641" y="71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6" name="object 15">
            <a:extLst>
              <a:ext uri="{FF2B5EF4-FFF2-40B4-BE49-F238E27FC236}">
                <a16:creationId xmlns:a16="http://schemas.microsoft.com/office/drawing/2014/main" id="{6C0E600A-56B7-4FAF-823D-137F0E8B9B78}"/>
              </a:ext>
            </a:extLst>
          </p:cNvPr>
          <p:cNvSpPr txBox="1"/>
          <p:nvPr/>
        </p:nvSpPr>
        <p:spPr>
          <a:xfrm>
            <a:off x="4470241" y="2119292"/>
            <a:ext cx="7366103" cy="371091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300"/>
              </a:spcAft>
            </a:pP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Мониторинг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предмети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</a:t>
            </a:r>
          </a:p>
          <a:p>
            <a:pPr marL="296069" indent="-285750"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урашиш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амарал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изим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ярат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ушлаб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ур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йич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халқаро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шкилотлар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всиялар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:</a:t>
            </a:r>
          </a:p>
          <a:p>
            <a:pPr marL="296069" indent="-285750"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uz-Cyrl-UZ" sz="1200" spc="-4" dirty="0">
                <a:solidFill>
                  <a:schemeClr val="tx2"/>
                </a:solidFill>
                <a:cs typeface="Arial" panose="020B0604020202020204" pitchFamily="34" charset="0"/>
              </a:rPr>
              <a:t>ИҲХТ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: </a:t>
            </a: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</a:rPr>
              <a:t>https://www.oecd.org/corruption/ethics/ </a:t>
            </a:r>
          </a:p>
          <a:p>
            <a:pPr marL="296069" indent="-285750"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ирлаш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иллат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шкилоти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Гиёҳванд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одда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иноятчилик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йич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ошқармас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: </a:t>
            </a: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</a:rPr>
              <a:t>https://www.unodc.org/unodc/ru/index.html </a:t>
            </a:r>
          </a:p>
          <a:p>
            <a:pPr marL="296069" indent="-285750"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иноий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ромадлар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легаллаштир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ерроризм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олиялаштириш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ураш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йич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Евроосиё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гуруҳ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(ЕОГ): </a:t>
            </a: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</a:rPr>
              <a:t>https://eurasiangroup.org/ru </a:t>
            </a:r>
          </a:p>
          <a:p>
            <a:pPr marL="296069" indent="-285750"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Шанхай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амкорлик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шкилот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: </a:t>
            </a: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</a:rPr>
              <a:t>http://rus.sectsco.org/ </a:t>
            </a:r>
          </a:p>
          <a:p>
            <a:pPr marL="296069" indent="-285750"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Европа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авфсизлик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амкорлик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шкилот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( ЕХҲТ): </a:t>
            </a: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</a:rPr>
              <a:t>https://www.osce.org/ru/ </a:t>
            </a:r>
          </a:p>
          <a:p>
            <a:pPr marL="296069" indent="-285750"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Халқаро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тандартлаштир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шкилот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(</a:t>
            </a: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</a:rPr>
              <a:t>ISO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)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омонид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чиқарил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тандарт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: </a:t>
            </a: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</a:rPr>
              <a:t>https://www.iso.org/ru/standards.html </a:t>
            </a:r>
          </a:p>
          <a:p>
            <a:pPr marL="296069" indent="-285750"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уюк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Британия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егулятор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омонид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"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Порахўрлик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ураш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ўғриси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"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г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ону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</a:rPr>
              <a:t>https://www.sfo.gov.uk/publications/guidance-policy-and-protocols/bribery-act-guidance/ </a:t>
            </a:r>
          </a:p>
          <a:p>
            <a:pPr marL="296069" indent="-285750"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АҚШ </a:t>
            </a:r>
            <a:r>
              <a:rPr lang="ru-RU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регулятори</a:t>
            </a: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томонидан</a:t>
            </a: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 «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Чет </a:t>
            </a:r>
            <a:r>
              <a:rPr lang="ru-RU" sz="12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элда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коррупцияга </a:t>
            </a:r>
            <a:r>
              <a:rPr lang="ru-RU" sz="12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қарши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ru-RU" sz="12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курашиш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ru-RU" sz="12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тўғрисида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" </a:t>
            </a:r>
            <a:r>
              <a:rPr lang="ru-RU" sz="12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ги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ru-RU" sz="12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қонунга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ru-RU" sz="12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мувофиқ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АҚШ </a:t>
            </a:r>
            <a:r>
              <a:rPr lang="ru-RU" sz="12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регуляторлари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(</a:t>
            </a:r>
            <a:r>
              <a:rPr lang="ru-RU" sz="12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хорижий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коррупция </a:t>
            </a:r>
            <a:r>
              <a:rPr lang="ru-RU" sz="12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амалиёти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ru-RU" sz="12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тўғрисидаги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ru-RU" sz="12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қонун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, Ф</a:t>
            </a:r>
            <a:r>
              <a:rPr 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C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ПА): </a:t>
            </a:r>
            <a:r>
              <a:rPr 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hlinkClick r:id="rId2"/>
              </a:rPr>
              <a:t>https://www.justice.gov/criminal-fraud/foreign-corrupt-practices-act</a:t>
            </a:r>
            <a:r>
              <a:rPr lang="uz-Cyrl-UZ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 берилган амалий тавсиялар ва тушунчалар.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37" name="object 12">
            <a:extLst>
              <a:ext uri="{FF2B5EF4-FFF2-40B4-BE49-F238E27FC236}">
                <a16:creationId xmlns:a16="http://schemas.microsoft.com/office/drawing/2014/main" id="{C93735A4-2029-48DC-B083-48C161F10596}"/>
              </a:ext>
            </a:extLst>
          </p:cNvPr>
          <p:cNvSpPr/>
          <p:nvPr/>
        </p:nvSpPr>
        <p:spPr>
          <a:xfrm>
            <a:off x="3655082" y="207111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62" name="Group 1419">
            <a:extLst>
              <a:ext uri="{FF2B5EF4-FFF2-40B4-BE49-F238E27FC236}">
                <a16:creationId xmlns:a16="http://schemas.microsoft.com/office/drawing/2014/main" id="{76EAF3A6-61C4-4968-97A8-DFDDEECD3BE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42500" y="2209297"/>
            <a:ext cx="598963" cy="414400"/>
            <a:chOff x="1472" y="2215"/>
            <a:chExt cx="172" cy="119"/>
          </a:xfrm>
          <a:solidFill>
            <a:schemeClr val="bg2">
              <a:lumMod val="25000"/>
            </a:schemeClr>
          </a:solidFill>
        </p:grpSpPr>
        <p:sp>
          <p:nvSpPr>
            <p:cNvPr id="63" name="Freeform 1420">
              <a:extLst>
                <a:ext uri="{FF2B5EF4-FFF2-40B4-BE49-F238E27FC236}">
                  <a16:creationId xmlns:a16="http://schemas.microsoft.com/office/drawing/2014/main" id="{01FBC7F3-03BF-41CC-BB3C-C13C8C829C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72" y="2215"/>
              <a:ext cx="172" cy="119"/>
            </a:xfrm>
            <a:custGeom>
              <a:avLst/>
              <a:gdLst>
                <a:gd name="T0" fmla="*/ 5246 w 6400"/>
                <a:gd name="T1" fmla="*/ 652 h 4424"/>
                <a:gd name="T2" fmla="*/ 4295 w 6400"/>
                <a:gd name="T3" fmla="*/ 209 h 4424"/>
                <a:gd name="T4" fmla="*/ 3922 w 6400"/>
                <a:gd name="T5" fmla="*/ 0 h 4424"/>
                <a:gd name="T6" fmla="*/ 3483 w 6400"/>
                <a:gd name="T7" fmla="*/ 1205 h 4424"/>
                <a:gd name="T8" fmla="*/ 2917 w 6400"/>
                <a:gd name="T9" fmla="*/ 438 h 4424"/>
                <a:gd name="T10" fmla="*/ 2105 w 6400"/>
                <a:gd name="T11" fmla="*/ 209 h 4424"/>
                <a:gd name="T12" fmla="*/ 1154 w 6400"/>
                <a:gd name="T13" fmla="*/ 652 h 4424"/>
                <a:gd name="T14" fmla="*/ 1005 w 6400"/>
                <a:gd name="T15" fmla="*/ 1110 h 4424"/>
                <a:gd name="T16" fmla="*/ 1336 w 6400"/>
                <a:gd name="T17" fmla="*/ 764 h 4424"/>
                <a:gd name="T18" fmla="*/ 2703 w 6400"/>
                <a:gd name="T19" fmla="*/ 1150 h 4424"/>
                <a:gd name="T20" fmla="*/ 2703 w 6400"/>
                <a:gd name="T21" fmla="*/ 2206 h 4424"/>
                <a:gd name="T22" fmla="*/ 798 w 6400"/>
                <a:gd name="T23" fmla="*/ 1666 h 4424"/>
                <a:gd name="T24" fmla="*/ 920 w 6400"/>
                <a:gd name="T25" fmla="*/ 1253 h 4424"/>
                <a:gd name="T26" fmla="*/ 142 w 6400"/>
                <a:gd name="T27" fmla="*/ 2339 h 4424"/>
                <a:gd name="T28" fmla="*/ 1458 w 6400"/>
                <a:gd name="T29" fmla="*/ 4424 h 4424"/>
                <a:gd name="T30" fmla="*/ 2917 w 6400"/>
                <a:gd name="T31" fmla="*/ 2681 h 4424"/>
                <a:gd name="T32" fmla="*/ 3483 w 6400"/>
                <a:gd name="T33" fmla="*/ 2966 h 4424"/>
                <a:gd name="T34" fmla="*/ 6400 w 6400"/>
                <a:gd name="T35" fmla="*/ 2966 h 4424"/>
                <a:gd name="T36" fmla="*/ 2703 w 6400"/>
                <a:gd name="T37" fmla="*/ 550 h 4424"/>
                <a:gd name="T38" fmla="*/ 2478 w 6400"/>
                <a:gd name="T39" fmla="*/ 214 h 4424"/>
                <a:gd name="T40" fmla="*/ 2703 w 6400"/>
                <a:gd name="T41" fmla="*/ 550 h 4424"/>
                <a:gd name="T42" fmla="*/ 214 w 6400"/>
                <a:gd name="T43" fmla="*/ 2966 h 4424"/>
                <a:gd name="T44" fmla="*/ 2703 w 6400"/>
                <a:gd name="T45" fmla="*/ 2966 h 4424"/>
                <a:gd name="T46" fmla="*/ 2917 w 6400"/>
                <a:gd name="T47" fmla="*/ 2056 h 4424"/>
                <a:gd name="T48" fmla="*/ 3483 w 6400"/>
                <a:gd name="T49" fmla="*/ 1419 h 4424"/>
                <a:gd name="T50" fmla="*/ 2917 w 6400"/>
                <a:gd name="T51" fmla="*/ 2056 h 4424"/>
                <a:gd name="T52" fmla="*/ 2917 w 6400"/>
                <a:gd name="T53" fmla="*/ 2467 h 4424"/>
                <a:gd name="T54" fmla="*/ 3483 w 6400"/>
                <a:gd name="T55" fmla="*/ 2270 h 4424"/>
                <a:gd name="T56" fmla="*/ 3697 w 6400"/>
                <a:gd name="T57" fmla="*/ 438 h 4424"/>
                <a:gd name="T58" fmla="*/ 4071 w 6400"/>
                <a:gd name="T59" fmla="*/ 271 h 4424"/>
                <a:gd name="T60" fmla="*/ 3697 w 6400"/>
                <a:gd name="T61" fmla="*/ 438 h 4424"/>
                <a:gd name="T62" fmla="*/ 3697 w 6400"/>
                <a:gd name="T63" fmla="*/ 1150 h 4424"/>
                <a:gd name="T64" fmla="*/ 5064 w 6400"/>
                <a:gd name="T65" fmla="*/ 764 h 4424"/>
                <a:gd name="T66" fmla="*/ 4942 w 6400"/>
                <a:gd name="T67" fmla="*/ 1508 h 4424"/>
                <a:gd name="T68" fmla="*/ 3697 w 6400"/>
                <a:gd name="T69" fmla="*/ 1150 h 4424"/>
                <a:gd name="T70" fmla="*/ 3697 w 6400"/>
                <a:gd name="T71" fmla="*/ 2966 h 4424"/>
                <a:gd name="T72" fmla="*/ 6186 w 6400"/>
                <a:gd name="T73" fmla="*/ 2966 h 4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400" h="4424">
                  <a:moveTo>
                    <a:pt x="6250" y="2323"/>
                  </a:moveTo>
                  <a:cubicBezTo>
                    <a:pt x="6207" y="2234"/>
                    <a:pt x="5270" y="690"/>
                    <a:pt x="5246" y="652"/>
                  </a:cubicBezTo>
                  <a:cubicBezTo>
                    <a:pt x="5071" y="368"/>
                    <a:pt x="4768" y="198"/>
                    <a:pt x="4435" y="198"/>
                  </a:cubicBezTo>
                  <a:cubicBezTo>
                    <a:pt x="4388" y="198"/>
                    <a:pt x="4341" y="202"/>
                    <a:pt x="4295" y="209"/>
                  </a:cubicBezTo>
                  <a:cubicBezTo>
                    <a:pt x="4295" y="209"/>
                    <a:pt x="4295" y="208"/>
                    <a:pt x="4295" y="208"/>
                  </a:cubicBezTo>
                  <a:cubicBezTo>
                    <a:pt x="4215" y="78"/>
                    <a:pt x="4075" y="0"/>
                    <a:pt x="3922" y="0"/>
                  </a:cubicBezTo>
                  <a:cubicBezTo>
                    <a:pt x="3680" y="0"/>
                    <a:pt x="3483" y="196"/>
                    <a:pt x="3483" y="438"/>
                  </a:cubicBezTo>
                  <a:lnTo>
                    <a:pt x="3483" y="1205"/>
                  </a:lnTo>
                  <a:lnTo>
                    <a:pt x="2917" y="1205"/>
                  </a:lnTo>
                  <a:lnTo>
                    <a:pt x="2917" y="438"/>
                  </a:lnTo>
                  <a:cubicBezTo>
                    <a:pt x="2917" y="196"/>
                    <a:pt x="2720" y="0"/>
                    <a:pt x="2478" y="0"/>
                  </a:cubicBezTo>
                  <a:cubicBezTo>
                    <a:pt x="2325" y="0"/>
                    <a:pt x="2186" y="77"/>
                    <a:pt x="2105" y="209"/>
                  </a:cubicBezTo>
                  <a:cubicBezTo>
                    <a:pt x="2059" y="202"/>
                    <a:pt x="2012" y="198"/>
                    <a:pt x="1965" y="198"/>
                  </a:cubicBezTo>
                  <a:cubicBezTo>
                    <a:pt x="1632" y="198"/>
                    <a:pt x="1329" y="368"/>
                    <a:pt x="1154" y="652"/>
                  </a:cubicBezTo>
                  <a:cubicBezTo>
                    <a:pt x="1152" y="655"/>
                    <a:pt x="1144" y="667"/>
                    <a:pt x="968" y="963"/>
                  </a:cubicBezTo>
                  <a:cubicBezTo>
                    <a:pt x="938" y="1014"/>
                    <a:pt x="954" y="1079"/>
                    <a:pt x="1005" y="1110"/>
                  </a:cubicBezTo>
                  <a:cubicBezTo>
                    <a:pt x="1056" y="1140"/>
                    <a:pt x="1122" y="1123"/>
                    <a:pt x="1152" y="1073"/>
                  </a:cubicBezTo>
                  <a:cubicBezTo>
                    <a:pt x="1297" y="829"/>
                    <a:pt x="1332" y="771"/>
                    <a:pt x="1336" y="764"/>
                  </a:cubicBezTo>
                  <a:cubicBezTo>
                    <a:pt x="1472" y="544"/>
                    <a:pt x="1707" y="413"/>
                    <a:pt x="1965" y="413"/>
                  </a:cubicBezTo>
                  <a:cubicBezTo>
                    <a:pt x="2372" y="413"/>
                    <a:pt x="2703" y="743"/>
                    <a:pt x="2703" y="1150"/>
                  </a:cubicBezTo>
                  <a:lnTo>
                    <a:pt x="2703" y="1150"/>
                  </a:lnTo>
                  <a:lnTo>
                    <a:pt x="2703" y="2206"/>
                  </a:lnTo>
                  <a:cubicBezTo>
                    <a:pt x="2446" y="1787"/>
                    <a:pt x="1984" y="1508"/>
                    <a:pt x="1458" y="1508"/>
                  </a:cubicBezTo>
                  <a:cubicBezTo>
                    <a:pt x="1221" y="1508"/>
                    <a:pt x="997" y="1565"/>
                    <a:pt x="798" y="1666"/>
                  </a:cubicBezTo>
                  <a:cubicBezTo>
                    <a:pt x="849" y="1580"/>
                    <a:pt x="903" y="1490"/>
                    <a:pt x="957" y="1399"/>
                  </a:cubicBezTo>
                  <a:cubicBezTo>
                    <a:pt x="987" y="1349"/>
                    <a:pt x="971" y="1283"/>
                    <a:pt x="920" y="1253"/>
                  </a:cubicBezTo>
                  <a:cubicBezTo>
                    <a:pt x="869" y="1222"/>
                    <a:pt x="803" y="1239"/>
                    <a:pt x="773" y="1290"/>
                  </a:cubicBezTo>
                  <a:cubicBezTo>
                    <a:pt x="545" y="1671"/>
                    <a:pt x="187" y="2244"/>
                    <a:pt x="142" y="2339"/>
                  </a:cubicBezTo>
                  <a:cubicBezTo>
                    <a:pt x="51" y="2529"/>
                    <a:pt x="0" y="2742"/>
                    <a:pt x="0" y="2966"/>
                  </a:cubicBezTo>
                  <a:cubicBezTo>
                    <a:pt x="0" y="3770"/>
                    <a:pt x="654" y="4424"/>
                    <a:pt x="1458" y="4424"/>
                  </a:cubicBezTo>
                  <a:cubicBezTo>
                    <a:pt x="2263" y="4424"/>
                    <a:pt x="2917" y="3770"/>
                    <a:pt x="2917" y="2966"/>
                  </a:cubicBezTo>
                  <a:lnTo>
                    <a:pt x="2917" y="2681"/>
                  </a:lnTo>
                  <a:lnTo>
                    <a:pt x="3483" y="2681"/>
                  </a:lnTo>
                  <a:lnTo>
                    <a:pt x="3483" y="2966"/>
                  </a:lnTo>
                  <a:cubicBezTo>
                    <a:pt x="3483" y="3770"/>
                    <a:pt x="4137" y="4424"/>
                    <a:pt x="4942" y="4424"/>
                  </a:cubicBezTo>
                  <a:cubicBezTo>
                    <a:pt x="5746" y="4424"/>
                    <a:pt x="6400" y="3770"/>
                    <a:pt x="6400" y="2966"/>
                  </a:cubicBezTo>
                  <a:cubicBezTo>
                    <a:pt x="6400" y="2735"/>
                    <a:pt x="6346" y="2517"/>
                    <a:pt x="6250" y="2323"/>
                  </a:cubicBezTo>
                  <a:close/>
                  <a:moveTo>
                    <a:pt x="2703" y="550"/>
                  </a:moveTo>
                  <a:cubicBezTo>
                    <a:pt x="2604" y="428"/>
                    <a:pt x="2476" y="332"/>
                    <a:pt x="2329" y="271"/>
                  </a:cubicBezTo>
                  <a:cubicBezTo>
                    <a:pt x="2369" y="234"/>
                    <a:pt x="2422" y="214"/>
                    <a:pt x="2478" y="214"/>
                  </a:cubicBezTo>
                  <a:cubicBezTo>
                    <a:pt x="2602" y="214"/>
                    <a:pt x="2703" y="314"/>
                    <a:pt x="2703" y="438"/>
                  </a:cubicBezTo>
                  <a:lnTo>
                    <a:pt x="2703" y="550"/>
                  </a:lnTo>
                  <a:close/>
                  <a:moveTo>
                    <a:pt x="1458" y="4210"/>
                  </a:moveTo>
                  <a:cubicBezTo>
                    <a:pt x="772" y="4210"/>
                    <a:pt x="214" y="3652"/>
                    <a:pt x="214" y="2966"/>
                  </a:cubicBezTo>
                  <a:cubicBezTo>
                    <a:pt x="214" y="2280"/>
                    <a:pt x="772" y="1722"/>
                    <a:pt x="1458" y="1722"/>
                  </a:cubicBezTo>
                  <a:cubicBezTo>
                    <a:pt x="2144" y="1722"/>
                    <a:pt x="2703" y="2280"/>
                    <a:pt x="2703" y="2966"/>
                  </a:cubicBezTo>
                  <a:cubicBezTo>
                    <a:pt x="2703" y="3652"/>
                    <a:pt x="2144" y="4210"/>
                    <a:pt x="1458" y="4210"/>
                  </a:cubicBezTo>
                  <a:close/>
                  <a:moveTo>
                    <a:pt x="2917" y="2056"/>
                  </a:moveTo>
                  <a:lnTo>
                    <a:pt x="2917" y="1419"/>
                  </a:lnTo>
                  <a:lnTo>
                    <a:pt x="3483" y="1419"/>
                  </a:lnTo>
                  <a:lnTo>
                    <a:pt x="3483" y="2056"/>
                  </a:lnTo>
                  <a:lnTo>
                    <a:pt x="2917" y="2056"/>
                  </a:lnTo>
                  <a:close/>
                  <a:moveTo>
                    <a:pt x="3483" y="2467"/>
                  </a:moveTo>
                  <a:lnTo>
                    <a:pt x="2917" y="2467"/>
                  </a:lnTo>
                  <a:lnTo>
                    <a:pt x="2917" y="2270"/>
                  </a:lnTo>
                  <a:lnTo>
                    <a:pt x="3483" y="2270"/>
                  </a:lnTo>
                  <a:lnTo>
                    <a:pt x="3483" y="2467"/>
                  </a:lnTo>
                  <a:close/>
                  <a:moveTo>
                    <a:pt x="3697" y="438"/>
                  </a:moveTo>
                  <a:cubicBezTo>
                    <a:pt x="3697" y="314"/>
                    <a:pt x="3798" y="214"/>
                    <a:pt x="3922" y="214"/>
                  </a:cubicBezTo>
                  <a:cubicBezTo>
                    <a:pt x="3978" y="214"/>
                    <a:pt x="4031" y="235"/>
                    <a:pt x="4071" y="271"/>
                  </a:cubicBezTo>
                  <a:cubicBezTo>
                    <a:pt x="3925" y="332"/>
                    <a:pt x="3796" y="428"/>
                    <a:pt x="3697" y="550"/>
                  </a:cubicBezTo>
                  <a:lnTo>
                    <a:pt x="3697" y="438"/>
                  </a:lnTo>
                  <a:close/>
                  <a:moveTo>
                    <a:pt x="3697" y="1150"/>
                  </a:moveTo>
                  <a:lnTo>
                    <a:pt x="3697" y="1150"/>
                  </a:lnTo>
                  <a:cubicBezTo>
                    <a:pt x="3697" y="743"/>
                    <a:pt x="4028" y="413"/>
                    <a:pt x="4435" y="413"/>
                  </a:cubicBezTo>
                  <a:cubicBezTo>
                    <a:pt x="4693" y="413"/>
                    <a:pt x="4928" y="544"/>
                    <a:pt x="5064" y="764"/>
                  </a:cubicBezTo>
                  <a:cubicBezTo>
                    <a:pt x="5077" y="785"/>
                    <a:pt x="5344" y="1234"/>
                    <a:pt x="5602" y="1666"/>
                  </a:cubicBezTo>
                  <a:cubicBezTo>
                    <a:pt x="5403" y="1565"/>
                    <a:pt x="5179" y="1508"/>
                    <a:pt x="4942" y="1508"/>
                  </a:cubicBezTo>
                  <a:cubicBezTo>
                    <a:pt x="4416" y="1508"/>
                    <a:pt x="3954" y="1787"/>
                    <a:pt x="3697" y="2206"/>
                  </a:cubicBezTo>
                  <a:lnTo>
                    <a:pt x="3697" y="1150"/>
                  </a:lnTo>
                  <a:close/>
                  <a:moveTo>
                    <a:pt x="4942" y="4210"/>
                  </a:moveTo>
                  <a:cubicBezTo>
                    <a:pt x="4256" y="4210"/>
                    <a:pt x="3697" y="3652"/>
                    <a:pt x="3697" y="2966"/>
                  </a:cubicBezTo>
                  <a:cubicBezTo>
                    <a:pt x="3697" y="2280"/>
                    <a:pt x="4256" y="1722"/>
                    <a:pt x="4942" y="1722"/>
                  </a:cubicBezTo>
                  <a:cubicBezTo>
                    <a:pt x="5628" y="1722"/>
                    <a:pt x="6186" y="2280"/>
                    <a:pt x="6186" y="2966"/>
                  </a:cubicBezTo>
                  <a:cubicBezTo>
                    <a:pt x="6186" y="3652"/>
                    <a:pt x="5628" y="4210"/>
                    <a:pt x="4942" y="421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1421">
              <a:extLst>
                <a:ext uri="{FF2B5EF4-FFF2-40B4-BE49-F238E27FC236}">
                  <a16:creationId xmlns:a16="http://schemas.microsoft.com/office/drawing/2014/main" id="{7A96E9C1-2B4E-4876-BEED-981E847D2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8" y="2268"/>
              <a:ext cx="54" cy="53"/>
            </a:xfrm>
            <a:custGeom>
              <a:avLst/>
              <a:gdLst>
                <a:gd name="T0" fmla="*/ 1937 w 1995"/>
                <a:gd name="T1" fmla="*/ 661 h 1996"/>
                <a:gd name="T2" fmla="*/ 1800 w 1995"/>
                <a:gd name="T3" fmla="*/ 596 h 1996"/>
                <a:gd name="T4" fmla="*/ 1735 w 1995"/>
                <a:gd name="T5" fmla="*/ 733 h 1996"/>
                <a:gd name="T6" fmla="*/ 1781 w 1995"/>
                <a:gd name="T7" fmla="*/ 998 h 1996"/>
                <a:gd name="T8" fmla="*/ 998 w 1995"/>
                <a:gd name="T9" fmla="*/ 1781 h 1996"/>
                <a:gd name="T10" fmla="*/ 214 w 1995"/>
                <a:gd name="T11" fmla="*/ 998 h 1996"/>
                <a:gd name="T12" fmla="*/ 998 w 1995"/>
                <a:gd name="T13" fmla="*/ 215 h 1996"/>
                <a:gd name="T14" fmla="*/ 1571 w 1995"/>
                <a:gd name="T15" fmla="*/ 464 h 1996"/>
                <a:gd name="T16" fmla="*/ 1723 w 1995"/>
                <a:gd name="T17" fmla="*/ 470 h 1996"/>
                <a:gd name="T18" fmla="*/ 1728 w 1995"/>
                <a:gd name="T19" fmla="*/ 319 h 1996"/>
                <a:gd name="T20" fmla="*/ 998 w 1995"/>
                <a:gd name="T21" fmla="*/ 0 h 1996"/>
                <a:gd name="T22" fmla="*/ 0 w 1995"/>
                <a:gd name="T23" fmla="*/ 998 h 1996"/>
                <a:gd name="T24" fmla="*/ 998 w 1995"/>
                <a:gd name="T25" fmla="*/ 1996 h 1996"/>
                <a:gd name="T26" fmla="*/ 1995 w 1995"/>
                <a:gd name="T27" fmla="*/ 998 h 1996"/>
                <a:gd name="T28" fmla="*/ 1937 w 1995"/>
                <a:gd name="T29" fmla="*/ 661 h 1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95" h="1996">
                  <a:moveTo>
                    <a:pt x="1937" y="661"/>
                  </a:moveTo>
                  <a:cubicBezTo>
                    <a:pt x="1917" y="605"/>
                    <a:pt x="1855" y="576"/>
                    <a:pt x="1800" y="596"/>
                  </a:cubicBezTo>
                  <a:cubicBezTo>
                    <a:pt x="1744" y="616"/>
                    <a:pt x="1715" y="677"/>
                    <a:pt x="1735" y="733"/>
                  </a:cubicBezTo>
                  <a:cubicBezTo>
                    <a:pt x="1766" y="818"/>
                    <a:pt x="1781" y="907"/>
                    <a:pt x="1781" y="998"/>
                  </a:cubicBezTo>
                  <a:cubicBezTo>
                    <a:pt x="1781" y="1430"/>
                    <a:pt x="1430" y="1781"/>
                    <a:pt x="998" y="1781"/>
                  </a:cubicBezTo>
                  <a:cubicBezTo>
                    <a:pt x="566" y="1781"/>
                    <a:pt x="214" y="1430"/>
                    <a:pt x="214" y="998"/>
                  </a:cubicBezTo>
                  <a:cubicBezTo>
                    <a:pt x="214" y="566"/>
                    <a:pt x="566" y="215"/>
                    <a:pt x="998" y="215"/>
                  </a:cubicBezTo>
                  <a:cubicBezTo>
                    <a:pt x="1214" y="215"/>
                    <a:pt x="1423" y="306"/>
                    <a:pt x="1571" y="464"/>
                  </a:cubicBezTo>
                  <a:cubicBezTo>
                    <a:pt x="1612" y="508"/>
                    <a:pt x="1679" y="510"/>
                    <a:pt x="1723" y="470"/>
                  </a:cubicBezTo>
                  <a:cubicBezTo>
                    <a:pt x="1766" y="430"/>
                    <a:pt x="1768" y="362"/>
                    <a:pt x="1728" y="319"/>
                  </a:cubicBezTo>
                  <a:cubicBezTo>
                    <a:pt x="1540" y="116"/>
                    <a:pt x="1274" y="0"/>
                    <a:pt x="998" y="0"/>
                  </a:cubicBezTo>
                  <a:cubicBezTo>
                    <a:pt x="447" y="0"/>
                    <a:pt x="0" y="448"/>
                    <a:pt x="0" y="998"/>
                  </a:cubicBezTo>
                  <a:cubicBezTo>
                    <a:pt x="0" y="1548"/>
                    <a:pt x="447" y="1996"/>
                    <a:pt x="998" y="1996"/>
                  </a:cubicBezTo>
                  <a:cubicBezTo>
                    <a:pt x="1548" y="1996"/>
                    <a:pt x="1995" y="1548"/>
                    <a:pt x="1995" y="998"/>
                  </a:cubicBezTo>
                  <a:cubicBezTo>
                    <a:pt x="1995" y="882"/>
                    <a:pt x="1975" y="769"/>
                    <a:pt x="1937" y="66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1422">
              <a:extLst>
                <a:ext uri="{FF2B5EF4-FFF2-40B4-BE49-F238E27FC236}">
                  <a16:creationId xmlns:a16="http://schemas.microsoft.com/office/drawing/2014/main" id="{C8C5A98A-159E-4C13-A994-143C92CA1B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4" y="2268"/>
              <a:ext cx="54" cy="53"/>
            </a:xfrm>
            <a:custGeom>
              <a:avLst/>
              <a:gdLst>
                <a:gd name="T0" fmla="*/ 997 w 1995"/>
                <a:gd name="T1" fmla="*/ 0 h 1996"/>
                <a:gd name="T2" fmla="*/ 0 w 1995"/>
                <a:gd name="T3" fmla="*/ 998 h 1996"/>
                <a:gd name="T4" fmla="*/ 997 w 1995"/>
                <a:gd name="T5" fmla="*/ 1996 h 1996"/>
                <a:gd name="T6" fmla="*/ 1995 w 1995"/>
                <a:gd name="T7" fmla="*/ 998 h 1996"/>
                <a:gd name="T8" fmla="*/ 997 w 1995"/>
                <a:gd name="T9" fmla="*/ 0 h 1996"/>
                <a:gd name="T10" fmla="*/ 997 w 1995"/>
                <a:gd name="T11" fmla="*/ 1781 h 1996"/>
                <a:gd name="T12" fmla="*/ 214 w 1995"/>
                <a:gd name="T13" fmla="*/ 998 h 1996"/>
                <a:gd name="T14" fmla="*/ 997 w 1995"/>
                <a:gd name="T15" fmla="*/ 215 h 1996"/>
                <a:gd name="T16" fmla="*/ 1781 w 1995"/>
                <a:gd name="T17" fmla="*/ 998 h 1996"/>
                <a:gd name="T18" fmla="*/ 997 w 1995"/>
                <a:gd name="T19" fmla="*/ 1781 h 1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95" h="1996">
                  <a:moveTo>
                    <a:pt x="997" y="0"/>
                  </a:moveTo>
                  <a:cubicBezTo>
                    <a:pt x="447" y="0"/>
                    <a:pt x="0" y="448"/>
                    <a:pt x="0" y="998"/>
                  </a:cubicBezTo>
                  <a:cubicBezTo>
                    <a:pt x="0" y="1548"/>
                    <a:pt x="447" y="1996"/>
                    <a:pt x="997" y="1996"/>
                  </a:cubicBezTo>
                  <a:cubicBezTo>
                    <a:pt x="1548" y="1996"/>
                    <a:pt x="1995" y="1548"/>
                    <a:pt x="1995" y="998"/>
                  </a:cubicBezTo>
                  <a:cubicBezTo>
                    <a:pt x="1995" y="448"/>
                    <a:pt x="1548" y="0"/>
                    <a:pt x="997" y="0"/>
                  </a:cubicBezTo>
                  <a:close/>
                  <a:moveTo>
                    <a:pt x="997" y="1781"/>
                  </a:moveTo>
                  <a:cubicBezTo>
                    <a:pt x="565" y="1781"/>
                    <a:pt x="214" y="1430"/>
                    <a:pt x="214" y="998"/>
                  </a:cubicBezTo>
                  <a:cubicBezTo>
                    <a:pt x="214" y="566"/>
                    <a:pt x="565" y="215"/>
                    <a:pt x="997" y="215"/>
                  </a:cubicBezTo>
                  <a:cubicBezTo>
                    <a:pt x="1429" y="215"/>
                    <a:pt x="1781" y="566"/>
                    <a:pt x="1781" y="998"/>
                  </a:cubicBezTo>
                  <a:cubicBezTo>
                    <a:pt x="1781" y="1430"/>
                    <a:pt x="1429" y="1781"/>
                    <a:pt x="997" y="178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4FCBAFF-0A64-4D05-86E3-168C78DF2ED3}"/>
              </a:ext>
            </a:extLst>
          </p:cNvPr>
          <p:cNvSpPr/>
          <p:nvPr/>
        </p:nvSpPr>
        <p:spPr>
          <a:xfrm>
            <a:off x="431998" y="4722286"/>
            <a:ext cx="2981723" cy="1745548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/>
          <a:lstStyle/>
          <a:p>
            <a:pPr>
              <a:spcAft>
                <a:spcPts val="600"/>
              </a:spcAft>
            </a:pPr>
            <a:r>
              <a:rPr lang="ru-RU" sz="1200" dirty="0">
                <a:solidFill>
                  <a:schemeClr val="tx2"/>
                </a:solidFill>
              </a:rPr>
              <a:t>Амалдаги </a:t>
            </a:r>
            <a:r>
              <a:rPr lang="ru-RU" sz="1200" dirty="0" err="1">
                <a:solidFill>
                  <a:schemeClr val="tx2"/>
                </a:solidFill>
              </a:rPr>
              <a:t>қонунчилик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халқаро </a:t>
            </a:r>
            <a:r>
              <a:rPr lang="ru-RU" sz="1200" dirty="0" err="1">
                <a:solidFill>
                  <a:schemeClr val="tx2"/>
                </a:solidFill>
              </a:rPr>
              <a:t>тавсияла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амалиётлар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увофиқ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авл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рганининг</a:t>
            </a:r>
            <a:r>
              <a:rPr lang="ru-RU" sz="1200" dirty="0">
                <a:solidFill>
                  <a:schemeClr val="tx2"/>
                </a:solidFill>
              </a:rPr>
              <a:t> ички </a:t>
            </a:r>
            <a:r>
              <a:rPr lang="ru-RU" sz="1200" dirty="0" err="1">
                <a:solidFill>
                  <a:schemeClr val="tx2"/>
                </a:solidFill>
              </a:rPr>
              <a:t>ҳужжатлари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ўзгартир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ирит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йич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клифла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ишлаб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чиқиш</a:t>
            </a:r>
            <a:r>
              <a:rPr lang="ru-RU" sz="1200" dirty="0">
                <a:solidFill>
                  <a:schemeClr val="tx2"/>
                </a:solidFill>
              </a:rPr>
              <a:t>.</a:t>
            </a: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D0B7F0DA-4F56-4AEA-938A-02AA31F0CD66}"/>
              </a:ext>
            </a:extLst>
          </p:cNvPr>
          <p:cNvGrpSpPr/>
          <p:nvPr/>
        </p:nvGrpSpPr>
        <p:grpSpPr>
          <a:xfrm>
            <a:off x="-2" y="4092359"/>
            <a:ext cx="3413724" cy="573322"/>
            <a:chOff x="-3" y="1138806"/>
            <a:chExt cx="9575803" cy="1463040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40F5A30F-9305-4FAB-8853-E73B8636553D}"/>
                </a:ext>
              </a:extLst>
            </p:cNvPr>
            <p:cNvSpPr/>
            <p:nvPr/>
          </p:nvSpPr>
          <p:spPr>
            <a:xfrm>
              <a:off x="-3" y="1138806"/>
              <a:ext cx="1282562" cy="1463040"/>
            </a:xfrm>
            <a:prstGeom prst="rect">
              <a:avLst/>
            </a:prstGeom>
            <a:solidFill>
              <a:srgbClr val="CDF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  <p:pic>
          <p:nvPicPr>
            <p:cNvPr id="87" name="Picture 86">
              <a:extLst>
                <a:ext uri="{FF2B5EF4-FFF2-40B4-BE49-F238E27FC236}">
                  <a16:creationId xmlns:a16="http://schemas.microsoft.com/office/drawing/2014/main" id="{6F4C3186-D7DD-457F-9F1D-5ADA286F1C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Blur radius="3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" t="25090" r="277" b="26127"/>
            <a:stretch/>
          </p:blipFill>
          <p:spPr>
            <a:xfrm>
              <a:off x="0" y="1138806"/>
              <a:ext cx="9575800" cy="1458253"/>
            </a:xfrm>
            <a:prstGeom prst="roundRect">
              <a:avLst>
                <a:gd name="adj" fmla="val 50000"/>
              </a:avLst>
            </a:prstGeom>
          </p:spPr>
        </p:pic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id="{C740BF29-C63C-401C-95DB-54B85FA4E112}"/>
              </a:ext>
            </a:extLst>
          </p:cNvPr>
          <p:cNvSpPr txBox="1"/>
          <p:nvPr/>
        </p:nvSpPr>
        <p:spPr>
          <a:xfrm>
            <a:off x="416561" y="4098929"/>
            <a:ext cx="1327179" cy="55475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Натижа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: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FC95CCC2-C268-4538-A180-D8B1E02E99FA}"/>
              </a:ext>
            </a:extLst>
          </p:cNvPr>
          <p:cNvGrpSpPr/>
          <p:nvPr/>
        </p:nvGrpSpPr>
        <p:grpSpPr>
          <a:xfrm rot="5400000">
            <a:off x="2870031" y="4202967"/>
            <a:ext cx="238043" cy="377590"/>
            <a:chOff x="3841139" y="1940745"/>
            <a:chExt cx="238043" cy="442712"/>
          </a:xfrm>
          <a:solidFill>
            <a:srgbClr val="1BD7D3"/>
          </a:solidFill>
        </p:grpSpPr>
        <p:sp>
          <p:nvSpPr>
            <p:cNvPr id="83" name="Arrow: Chevron 82">
              <a:extLst>
                <a:ext uri="{FF2B5EF4-FFF2-40B4-BE49-F238E27FC236}">
                  <a16:creationId xmlns:a16="http://schemas.microsoft.com/office/drawing/2014/main" id="{F8FD1A3F-6D49-4224-A18F-A3EE57BCE9D4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84" name="Arrow: Chevron 83">
              <a:extLst>
                <a:ext uri="{FF2B5EF4-FFF2-40B4-BE49-F238E27FC236}">
                  <a16:creationId xmlns:a16="http://schemas.microsoft.com/office/drawing/2014/main" id="{16402572-ECB8-4A5A-8131-A6AB939BF6F8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38" name="Picture 2" descr="https://w7.pngwing.com/pngs/564/452/png-transparent-flag-of-uzbekistan-emoji-flag-of-albania-emoji-flag-text-logo.png">
            <a:extLst>
              <a:ext uri="{FF2B5EF4-FFF2-40B4-BE49-F238E27FC236}">
                <a16:creationId xmlns:a16="http://schemas.microsoft.com/office/drawing/2014/main" id="{FE7D10BD-637C-4B9E-9489-56DB6CC12DB0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93" t="2618" r="24782" b="2590"/>
          <a:stretch/>
        </p:blipFill>
        <p:spPr bwMode="auto">
          <a:xfrm>
            <a:off x="10811994" y="624763"/>
            <a:ext cx="612000" cy="612000"/>
          </a:xfrm>
          <a:prstGeom prst="flowChartConnector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11878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082845-02AE-4806-BA56-DABB2FCE7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</a:t>
            </a:r>
            <a:r>
              <a:rPr lang="ru-RU" dirty="0"/>
              <a:t> </a:t>
            </a:r>
            <a:r>
              <a:rPr lang="ru-RU" dirty="0" err="1"/>
              <a:t>тизимини</a:t>
            </a:r>
            <a:r>
              <a:rPr lang="ru-RU" dirty="0"/>
              <a:t> мониторинг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назорат</a:t>
            </a:r>
            <a:r>
              <a:rPr lang="ru-RU" dirty="0"/>
              <a:t> </a:t>
            </a:r>
            <a:r>
              <a:rPr lang="ru-RU" dirty="0" err="1"/>
              <a:t>қилиш</a:t>
            </a:r>
            <a:r>
              <a:rPr lang="ru-RU" dirty="0"/>
              <a:t>: Ўзбекистон </a:t>
            </a:r>
            <a:r>
              <a:rPr lang="ru-RU" dirty="0" err="1"/>
              <a:t>Республикасида</a:t>
            </a:r>
            <a:r>
              <a:rPr lang="ru-RU" dirty="0"/>
              <a:t> </a:t>
            </a:r>
            <a:r>
              <a:rPr lang="ru-RU" dirty="0" err="1"/>
              <a:t>амалга</a:t>
            </a:r>
            <a:r>
              <a:rPr lang="ru-RU" dirty="0"/>
              <a:t> </a:t>
            </a:r>
            <a:r>
              <a:rPr lang="ru-RU" dirty="0" err="1"/>
              <a:t>ошириш</a:t>
            </a:r>
            <a:r>
              <a:rPr lang="ru-RU" dirty="0"/>
              <a:t> </a:t>
            </a:r>
            <a:r>
              <a:rPr lang="ru-RU" dirty="0" err="1"/>
              <a:t>амалиёти</a:t>
            </a:r>
            <a:r>
              <a:rPr lang="ru-RU" dirty="0"/>
              <a:t> (3/8)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C93C54D-FE31-4B25-8845-F358D6882DD5}"/>
              </a:ext>
            </a:extLst>
          </p:cNvPr>
          <p:cNvGrpSpPr/>
          <p:nvPr/>
        </p:nvGrpSpPr>
        <p:grpSpPr>
          <a:xfrm>
            <a:off x="443080" y="1282696"/>
            <a:ext cx="11306008" cy="736607"/>
            <a:chOff x="3784798" y="1289128"/>
            <a:chExt cx="7964290" cy="440386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E2E251FB-C3CC-407A-846F-741E97370781}"/>
                </a:ext>
              </a:extLst>
            </p:cNvPr>
            <p:cNvSpPr/>
            <p:nvPr/>
          </p:nvSpPr>
          <p:spPr>
            <a:xfrm>
              <a:off x="3921193" y="1348907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B8C5D365-0FCB-4A47-822F-DB99911A40F5}"/>
                </a:ext>
              </a:extLst>
            </p:cNvPr>
            <p:cNvSpPr/>
            <p:nvPr/>
          </p:nvSpPr>
          <p:spPr>
            <a:xfrm>
              <a:off x="3784798" y="1289128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ррупцияга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арш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ураши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масалалар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ўйич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Ўзбекистон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Республикас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онунчилиг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ҳокимият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органларининг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авсиялар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мониторинги</a:t>
              </a:r>
            </a:p>
          </p:txBody>
        </p:sp>
      </p:grpSp>
      <p:sp>
        <p:nvSpPr>
          <p:cNvPr id="14" name="object 15">
            <a:extLst>
              <a:ext uri="{FF2B5EF4-FFF2-40B4-BE49-F238E27FC236}">
                <a16:creationId xmlns:a16="http://schemas.microsoft.com/office/drawing/2014/main" id="{777025B8-3C2D-457D-B7B8-864BFB6D2C6C}"/>
              </a:ext>
            </a:extLst>
          </p:cNvPr>
          <p:cNvSpPr txBox="1"/>
          <p:nvPr/>
        </p:nvSpPr>
        <p:spPr>
          <a:xfrm>
            <a:off x="1271993" y="2119292"/>
            <a:ext cx="2141729" cy="671618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Масъул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шахс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 </a:t>
            </a:r>
          </a:p>
          <a:p>
            <a:pPr marL="10319">
              <a:spcAft>
                <a:spcPts val="600"/>
              </a:spcAft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Комплаенс-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инм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/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Юридик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им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5" name="object 12">
            <a:extLst>
              <a:ext uri="{FF2B5EF4-FFF2-40B4-BE49-F238E27FC236}">
                <a16:creationId xmlns:a16="http://schemas.microsoft.com/office/drawing/2014/main" id="{3E429C32-C0D6-473B-A4AE-C42FFE135B04}"/>
              </a:ext>
            </a:extLst>
          </p:cNvPr>
          <p:cNvSpPr/>
          <p:nvPr/>
        </p:nvSpPr>
        <p:spPr>
          <a:xfrm>
            <a:off x="456832" y="207111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15">
            <a:extLst>
              <a:ext uri="{FF2B5EF4-FFF2-40B4-BE49-F238E27FC236}">
                <a16:creationId xmlns:a16="http://schemas.microsoft.com/office/drawing/2014/main" id="{4A0DD612-0F6C-4765-93C7-6787D9B6FEBE}"/>
              </a:ext>
            </a:extLst>
          </p:cNvPr>
          <p:cNvSpPr txBox="1"/>
          <p:nvPr/>
        </p:nvSpPr>
        <p:spPr>
          <a:xfrm>
            <a:off x="1271993" y="3056941"/>
            <a:ext cx="2141730" cy="48695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Даврийлик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 </a:t>
            </a:r>
          </a:p>
          <a:p>
            <a:pPr marL="10319">
              <a:spcAft>
                <a:spcPts val="600"/>
              </a:spcAft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унтазам</a:t>
            </a:r>
            <a:endParaRPr lang="ru-RU"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7" name="object 12">
            <a:extLst>
              <a:ext uri="{FF2B5EF4-FFF2-40B4-BE49-F238E27FC236}">
                <a16:creationId xmlns:a16="http://schemas.microsoft.com/office/drawing/2014/main" id="{3B2258B3-6493-42E5-933A-41823FC77569}"/>
              </a:ext>
            </a:extLst>
          </p:cNvPr>
          <p:cNvSpPr/>
          <p:nvPr/>
        </p:nvSpPr>
        <p:spPr>
          <a:xfrm>
            <a:off x="456832" y="298810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8" name="Group 379">
            <a:extLst>
              <a:ext uri="{FF2B5EF4-FFF2-40B4-BE49-F238E27FC236}">
                <a16:creationId xmlns:a16="http://schemas.microsoft.com/office/drawing/2014/main" id="{F302D5B1-0B93-4772-BF28-8850EA258E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3080" y="3070945"/>
            <a:ext cx="590071" cy="596415"/>
            <a:chOff x="1156" y="3368"/>
            <a:chExt cx="279" cy="282"/>
          </a:xfrm>
          <a:solidFill>
            <a:schemeClr val="bg2">
              <a:lumMod val="25000"/>
            </a:schemeClr>
          </a:solidFill>
        </p:grpSpPr>
        <p:sp>
          <p:nvSpPr>
            <p:cNvPr id="19" name="Freeform 380">
              <a:extLst>
                <a:ext uri="{FF2B5EF4-FFF2-40B4-BE49-F238E27FC236}">
                  <a16:creationId xmlns:a16="http://schemas.microsoft.com/office/drawing/2014/main" id="{DAE278FF-7014-46C7-9682-2B0A14C9EE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69" y="3516"/>
              <a:ext cx="96" cy="93"/>
            </a:xfrm>
            <a:custGeom>
              <a:avLst/>
              <a:gdLst>
                <a:gd name="T0" fmla="*/ 2440 w 2899"/>
                <a:gd name="T1" fmla="*/ 437 h 2811"/>
                <a:gd name="T2" fmla="*/ 2262 w 2899"/>
                <a:gd name="T3" fmla="*/ 444 h 2811"/>
                <a:gd name="T4" fmla="*/ 2269 w 2899"/>
                <a:gd name="T5" fmla="*/ 621 h 2811"/>
                <a:gd name="T6" fmla="*/ 2341 w 2899"/>
                <a:gd name="T7" fmla="*/ 693 h 2811"/>
                <a:gd name="T8" fmla="*/ 2631 w 2899"/>
                <a:gd name="T9" fmla="*/ 1496 h 2811"/>
                <a:gd name="T10" fmla="*/ 2269 w 2899"/>
                <a:gd name="T11" fmla="*/ 2269 h 2811"/>
                <a:gd name="T12" fmla="*/ 694 w 2899"/>
                <a:gd name="T13" fmla="*/ 2197 h 2811"/>
                <a:gd name="T14" fmla="*/ 765 w 2899"/>
                <a:gd name="T15" fmla="*/ 622 h 2811"/>
                <a:gd name="T16" fmla="*/ 1835 w 2899"/>
                <a:gd name="T17" fmla="*/ 376 h 2811"/>
                <a:gd name="T18" fmla="*/ 1991 w 2899"/>
                <a:gd name="T19" fmla="*/ 292 h 2811"/>
                <a:gd name="T20" fmla="*/ 1906 w 2899"/>
                <a:gd name="T21" fmla="*/ 135 h 2811"/>
                <a:gd name="T22" fmla="*/ 596 w 2899"/>
                <a:gd name="T23" fmla="*/ 436 h 2811"/>
                <a:gd name="T24" fmla="*/ 508 w 2899"/>
                <a:gd name="T25" fmla="*/ 2366 h 2811"/>
                <a:gd name="T26" fmla="*/ 1518 w 2899"/>
                <a:gd name="T27" fmla="*/ 2811 h 2811"/>
                <a:gd name="T28" fmla="*/ 2439 w 2899"/>
                <a:gd name="T29" fmla="*/ 2454 h 2811"/>
                <a:gd name="T30" fmla="*/ 2882 w 2899"/>
                <a:gd name="T31" fmla="*/ 1507 h 2811"/>
                <a:gd name="T32" fmla="*/ 2526 w 2899"/>
                <a:gd name="T33" fmla="*/ 523 h 2811"/>
                <a:gd name="T34" fmla="*/ 2440 w 2899"/>
                <a:gd name="T35" fmla="*/ 437 h 2811"/>
                <a:gd name="T36" fmla="*/ 2440 w 2899"/>
                <a:gd name="T37" fmla="*/ 437 h 2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99" h="2811">
                  <a:moveTo>
                    <a:pt x="2440" y="437"/>
                  </a:moveTo>
                  <a:cubicBezTo>
                    <a:pt x="2389" y="390"/>
                    <a:pt x="2310" y="393"/>
                    <a:pt x="2262" y="444"/>
                  </a:cubicBezTo>
                  <a:cubicBezTo>
                    <a:pt x="2215" y="494"/>
                    <a:pt x="2218" y="574"/>
                    <a:pt x="2269" y="621"/>
                  </a:cubicBezTo>
                  <a:cubicBezTo>
                    <a:pt x="2294" y="645"/>
                    <a:pt x="2318" y="669"/>
                    <a:pt x="2341" y="693"/>
                  </a:cubicBezTo>
                  <a:cubicBezTo>
                    <a:pt x="2541" y="913"/>
                    <a:pt x="2645" y="1198"/>
                    <a:pt x="2631" y="1496"/>
                  </a:cubicBezTo>
                  <a:cubicBezTo>
                    <a:pt x="2618" y="1793"/>
                    <a:pt x="2489" y="2068"/>
                    <a:pt x="2269" y="2269"/>
                  </a:cubicBezTo>
                  <a:cubicBezTo>
                    <a:pt x="1815" y="2683"/>
                    <a:pt x="1108" y="2651"/>
                    <a:pt x="694" y="2197"/>
                  </a:cubicBezTo>
                  <a:cubicBezTo>
                    <a:pt x="279" y="1743"/>
                    <a:pt x="311" y="1037"/>
                    <a:pt x="765" y="622"/>
                  </a:cubicBezTo>
                  <a:cubicBezTo>
                    <a:pt x="1057" y="356"/>
                    <a:pt x="1456" y="264"/>
                    <a:pt x="1835" y="376"/>
                  </a:cubicBezTo>
                  <a:cubicBezTo>
                    <a:pt x="1901" y="396"/>
                    <a:pt x="1971" y="358"/>
                    <a:pt x="1991" y="292"/>
                  </a:cubicBezTo>
                  <a:cubicBezTo>
                    <a:pt x="2011" y="225"/>
                    <a:pt x="1973" y="155"/>
                    <a:pt x="1906" y="135"/>
                  </a:cubicBezTo>
                  <a:cubicBezTo>
                    <a:pt x="1450" y="0"/>
                    <a:pt x="947" y="115"/>
                    <a:pt x="596" y="436"/>
                  </a:cubicBezTo>
                  <a:cubicBezTo>
                    <a:pt x="39" y="944"/>
                    <a:pt x="0" y="1811"/>
                    <a:pt x="508" y="2366"/>
                  </a:cubicBezTo>
                  <a:cubicBezTo>
                    <a:pt x="777" y="2661"/>
                    <a:pt x="1147" y="2811"/>
                    <a:pt x="1518" y="2811"/>
                  </a:cubicBezTo>
                  <a:cubicBezTo>
                    <a:pt x="1847" y="2811"/>
                    <a:pt x="2177" y="2693"/>
                    <a:pt x="2439" y="2454"/>
                  </a:cubicBezTo>
                  <a:cubicBezTo>
                    <a:pt x="2708" y="2208"/>
                    <a:pt x="2866" y="1872"/>
                    <a:pt x="2882" y="1507"/>
                  </a:cubicBezTo>
                  <a:cubicBezTo>
                    <a:pt x="2899" y="1143"/>
                    <a:pt x="2772" y="793"/>
                    <a:pt x="2526" y="523"/>
                  </a:cubicBezTo>
                  <a:cubicBezTo>
                    <a:pt x="2498" y="493"/>
                    <a:pt x="2470" y="465"/>
                    <a:pt x="2440" y="437"/>
                  </a:cubicBezTo>
                  <a:close/>
                  <a:moveTo>
                    <a:pt x="2440" y="437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381">
              <a:extLst>
                <a:ext uri="{FF2B5EF4-FFF2-40B4-BE49-F238E27FC236}">
                  <a16:creationId xmlns:a16="http://schemas.microsoft.com/office/drawing/2014/main" id="{2E2EB9D5-DCA4-46A1-A298-D7F0320C8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5" y="3452"/>
              <a:ext cx="49" cy="49"/>
            </a:xfrm>
            <a:custGeom>
              <a:avLst/>
              <a:gdLst>
                <a:gd name="T0" fmla="*/ 882 w 1469"/>
                <a:gd name="T1" fmla="*/ 15 h 1469"/>
                <a:gd name="T2" fmla="*/ 734 w 1469"/>
                <a:gd name="T3" fmla="*/ 0 h 1469"/>
                <a:gd name="T4" fmla="*/ 586 w 1469"/>
                <a:gd name="T5" fmla="*/ 15 h 1469"/>
                <a:gd name="T6" fmla="*/ 0 w 1469"/>
                <a:gd name="T7" fmla="*/ 735 h 1469"/>
                <a:gd name="T8" fmla="*/ 734 w 1469"/>
                <a:gd name="T9" fmla="*/ 1469 h 1469"/>
                <a:gd name="T10" fmla="*/ 1469 w 1469"/>
                <a:gd name="T11" fmla="*/ 735 h 1469"/>
                <a:gd name="T12" fmla="*/ 882 w 1469"/>
                <a:gd name="T13" fmla="*/ 15 h 1469"/>
                <a:gd name="T14" fmla="*/ 734 w 1469"/>
                <a:gd name="T15" fmla="*/ 1218 h 1469"/>
                <a:gd name="T16" fmla="*/ 252 w 1469"/>
                <a:gd name="T17" fmla="*/ 735 h 1469"/>
                <a:gd name="T18" fmla="*/ 734 w 1469"/>
                <a:gd name="T19" fmla="*/ 252 h 1469"/>
                <a:gd name="T20" fmla="*/ 1217 w 1469"/>
                <a:gd name="T21" fmla="*/ 735 h 1469"/>
                <a:gd name="T22" fmla="*/ 734 w 1469"/>
                <a:gd name="T23" fmla="*/ 1218 h 1469"/>
                <a:gd name="T24" fmla="*/ 734 w 1469"/>
                <a:gd name="T25" fmla="*/ 1218 h 1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69" h="1469">
                  <a:moveTo>
                    <a:pt x="882" y="15"/>
                  </a:moveTo>
                  <a:cubicBezTo>
                    <a:pt x="834" y="6"/>
                    <a:pt x="785" y="0"/>
                    <a:pt x="734" y="0"/>
                  </a:cubicBezTo>
                  <a:cubicBezTo>
                    <a:pt x="684" y="0"/>
                    <a:pt x="634" y="6"/>
                    <a:pt x="586" y="15"/>
                  </a:cubicBezTo>
                  <a:cubicBezTo>
                    <a:pt x="252" y="84"/>
                    <a:pt x="0" y="380"/>
                    <a:pt x="0" y="735"/>
                  </a:cubicBezTo>
                  <a:cubicBezTo>
                    <a:pt x="0" y="1140"/>
                    <a:pt x="329" y="1469"/>
                    <a:pt x="734" y="1469"/>
                  </a:cubicBezTo>
                  <a:cubicBezTo>
                    <a:pt x="1139" y="1469"/>
                    <a:pt x="1469" y="1140"/>
                    <a:pt x="1469" y="735"/>
                  </a:cubicBezTo>
                  <a:cubicBezTo>
                    <a:pt x="1469" y="380"/>
                    <a:pt x="1217" y="84"/>
                    <a:pt x="882" y="15"/>
                  </a:cubicBezTo>
                  <a:close/>
                  <a:moveTo>
                    <a:pt x="734" y="1218"/>
                  </a:moveTo>
                  <a:cubicBezTo>
                    <a:pt x="468" y="1218"/>
                    <a:pt x="252" y="1001"/>
                    <a:pt x="252" y="735"/>
                  </a:cubicBezTo>
                  <a:cubicBezTo>
                    <a:pt x="252" y="468"/>
                    <a:pt x="468" y="252"/>
                    <a:pt x="734" y="252"/>
                  </a:cubicBezTo>
                  <a:cubicBezTo>
                    <a:pt x="1001" y="252"/>
                    <a:pt x="1217" y="468"/>
                    <a:pt x="1217" y="735"/>
                  </a:cubicBezTo>
                  <a:cubicBezTo>
                    <a:pt x="1217" y="1001"/>
                    <a:pt x="1001" y="1218"/>
                    <a:pt x="734" y="1218"/>
                  </a:cubicBezTo>
                  <a:close/>
                  <a:moveTo>
                    <a:pt x="734" y="121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82">
              <a:extLst>
                <a:ext uri="{FF2B5EF4-FFF2-40B4-BE49-F238E27FC236}">
                  <a16:creationId xmlns:a16="http://schemas.microsoft.com/office/drawing/2014/main" id="{BD5D9A50-98C6-4049-A2F3-4344A7C5F9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6" y="3368"/>
              <a:ext cx="279" cy="282"/>
            </a:xfrm>
            <a:custGeom>
              <a:avLst/>
              <a:gdLst>
                <a:gd name="T0" fmla="*/ 7982 w 8433"/>
                <a:gd name="T1" fmla="*/ 1329 h 8517"/>
                <a:gd name="T2" fmla="*/ 6247 w 8433"/>
                <a:gd name="T3" fmla="*/ 251 h 8517"/>
                <a:gd name="T4" fmla="*/ 6247 w 8433"/>
                <a:gd name="T5" fmla="*/ 0 h 8517"/>
                <a:gd name="T6" fmla="*/ 3586 w 8433"/>
                <a:gd name="T7" fmla="*/ 1250 h 8517"/>
                <a:gd name="T8" fmla="*/ 2858 w 8433"/>
                <a:gd name="T9" fmla="*/ 733 h 8517"/>
                <a:gd name="T10" fmla="*/ 1598 w 8433"/>
                <a:gd name="T11" fmla="*/ 1359 h 8517"/>
                <a:gd name="T12" fmla="*/ 409 w 8433"/>
                <a:gd name="T13" fmla="*/ 1962 h 8517"/>
                <a:gd name="T14" fmla="*/ 367 w 8433"/>
                <a:gd name="T15" fmla="*/ 2583 h 8517"/>
                <a:gd name="T16" fmla="*/ 551 w 8433"/>
                <a:gd name="T17" fmla="*/ 3958 h 8517"/>
                <a:gd name="T18" fmla="*/ 516 w 8433"/>
                <a:gd name="T19" fmla="*/ 4839 h 8517"/>
                <a:gd name="T20" fmla="*/ 1850 w 8433"/>
                <a:gd name="T21" fmla="*/ 5256 h 8517"/>
                <a:gd name="T22" fmla="*/ 2324 w 8433"/>
                <a:gd name="T23" fmla="*/ 6117 h 8517"/>
                <a:gd name="T24" fmla="*/ 2951 w 8433"/>
                <a:gd name="T25" fmla="*/ 6767 h 8517"/>
                <a:gd name="T26" fmla="*/ 3237 w 8433"/>
                <a:gd name="T27" fmla="*/ 7901 h 8517"/>
                <a:gd name="T28" fmla="*/ 4132 w 8433"/>
                <a:gd name="T29" fmla="*/ 8097 h 8517"/>
                <a:gd name="T30" fmla="*/ 5413 w 8433"/>
                <a:gd name="T31" fmla="*/ 8419 h 8517"/>
                <a:gd name="T32" fmla="*/ 5916 w 8433"/>
                <a:gd name="T33" fmla="*/ 8022 h 8517"/>
                <a:gd name="T34" fmla="*/ 7049 w 8433"/>
                <a:gd name="T35" fmla="*/ 7345 h 8517"/>
                <a:gd name="T36" fmla="*/ 7124 w 8433"/>
                <a:gd name="T37" fmla="*/ 6708 h 8517"/>
                <a:gd name="T38" fmla="*/ 7188 w 8433"/>
                <a:gd name="T39" fmla="*/ 5307 h 8517"/>
                <a:gd name="T40" fmla="*/ 7074 w 8433"/>
                <a:gd name="T41" fmla="*/ 4397 h 8517"/>
                <a:gd name="T42" fmla="*/ 2350 w 8433"/>
                <a:gd name="T43" fmla="*/ 5557 h 8517"/>
                <a:gd name="T44" fmla="*/ 2012 w 8433"/>
                <a:gd name="T45" fmla="*/ 5045 h 8517"/>
                <a:gd name="T46" fmla="*/ 1147 w 8433"/>
                <a:gd name="T47" fmla="*/ 5114 h 8517"/>
                <a:gd name="T48" fmla="*/ 890 w 8433"/>
                <a:gd name="T49" fmla="*/ 4300 h 8517"/>
                <a:gd name="T50" fmla="*/ 367 w 8433"/>
                <a:gd name="T51" fmla="*/ 3707 h 8517"/>
                <a:gd name="T52" fmla="*/ 633 w 8433"/>
                <a:gd name="T53" fmla="*/ 2835 h 8517"/>
                <a:gd name="T54" fmla="*/ 694 w 8433"/>
                <a:gd name="T55" fmla="*/ 2044 h 8517"/>
                <a:gd name="T56" fmla="*/ 1311 w 8433"/>
                <a:gd name="T57" fmla="*/ 1427 h 8517"/>
                <a:gd name="T58" fmla="*/ 2101 w 8433"/>
                <a:gd name="T59" fmla="*/ 1342 h 8517"/>
                <a:gd name="T60" fmla="*/ 2974 w 8433"/>
                <a:gd name="T61" fmla="*/ 1100 h 8517"/>
                <a:gd name="T62" fmla="*/ 3602 w 8433"/>
                <a:gd name="T63" fmla="*/ 1590 h 8517"/>
                <a:gd name="T64" fmla="*/ 4132 w 8433"/>
                <a:gd name="T65" fmla="*/ 1632 h 8517"/>
                <a:gd name="T66" fmla="*/ 4328 w 8433"/>
                <a:gd name="T67" fmla="*/ 3795 h 8517"/>
                <a:gd name="T68" fmla="*/ 3874 w 8433"/>
                <a:gd name="T69" fmla="*/ 3271 h 8517"/>
                <a:gd name="T70" fmla="*/ 2830 w 8433"/>
                <a:gd name="T71" fmla="*/ 4575 h 8517"/>
                <a:gd name="T72" fmla="*/ 2743 w 8433"/>
                <a:gd name="T73" fmla="*/ 5104 h 8517"/>
                <a:gd name="T74" fmla="*/ 3535 w 8433"/>
                <a:gd name="T75" fmla="*/ 3697 h 8517"/>
                <a:gd name="T76" fmla="*/ 2537 w 8433"/>
                <a:gd name="T77" fmla="*/ 4356 h 8517"/>
                <a:gd name="T78" fmla="*/ 7177 w 8433"/>
                <a:gd name="T79" fmla="*/ 5558 h 8517"/>
                <a:gd name="T80" fmla="*/ 7136 w 8433"/>
                <a:gd name="T81" fmla="*/ 6457 h 8517"/>
                <a:gd name="T82" fmla="*/ 6583 w 8433"/>
                <a:gd name="T83" fmla="*/ 7045 h 8517"/>
                <a:gd name="T84" fmla="*/ 6273 w 8433"/>
                <a:gd name="T85" fmla="*/ 7861 h 8517"/>
                <a:gd name="T86" fmla="*/ 5764 w 8433"/>
                <a:gd name="T87" fmla="*/ 7615 h 8517"/>
                <a:gd name="T88" fmla="*/ 5243 w 8433"/>
                <a:gd name="T89" fmla="*/ 8233 h 8517"/>
                <a:gd name="T90" fmla="*/ 4396 w 8433"/>
                <a:gd name="T91" fmla="*/ 7824 h 8517"/>
                <a:gd name="T92" fmla="*/ 3595 w 8433"/>
                <a:gd name="T93" fmla="*/ 7739 h 8517"/>
                <a:gd name="T94" fmla="*/ 2987 w 8433"/>
                <a:gd name="T95" fmla="*/ 7074 h 8517"/>
                <a:gd name="T96" fmla="*/ 2959 w 8433"/>
                <a:gd name="T97" fmla="*/ 6267 h 8517"/>
                <a:gd name="T98" fmla="*/ 2605 w 8433"/>
                <a:gd name="T99" fmla="*/ 5472 h 8517"/>
                <a:gd name="T100" fmla="*/ 3110 w 8433"/>
                <a:gd name="T101" fmla="*/ 5281 h 8517"/>
                <a:gd name="T102" fmla="*/ 3070 w 8433"/>
                <a:gd name="T103" fmla="*/ 4479 h 8517"/>
                <a:gd name="T104" fmla="*/ 3766 w 8433"/>
                <a:gd name="T105" fmla="*/ 3960 h 8517"/>
                <a:gd name="T106" fmla="*/ 4575 w 8433"/>
                <a:gd name="T107" fmla="*/ 3899 h 8517"/>
                <a:gd name="T108" fmla="*/ 6646 w 8433"/>
                <a:gd name="T109" fmla="*/ 4336 h 8517"/>
                <a:gd name="T110" fmla="*/ 6697 w 8433"/>
                <a:gd name="T111" fmla="*/ 4906 h 8517"/>
                <a:gd name="T112" fmla="*/ 7177 w 8433"/>
                <a:gd name="T113" fmla="*/ 5558 h 8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433" h="8517">
                  <a:moveTo>
                    <a:pt x="8433" y="2186"/>
                  </a:moveTo>
                  <a:cubicBezTo>
                    <a:pt x="8433" y="1847"/>
                    <a:pt x="8357" y="1521"/>
                    <a:pt x="8207" y="1217"/>
                  </a:cubicBezTo>
                  <a:cubicBezTo>
                    <a:pt x="8177" y="1155"/>
                    <a:pt x="8101" y="1130"/>
                    <a:pt x="8039" y="1160"/>
                  </a:cubicBezTo>
                  <a:cubicBezTo>
                    <a:pt x="7977" y="1191"/>
                    <a:pt x="7951" y="1267"/>
                    <a:pt x="7982" y="1329"/>
                  </a:cubicBezTo>
                  <a:cubicBezTo>
                    <a:pt x="8115" y="1597"/>
                    <a:pt x="8182" y="1886"/>
                    <a:pt x="8182" y="2186"/>
                  </a:cubicBezTo>
                  <a:cubicBezTo>
                    <a:pt x="8182" y="3253"/>
                    <a:pt x="7314" y="4121"/>
                    <a:pt x="6247" y="4121"/>
                  </a:cubicBezTo>
                  <a:cubicBezTo>
                    <a:pt x="5180" y="4121"/>
                    <a:pt x="4312" y="3253"/>
                    <a:pt x="4312" y="2186"/>
                  </a:cubicBezTo>
                  <a:cubicBezTo>
                    <a:pt x="4312" y="1119"/>
                    <a:pt x="5180" y="251"/>
                    <a:pt x="6247" y="251"/>
                  </a:cubicBezTo>
                  <a:cubicBezTo>
                    <a:pt x="6781" y="251"/>
                    <a:pt x="7297" y="475"/>
                    <a:pt x="7661" y="866"/>
                  </a:cubicBezTo>
                  <a:cubicBezTo>
                    <a:pt x="7709" y="917"/>
                    <a:pt x="7788" y="919"/>
                    <a:pt x="7839" y="872"/>
                  </a:cubicBezTo>
                  <a:cubicBezTo>
                    <a:pt x="7890" y="825"/>
                    <a:pt x="7892" y="745"/>
                    <a:pt x="7845" y="694"/>
                  </a:cubicBezTo>
                  <a:cubicBezTo>
                    <a:pt x="7433" y="253"/>
                    <a:pt x="6851" y="0"/>
                    <a:pt x="6247" y="0"/>
                  </a:cubicBezTo>
                  <a:cubicBezTo>
                    <a:pt x="5332" y="0"/>
                    <a:pt x="4546" y="565"/>
                    <a:pt x="4221" y="1365"/>
                  </a:cubicBezTo>
                  <a:lnTo>
                    <a:pt x="4105" y="1249"/>
                  </a:lnTo>
                  <a:cubicBezTo>
                    <a:pt x="4036" y="1180"/>
                    <a:pt x="3944" y="1142"/>
                    <a:pt x="3846" y="1142"/>
                  </a:cubicBezTo>
                  <a:cubicBezTo>
                    <a:pt x="3747" y="1142"/>
                    <a:pt x="3655" y="1180"/>
                    <a:pt x="3586" y="1250"/>
                  </a:cubicBezTo>
                  <a:lnTo>
                    <a:pt x="3489" y="1347"/>
                  </a:lnTo>
                  <a:cubicBezTo>
                    <a:pt x="3404" y="1305"/>
                    <a:pt x="3316" y="1269"/>
                    <a:pt x="3225" y="1239"/>
                  </a:cubicBezTo>
                  <a:lnTo>
                    <a:pt x="3225" y="1100"/>
                  </a:lnTo>
                  <a:cubicBezTo>
                    <a:pt x="3225" y="898"/>
                    <a:pt x="3060" y="733"/>
                    <a:pt x="2858" y="733"/>
                  </a:cubicBezTo>
                  <a:lnTo>
                    <a:pt x="2217" y="733"/>
                  </a:lnTo>
                  <a:cubicBezTo>
                    <a:pt x="2015" y="733"/>
                    <a:pt x="1850" y="898"/>
                    <a:pt x="1850" y="1100"/>
                  </a:cubicBezTo>
                  <a:lnTo>
                    <a:pt x="1850" y="1251"/>
                  </a:lnTo>
                  <a:cubicBezTo>
                    <a:pt x="1764" y="1281"/>
                    <a:pt x="1680" y="1317"/>
                    <a:pt x="1598" y="1359"/>
                  </a:cubicBezTo>
                  <a:lnTo>
                    <a:pt x="1489" y="1249"/>
                  </a:lnTo>
                  <a:cubicBezTo>
                    <a:pt x="1346" y="1106"/>
                    <a:pt x="1113" y="1106"/>
                    <a:pt x="970" y="1249"/>
                  </a:cubicBezTo>
                  <a:lnTo>
                    <a:pt x="516" y="1703"/>
                  </a:lnTo>
                  <a:cubicBezTo>
                    <a:pt x="447" y="1772"/>
                    <a:pt x="409" y="1864"/>
                    <a:pt x="409" y="1962"/>
                  </a:cubicBezTo>
                  <a:cubicBezTo>
                    <a:pt x="409" y="2061"/>
                    <a:pt x="447" y="2153"/>
                    <a:pt x="516" y="2222"/>
                  </a:cubicBezTo>
                  <a:lnTo>
                    <a:pt x="637" y="2342"/>
                  </a:lnTo>
                  <a:cubicBezTo>
                    <a:pt x="599" y="2421"/>
                    <a:pt x="567" y="2501"/>
                    <a:pt x="540" y="2583"/>
                  </a:cubicBezTo>
                  <a:lnTo>
                    <a:pt x="367" y="2583"/>
                  </a:lnTo>
                  <a:cubicBezTo>
                    <a:pt x="164" y="2583"/>
                    <a:pt x="0" y="2748"/>
                    <a:pt x="0" y="2950"/>
                  </a:cubicBezTo>
                  <a:lnTo>
                    <a:pt x="0" y="3591"/>
                  </a:lnTo>
                  <a:cubicBezTo>
                    <a:pt x="0" y="3794"/>
                    <a:pt x="164" y="3958"/>
                    <a:pt x="367" y="3958"/>
                  </a:cubicBezTo>
                  <a:lnTo>
                    <a:pt x="551" y="3958"/>
                  </a:lnTo>
                  <a:cubicBezTo>
                    <a:pt x="579" y="4037"/>
                    <a:pt x="611" y="4113"/>
                    <a:pt x="648" y="4188"/>
                  </a:cubicBezTo>
                  <a:lnTo>
                    <a:pt x="516" y="4319"/>
                  </a:lnTo>
                  <a:cubicBezTo>
                    <a:pt x="447" y="4388"/>
                    <a:pt x="409" y="4481"/>
                    <a:pt x="409" y="4579"/>
                  </a:cubicBezTo>
                  <a:cubicBezTo>
                    <a:pt x="409" y="4677"/>
                    <a:pt x="447" y="4769"/>
                    <a:pt x="516" y="4839"/>
                  </a:cubicBezTo>
                  <a:lnTo>
                    <a:pt x="970" y="5292"/>
                  </a:lnTo>
                  <a:cubicBezTo>
                    <a:pt x="1113" y="5435"/>
                    <a:pt x="1346" y="5435"/>
                    <a:pt x="1489" y="5292"/>
                  </a:cubicBezTo>
                  <a:lnTo>
                    <a:pt x="1620" y="5160"/>
                  </a:lnTo>
                  <a:cubicBezTo>
                    <a:pt x="1695" y="5197"/>
                    <a:pt x="1771" y="5229"/>
                    <a:pt x="1850" y="5256"/>
                  </a:cubicBezTo>
                  <a:lnTo>
                    <a:pt x="1850" y="5442"/>
                  </a:lnTo>
                  <a:cubicBezTo>
                    <a:pt x="1850" y="5644"/>
                    <a:pt x="2015" y="5808"/>
                    <a:pt x="2217" y="5808"/>
                  </a:cubicBezTo>
                  <a:lnTo>
                    <a:pt x="2338" y="5808"/>
                  </a:lnTo>
                  <a:lnTo>
                    <a:pt x="2324" y="6117"/>
                  </a:lnTo>
                  <a:cubicBezTo>
                    <a:pt x="2320" y="6216"/>
                    <a:pt x="2354" y="6311"/>
                    <a:pt x="2421" y="6385"/>
                  </a:cubicBezTo>
                  <a:cubicBezTo>
                    <a:pt x="2489" y="6459"/>
                    <a:pt x="2581" y="6502"/>
                    <a:pt x="2680" y="6506"/>
                  </a:cubicBezTo>
                  <a:lnTo>
                    <a:pt x="2856" y="6514"/>
                  </a:lnTo>
                  <a:cubicBezTo>
                    <a:pt x="2883" y="6600"/>
                    <a:pt x="2914" y="6685"/>
                    <a:pt x="2951" y="6767"/>
                  </a:cubicBezTo>
                  <a:lnTo>
                    <a:pt x="2818" y="6888"/>
                  </a:lnTo>
                  <a:cubicBezTo>
                    <a:pt x="2744" y="6955"/>
                    <a:pt x="2702" y="7047"/>
                    <a:pt x="2697" y="7147"/>
                  </a:cubicBezTo>
                  <a:cubicBezTo>
                    <a:pt x="2693" y="7247"/>
                    <a:pt x="2727" y="7342"/>
                    <a:pt x="2794" y="7415"/>
                  </a:cubicBezTo>
                  <a:lnTo>
                    <a:pt x="3237" y="7901"/>
                  </a:lnTo>
                  <a:cubicBezTo>
                    <a:pt x="3376" y="8052"/>
                    <a:pt x="3612" y="8063"/>
                    <a:pt x="3764" y="7924"/>
                  </a:cubicBezTo>
                  <a:lnTo>
                    <a:pt x="3906" y="7795"/>
                  </a:lnTo>
                  <a:cubicBezTo>
                    <a:pt x="3981" y="7836"/>
                    <a:pt x="4060" y="7872"/>
                    <a:pt x="4141" y="7904"/>
                  </a:cubicBezTo>
                  <a:lnTo>
                    <a:pt x="4132" y="8097"/>
                  </a:lnTo>
                  <a:cubicBezTo>
                    <a:pt x="4123" y="8302"/>
                    <a:pt x="4283" y="8477"/>
                    <a:pt x="4488" y="8486"/>
                  </a:cubicBezTo>
                  <a:lnTo>
                    <a:pt x="5145" y="8516"/>
                  </a:lnTo>
                  <a:cubicBezTo>
                    <a:pt x="5150" y="8517"/>
                    <a:pt x="5156" y="8517"/>
                    <a:pt x="5162" y="8517"/>
                  </a:cubicBezTo>
                  <a:cubicBezTo>
                    <a:pt x="5255" y="8517"/>
                    <a:pt x="5343" y="8482"/>
                    <a:pt x="5413" y="8419"/>
                  </a:cubicBezTo>
                  <a:cubicBezTo>
                    <a:pt x="5486" y="8351"/>
                    <a:pt x="5529" y="8260"/>
                    <a:pt x="5534" y="8161"/>
                  </a:cubicBezTo>
                  <a:lnTo>
                    <a:pt x="5543" y="7968"/>
                  </a:lnTo>
                  <a:cubicBezTo>
                    <a:pt x="5626" y="7944"/>
                    <a:pt x="5707" y="7915"/>
                    <a:pt x="5787" y="7881"/>
                  </a:cubicBezTo>
                  <a:lnTo>
                    <a:pt x="5916" y="8022"/>
                  </a:lnTo>
                  <a:cubicBezTo>
                    <a:pt x="5983" y="8096"/>
                    <a:pt x="6075" y="8139"/>
                    <a:pt x="6175" y="8143"/>
                  </a:cubicBezTo>
                  <a:cubicBezTo>
                    <a:pt x="6274" y="8148"/>
                    <a:pt x="6369" y="8113"/>
                    <a:pt x="6443" y="8046"/>
                  </a:cubicBezTo>
                  <a:lnTo>
                    <a:pt x="6928" y="7603"/>
                  </a:lnTo>
                  <a:cubicBezTo>
                    <a:pt x="7002" y="7536"/>
                    <a:pt x="7045" y="7444"/>
                    <a:pt x="7049" y="7345"/>
                  </a:cubicBezTo>
                  <a:cubicBezTo>
                    <a:pt x="7054" y="7245"/>
                    <a:pt x="7019" y="7150"/>
                    <a:pt x="6952" y="7076"/>
                  </a:cubicBezTo>
                  <a:lnTo>
                    <a:pt x="6831" y="6944"/>
                  </a:lnTo>
                  <a:cubicBezTo>
                    <a:pt x="6875" y="6865"/>
                    <a:pt x="6914" y="6783"/>
                    <a:pt x="6948" y="6700"/>
                  </a:cubicBezTo>
                  <a:lnTo>
                    <a:pt x="7124" y="6708"/>
                  </a:lnTo>
                  <a:cubicBezTo>
                    <a:pt x="7223" y="6713"/>
                    <a:pt x="7319" y="6678"/>
                    <a:pt x="7392" y="6611"/>
                  </a:cubicBezTo>
                  <a:cubicBezTo>
                    <a:pt x="7466" y="6544"/>
                    <a:pt x="7509" y="6452"/>
                    <a:pt x="7514" y="6353"/>
                  </a:cubicBezTo>
                  <a:lnTo>
                    <a:pt x="7544" y="5696"/>
                  </a:lnTo>
                  <a:cubicBezTo>
                    <a:pt x="7553" y="5490"/>
                    <a:pt x="7394" y="5316"/>
                    <a:pt x="7188" y="5307"/>
                  </a:cubicBezTo>
                  <a:lnTo>
                    <a:pt x="7028" y="5299"/>
                  </a:lnTo>
                  <a:cubicBezTo>
                    <a:pt x="7003" y="5207"/>
                    <a:pt x="6971" y="5117"/>
                    <a:pt x="6934" y="5030"/>
                  </a:cubicBezTo>
                  <a:lnTo>
                    <a:pt x="7050" y="4924"/>
                  </a:lnTo>
                  <a:cubicBezTo>
                    <a:pt x="7202" y="4786"/>
                    <a:pt x="7212" y="4549"/>
                    <a:pt x="7074" y="4397"/>
                  </a:cubicBezTo>
                  <a:lnTo>
                    <a:pt x="6946" y="4258"/>
                  </a:lnTo>
                  <a:cubicBezTo>
                    <a:pt x="7810" y="3965"/>
                    <a:pt x="8433" y="3147"/>
                    <a:pt x="8433" y="2186"/>
                  </a:cubicBezTo>
                  <a:close/>
                  <a:moveTo>
                    <a:pt x="2354" y="5460"/>
                  </a:moveTo>
                  <a:lnTo>
                    <a:pt x="2350" y="5557"/>
                  </a:lnTo>
                  <a:lnTo>
                    <a:pt x="2217" y="5557"/>
                  </a:lnTo>
                  <a:cubicBezTo>
                    <a:pt x="2154" y="5557"/>
                    <a:pt x="2101" y="5504"/>
                    <a:pt x="2101" y="5442"/>
                  </a:cubicBezTo>
                  <a:lnTo>
                    <a:pt x="2101" y="5165"/>
                  </a:lnTo>
                  <a:cubicBezTo>
                    <a:pt x="2101" y="5110"/>
                    <a:pt x="2065" y="5061"/>
                    <a:pt x="2012" y="5045"/>
                  </a:cubicBezTo>
                  <a:cubicBezTo>
                    <a:pt x="1889" y="5008"/>
                    <a:pt x="1769" y="4958"/>
                    <a:pt x="1657" y="4896"/>
                  </a:cubicBezTo>
                  <a:cubicBezTo>
                    <a:pt x="1608" y="4869"/>
                    <a:pt x="1547" y="4878"/>
                    <a:pt x="1507" y="4917"/>
                  </a:cubicBezTo>
                  <a:lnTo>
                    <a:pt x="1311" y="5114"/>
                  </a:lnTo>
                  <a:cubicBezTo>
                    <a:pt x="1266" y="5159"/>
                    <a:pt x="1193" y="5159"/>
                    <a:pt x="1147" y="5114"/>
                  </a:cubicBezTo>
                  <a:lnTo>
                    <a:pt x="694" y="4661"/>
                  </a:lnTo>
                  <a:cubicBezTo>
                    <a:pt x="672" y="4639"/>
                    <a:pt x="660" y="4610"/>
                    <a:pt x="660" y="4579"/>
                  </a:cubicBezTo>
                  <a:cubicBezTo>
                    <a:pt x="660" y="4548"/>
                    <a:pt x="672" y="4519"/>
                    <a:pt x="694" y="4497"/>
                  </a:cubicBezTo>
                  <a:lnTo>
                    <a:pt x="890" y="4300"/>
                  </a:lnTo>
                  <a:cubicBezTo>
                    <a:pt x="930" y="4261"/>
                    <a:pt x="939" y="4200"/>
                    <a:pt x="912" y="4151"/>
                  </a:cubicBezTo>
                  <a:cubicBezTo>
                    <a:pt x="851" y="4039"/>
                    <a:pt x="800" y="3920"/>
                    <a:pt x="763" y="3796"/>
                  </a:cubicBezTo>
                  <a:cubicBezTo>
                    <a:pt x="747" y="3743"/>
                    <a:pt x="698" y="3707"/>
                    <a:pt x="643" y="3707"/>
                  </a:cubicBezTo>
                  <a:lnTo>
                    <a:pt x="367" y="3707"/>
                  </a:lnTo>
                  <a:cubicBezTo>
                    <a:pt x="303" y="3707"/>
                    <a:pt x="251" y="3655"/>
                    <a:pt x="251" y="3591"/>
                  </a:cubicBezTo>
                  <a:lnTo>
                    <a:pt x="251" y="2950"/>
                  </a:lnTo>
                  <a:cubicBezTo>
                    <a:pt x="251" y="2886"/>
                    <a:pt x="303" y="2835"/>
                    <a:pt x="367" y="2835"/>
                  </a:cubicBezTo>
                  <a:lnTo>
                    <a:pt x="633" y="2835"/>
                  </a:lnTo>
                  <a:cubicBezTo>
                    <a:pt x="689" y="2835"/>
                    <a:pt x="738" y="2797"/>
                    <a:pt x="754" y="2743"/>
                  </a:cubicBezTo>
                  <a:cubicBezTo>
                    <a:pt x="789" y="2617"/>
                    <a:pt x="839" y="2494"/>
                    <a:pt x="901" y="2377"/>
                  </a:cubicBezTo>
                  <a:cubicBezTo>
                    <a:pt x="927" y="2328"/>
                    <a:pt x="918" y="2268"/>
                    <a:pt x="879" y="2229"/>
                  </a:cubicBezTo>
                  <a:lnTo>
                    <a:pt x="694" y="2044"/>
                  </a:lnTo>
                  <a:cubicBezTo>
                    <a:pt x="672" y="2022"/>
                    <a:pt x="660" y="1993"/>
                    <a:pt x="660" y="1962"/>
                  </a:cubicBezTo>
                  <a:cubicBezTo>
                    <a:pt x="660" y="1931"/>
                    <a:pt x="672" y="1902"/>
                    <a:pt x="694" y="1881"/>
                  </a:cubicBezTo>
                  <a:lnTo>
                    <a:pt x="1148" y="1427"/>
                  </a:lnTo>
                  <a:cubicBezTo>
                    <a:pt x="1192" y="1382"/>
                    <a:pt x="1266" y="1382"/>
                    <a:pt x="1311" y="1427"/>
                  </a:cubicBezTo>
                  <a:lnTo>
                    <a:pt x="1486" y="1602"/>
                  </a:lnTo>
                  <a:cubicBezTo>
                    <a:pt x="1526" y="1642"/>
                    <a:pt x="1587" y="1650"/>
                    <a:pt x="1636" y="1623"/>
                  </a:cubicBezTo>
                  <a:cubicBezTo>
                    <a:pt x="1757" y="1555"/>
                    <a:pt x="1883" y="1501"/>
                    <a:pt x="2012" y="1463"/>
                  </a:cubicBezTo>
                  <a:cubicBezTo>
                    <a:pt x="2065" y="1447"/>
                    <a:pt x="2101" y="1398"/>
                    <a:pt x="2101" y="1342"/>
                  </a:cubicBezTo>
                  <a:lnTo>
                    <a:pt x="2101" y="1100"/>
                  </a:lnTo>
                  <a:cubicBezTo>
                    <a:pt x="2101" y="1036"/>
                    <a:pt x="2153" y="985"/>
                    <a:pt x="2217" y="985"/>
                  </a:cubicBezTo>
                  <a:lnTo>
                    <a:pt x="2858" y="985"/>
                  </a:lnTo>
                  <a:cubicBezTo>
                    <a:pt x="2921" y="985"/>
                    <a:pt x="2974" y="1037"/>
                    <a:pt x="2974" y="1100"/>
                  </a:cubicBezTo>
                  <a:lnTo>
                    <a:pt x="2974" y="1332"/>
                  </a:lnTo>
                  <a:cubicBezTo>
                    <a:pt x="2974" y="1388"/>
                    <a:pt x="3011" y="1437"/>
                    <a:pt x="3065" y="1453"/>
                  </a:cubicBezTo>
                  <a:cubicBezTo>
                    <a:pt x="3201" y="1491"/>
                    <a:pt x="3331" y="1545"/>
                    <a:pt x="3452" y="1611"/>
                  </a:cubicBezTo>
                  <a:cubicBezTo>
                    <a:pt x="3501" y="1638"/>
                    <a:pt x="3562" y="1630"/>
                    <a:pt x="3602" y="1590"/>
                  </a:cubicBezTo>
                  <a:lnTo>
                    <a:pt x="3764" y="1427"/>
                  </a:lnTo>
                  <a:cubicBezTo>
                    <a:pt x="3785" y="1406"/>
                    <a:pt x="3814" y="1394"/>
                    <a:pt x="3846" y="1394"/>
                  </a:cubicBezTo>
                  <a:cubicBezTo>
                    <a:pt x="3877" y="1394"/>
                    <a:pt x="3906" y="1406"/>
                    <a:pt x="3927" y="1427"/>
                  </a:cubicBezTo>
                  <a:lnTo>
                    <a:pt x="4132" y="1632"/>
                  </a:lnTo>
                  <a:cubicBezTo>
                    <a:pt x="4085" y="1809"/>
                    <a:pt x="4060" y="1995"/>
                    <a:pt x="4060" y="2186"/>
                  </a:cubicBezTo>
                  <a:cubicBezTo>
                    <a:pt x="4060" y="2640"/>
                    <a:pt x="4200" y="3062"/>
                    <a:pt x="4437" y="3412"/>
                  </a:cubicBezTo>
                  <a:cubicBezTo>
                    <a:pt x="4376" y="3476"/>
                    <a:pt x="4338" y="3561"/>
                    <a:pt x="4334" y="3653"/>
                  </a:cubicBezTo>
                  <a:lnTo>
                    <a:pt x="4328" y="3795"/>
                  </a:lnTo>
                  <a:cubicBezTo>
                    <a:pt x="4232" y="3823"/>
                    <a:pt x="4139" y="3857"/>
                    <a:pt x="4049" y="3897"/>
                  </a:cubicBezTo>
                  <a:lnTo>
                    <a:pt x="3952" y="3791"/>
                  </a:lnTo>
                  <a:cubicBezTo>
                    <a:pt x="3911" y="3746"/>
                    <a:pt x="3861" y="3713"/>
                    <a:pt x="3806" y="3692"/>
                  </a:cubicBezTo>
                  <a:cubicBezTo>
                    <a:pt x="3851" y="3557"/>
                    <a:pt x="3874" y="3416"/>
                    <a:pt x="3874" y="3271"/>
                  </a:cubicBezTo>
                  <a:cubicBezTo>
                    <a:pt x="3874" y="2534"/>
                    <a:pt x="3274" y="1934"/>
                    <a:pt x="2537" y="1934"/>
                  </a:cubicBezTo>
                  <a:cubicBezTo>
                    <a:pt x="1800" y="1934"/>
                    <a:pt x="1201" y="2534"/>
                    <a:pt x="1201" y="3271"/>
                  </a:cubicBezTo>
                  <a:cubicBezTo>
                    <a:pt x="1201" y="4007"/>
                    <a:pt x="1800" y="4607"/>
                    <a:pt x="2537" y="4607"/>
                  </a:cubicBezTo>
                  <a:cubicBezTo>
                    <a:pt x="2636" y="4607"/>
                    <a:pt x="2734" y="4596"/>
                    <a:pt x="2830" y="4575"/>
                  </a:cubicBezTo>
                  <a:cubicBezTo>
                    <a:pt x="2844" y="4635"/>
                    <a:pt x="2874" y="4690"/>
                    <a:pt x="2916" y="4736"/>
                  </a:cubicBezTo>
                  <a:lnTo>
                    <a:pt x="3022" y="4852"/>
                  </a:lnTo>
                  <a:cubicBezTo>
                    <a:pt x="2976" y="4936"/>
                    <a:pt x="2937" y="5023"/>
                    <a:pt x="2903" y="5112"/>
                  </a:cubicBezTo>
                  <a:lnTo>
                    <a:pt x="2743" y="5104"/>
                  </a:lnTo>
                  <a:cubicBezTo>
                    <a:pt x="2644" y="5100"/>
                    <a:pt x="2549" y="5135"/>
                    <a:pt x="2475" y="5202"/>
                  </a:cubicBezTo>
                  <a:cubicBezTo>
                    <a:pt x="2401" y="5269"/>
                    <a:pt x="2358" y="5361"/>
                    <a:pt x="2354" y="5460"/>
                  </a:cubicBezTo>
                  <a:close/>
                  <a:moveTo>
                    <a:pt x="3622" y="3271"/>
                  </a:moveTo>
                  <a:cubicBezTo>
                    <a:pt x="3622" y="3419"/>
                    <a:pt x="3593" y="3563"/>
                    <a:pt x="3535" y="3697"/>
                  </a:cubicBezTo>
                  <a:cubicBezTo>
                    <a:pt x="3495" y="3714"/>
                    <a:pt x="3458" y="3737"/>
                    <a:pt x="3425" y="3766"/>
                  </a:cubicBezTo>
                  <a:lnTo>
                    <a:pt x="2940" y="4210"/>
                  </a:lnTo>
                  <a:cubicBezTo>
                    <a:pt x="2909" y="4238"/>
                    <a:pt x="2884" y="4270"/>
                    <a:pt x="2865" y="4305"/>
                  </a:cubicBezTo>
                  <a:cubicBezTo>
                    <a:pt x="2759" y="4339"/>
                    <a:pt x="2649" y="4356"/>
                    <a:pt x="2537" y="4356"/>
                  </a:cubicBezTo>
                  <a:cubicBezTo>
                    <a:pt x="1939" y="4356"/>
                    <a:pt x="1452" y="3869"/>
                    <a:pt x="1452" y="3271"/>
                  </a:cubicBezTo>
                  <a:cubicBezTo>
                    <a:pt x="1452" y="2672"/>
                    <a:pt x="1939" y="2186"/>
                    <a:pt x="2537" y="2186"/>
                  </a:cubicBezTo>
                  <a:cubicBezTo>
                    <a:pt x="3136" y="2186"/>
                    <a:pt x="3622" y="2672"/>
                    <a:pt x="3622" y="3271"/>
                  </a:cubicBezTo>
                  <a:close/>
                  <a:moveTo>
                    <a:pt x="7177" y="5558"/>
                  </a:moveTo>
                  <a:cubicBezTo>
                    <a:pt x="7243" y="5561"/>
                    <a:pt x="7296" y="5619"/>
                    <a:pt x="7293" y="5684"/>
                  </a:cubicBezTo>
                  <a:lnTo>
                    <a:pt x="7263" y="6341"/>
                  </a:lnTo>
                  <a:cubicBezTo>
                    <a:pt x="7261" y="6373"/>
                    <a:pt x="7247" y="6403"/>
                    <a:pt x="7223" y="6425"/>
                  </a:cubicBezTo>
                  <a:cubicBezTo>
                    <a:pt x="7199" y="6447"/>
                    <a:pt x="7168" y="6458"/>
                    <a:pt x="7136" y="6457"/>
                  </a:cubicBezTo>
                  <a:lnTo>
                    <a:pt x="6869" y="6445"/>
                  </a:lnTo>
                  <a:cubicBezTo>
                    <a:pt x="6813" y="6442"/>
                    <a:pt x="6763" y="6476"/>
                    <a:pt x="6744" y="6528"/>
                  </a:cubicBezTo>
                  <a:cubicBezTo>
                    <a:pt x="6699" y="6655"/>
                    <a:pt x="6640" y="6778"/>
                    <a:pt x="6569" y="6894"/>
                  </a:cubicBezTo>
                  <a:cubicBezTo>
                    <a:pt x="6539" y="6942"/>
                    <a:pt x="6545" y="7003"/>
                    <a:pt x="6583" y="7045"/>
                  </a:cubicBezTo>
                  <a:lnTo>
                    <a:pt x="6766" y="7245"/>
                  </a:lnTo>
                  <a:cubicBezTo>
                    <a:pt x="6788" y="7269"/>
                    <a:pt x="6799" y="7301"/>
                    <a:pt x="6798" y="7333"/>
                  </a:cubicBezTo>
                  <a:cubicBezTo>
                    <a:pt x="6796" y="7366"/>
                    <a:pt x="6783" y="7396"/>
                    <a:pt x="6759" y="7417"/>
                  </a:cubicBezTo>
                  <a:lnTo>
                    <a:pt x="6273" y="7861"/>
                  </a:lnTo>
                  <a:cubicBezTo>
                    <a:pt x="6250" y="7882"/>
                    <a:pt x="6218" y="7893"/>
                    <a:pt x="6186" y="7892"/>
                  </a:cubicBezTo>
                  <a:cubicBezTo>
                    <a:pt x="6153" y="7890"/>
                    <a:pt x="6124" y="7877"/>
                    <a:pt x="6102" y="7853"/>
                  </a:cubicBezTo>
                  <a:lnTo>
                    <a:pt x="5911" y="7644"/>
                  </a:lnTo>
                  <a:cubicBezTo>
                    <a:pt x="5874" y="7603"/>
                    <a:pt x="5814" y="7591"/>
                    <a:pt x="5764" y="7615"/>
                  </a:cubicBezTo>
                  <a:cubicBezTo>
                    <a:pt x="5645" y="7672"/>
                    <a:pt x="5519" y="7717"/>
                    <a:pt x="5392" y="7748"/>
                  </a:cubicBezTo>
                  <a:cubicBezTo>
                    <a:pt x="5337" y="7761"/>
                    <a:pt x="5298" y="7808"/>
                    <a:pt x="5296" y="7864"/>
                  </a:cubicBezTo>
                  <a:lnTo>
                    <a:pt x="5283" y="8149"/>
                  </a:lnTo>
                  <a:cubicBezTo>
                    <a:pt x="5281" y="8181"/>
                    <a:pt x="5267" y="8211"/>
                    <a:pt x="5243" y="8233"/>
                  </a:cubicBezTo>
                  <a:cubicBezTo>
                    <a:pt x="5219" y="8255"/>
                    <a:pt x="5188" y="8267"/>
                    <a:pt x="5156" y="8265"/>
                  </a:cubicBezTo>
                  <a:lnTo>
                    <a:pt x="4499" y="8235"/>
                  </a:lnTo>
                  <a:cubicBezTo>
                    <a:pt x="4433" y="8232"/>
                    <a:pt x="4381" y="8174"/>
                    <a:pt x="4383" y="8108"/>
                  </a:cubicBezTo>
                  <a:lnTo>
                    <a:pt x="4396" y="7824"/>
                  </a:lnTo>
                  <a:cubicBezTo>
                    <a:pt x="4399" y="7768"/>
                    <a:pt x="4364" y="7717"/>
                    <a:pt x="4312" y="7699"/>
                  </a:cubicBezTo>
                  <a:cubicBezTo>
                    <a:pt x="4184" y="7655"/>
                    <a:pt x="4064" y="7599"/>
                    <a:pt x="3953" y="7533"/>
                  </a:cubicBezTo>
                  <a:cubicBezTo>
                    <a:pt x="3905" y="7504"/>
                    <a:pt x="3844" y="7510"/>
                    <a:pt x="3803" y="7548"/>
                  </a:cubicBezTo>
                  <a:lnTo>
                    <a:pt x="3595" y="7739"/>
                  </a:lnTo>
                  <a:cubicBezTo>
                    <a:pt x="3545" y="7784"/>
                    <a:pt x="3468" y="7780"/>
                    <a:pt x="3423" y="7731"/>
                  </a:cubicBezTo>
                  <a:lnTo>
                    <a:pt x="2980" y="7246"/>
                  </a:lnTo>
                  <a:cubicBezTo>
                    <a:pt x="2958" y="7222"/>
                    <a:pt x="2947" y="7191"/>
                    <a:pt x="2948" y="7158"/>
                  </a:cubicBezTo>
                  <a:cubicBezTo>
                    <a:pt x="2950" y="7126"/>
                    <a:pt x="2964" y="7096"/>
                    <a:pt x="2987" y="7074"/>
                  </a:cubicBezTo>
                  <a:lnTo>
                    <a:pt x="3189" y="6891"/>
                  </a:lnTo>
                  <a:cubicBezTo>
                    <a:pt x="3230" y="6853"/>
                    <a:pt x="3241" y="6792"/>
                    <a:pt x="3216" y="6742"/>
                  </a:cubicBezTo>
                  <a:cubicBezTo>
                    <a:pt x="3156" y="6621"/>
                    <a:pt x="3108" y="6493"/>
                    <a:pt x="3075" y="6361"/>
                  </a:cubicBezTo>
                  <a:cubicBezTo>
                    <a:pt x="3061" y="6308"/>
                    <a:pt x="3014" y="6270"/>
                    <a:pt x="2959" y="6267"/>
                  </a:cubicBezTo>
                  <a:lnTo>
                    <a:pt x="2691" y="6255"/>
                  </a:lnTo>
                  <a:cubicBezTo>
                    <a:pt x="2659" y="6254"/>
                    <a:pt x="2629" y="6240"/>
                    <a:pt x="2607" y="6215"/>
                  </a:cubicBezTo>
                  <a:cubicBezTo>
                    <a:pt x="2585" y="6191"/>
                    <a:pt x="2574" y="6160"/>
                    <a:pt x="2575" y="6128"/>
                  </a:cubicBezTo>
                  <a:lnTo>
                    <a:pt x="2605" y="5472"/>
                  </a:lnTo>
                  <a:cubicBezTo>
                    <a:pt x="2607" y="5439"/>
                    <a:pt x="2621" y="5409"/>
                    <a:pt x="2645" y="5387"/>
                  </a:cubicBezTo>
                  <a:cubicBezTo>
                    <a:pt x="2669" y="5365"/>
                    <a:pt x="2700" y="5354"/>
                    <a:pt x="2732" y="5355"/>
                  </a:cubicBezTo>
                  <a:lnTo>
                    <a:pt x="2985" y="5367"/>
                  </a:lnTo>
                  <a:cubicBezTo>
                    <a:pt x="3041" y="5370"/>
                    <a:pt x="3093" y="5334"/>
                    <a:pt x="3110" y="5281"/>
                  </a:cubicBezTo>
                  <a:cubicBezTo>
                    <a:pt x="3154" y="5148"/>
                    <a:pt x="3212" y="5020"/>
                    <a:pt x="3284" y="4899"/>
                  </a:cubicBezTo>
                  <a:cubicBezTo>
                    <a:pt x="3312" y="4852"/>
                    <a:pt x="3306" y="4791"/>
                    <a:pt x="3269" y="4750"/>
                  </a:cubicBezTo>
                  <a:lnTo>
                    <a:pt x="3102" y="4567"/>
                  </a:lnTo>
                  <a:cubicBezTo>
                    <a:pt x="3080" y="4543"/>
                    <a:pt x="3069" y="4512"/>
                    <a:pt x="3070" y="4479"/>
                  </a:cubicBezTo>
                  <a:cubicBezTo>
                    <a:pt x="3072" y="4447"/>
                    <a:pt x="3086" y="4417"/>
                    <a:pt x="3109" y="4395"/>
                  </a:cubicBezTo>
                  <a:lnTo>
                    <a:pt x="3595" y="3952"/>
                  </a:lnTo>
                  <a:cubicBezTo>
                    <a:pt x="3619" y="3930"/>
                    <a:pt x="3650" y="3919"/>
                    <a:pt x="3682" y="3921"/>
                  </a:cubicBezTo>
                  <a:cubicBezTo>
                    <a:pt x="3715" y="3922"/>
                    <a:pt x="3745" y="3936"/>
                    <a:pt x="3766" y="3960"/>
                  </a:cubicBezTo>
                  <a:lnTo>
                    <a:pt x="3926" y="4135"/>
                  </a:lnTo>
                  <a:cubicBezTo>
                    <a:pt x="3964" y="4177"/>
                    <a:pt x="4025" y="4188"/>
                    <a:pt x="4076" y="4163"/>
                  </a:cubicBezTo>
                  <a:cubicBezTo>
                    <a:pt x="4202" y="4100"/>
                    <a:pt x="4338" y="4050"/>
                    <a:pt x="4479" y="4015"/>
                  </a:cubicBezTo>
                  <a:cubicBezTo>
                    <a:pt x="4533" y="4002"/>
                    <a:pt x="4572" y="3954"/>
                    <a:pt x="4575" y="3899"/>
                  </a:cubicBezTo>
                  <a:lnTo>
                    <a:pt x="4585" y="3664"/>
                  </a:lnTo>
                  <a:cubicBezTo>
                    <a:pt x="4586" y="3648"/>
                    <a:pt x="4590" y="3633"/>
                    <a:pt x="4597" y="3619"/>
                  </a:cubicBezTo>
                  <a:cubicBezTo>
                    <a:pt x="4998" y="4080"/>
                    <a:pt x="5589" y="4372"/>
                    <a:pt x="6247" y="4372"/>
                  </a:cubicBezTo>
                  <a:cubicBezTo>
                    <a:pt x="6383" y="4372"/>
                    <a:pt x="6517" y="4360"/>
                    <a:pt x="6646" y="4336"/>
                  </a:cubicBezTo>
                  <a:cubicBezTo>
                    <a:pt x="6655" y="4334"/>
                    <a:pt x="6664" y="4333"/>
                    <a:pt x="6673" y="4331"/>
                  </a:cubicBezTo>
                  <a:lnTo>
                    <a:pt x="6888" y="4567"/>
                  </a:lnTo>
                  <a:cubicBezTo>
                    <a:pt x="6933" y="4616"/>
                    <a:pt x="6930" y="4694"/>
                    <a:pt x="6880" y="4739"/>
                  </a:cubicBezTo>
                  <a:lnTo>
                    <a:pt x="6697" y="4906"/>
                  </a:lnTo>
                  <a:cubicBezTo>
                    <a:pt x="6656" y="4943"/>
                    <a:pt x="6645" y="5003"/>
                    <a:pt x="6669" y="5053"/>
                  </a:cubicBezTo>
                  <a:cubicBezTo>
                    <a:pt x="6729" y="5178"/>
                    <a:pt x="6775" y="5311"/>
                    <a:pt x="6807" y="5449"/>
                  </a:cubicBezTo>
                  <a:cubicBezTo>
                    <a:pt x="6820" y="5504"/>
                    <a:pt x="6867" y="5544"/>
                    <a:pt x="6924" y="5547"/>
                  </a:cubicBezTo>
                  <a:lnTo>
                    <a:pt x="7177" y="5558"/>
                  </a:lnTo>
                  <a:close/>
                  <a:moveTo>
                    <a:pt x="7177" y="555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83">
              <a:extLst>
                <a:ext uri="{FF2B5EF4-FFF2-40B4-BE49-F238E27FC236}">
                  <a16:creationId xmlns:a16="http://schemas.microsoft.com/office/drawing/2014/main" id="{9383DF4B-61A3-477F-97EE-4E87345628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4" y="3538"/>
              <a:ext cx="50" cy="50"/>
            </a:xfrm>
            <a:custGeom>
              <a:avLst/>
              <a:gdLst>
                <a:gd name="T0" fmla="*/ 287 w 1507"/>
                <a:gd name="T1" fmla="*/ 174 h 1506"/>
                <a:gd name="T2" fmla="*/ 281 w 1507"/>
                <a:gd name="T3" fmla="*/ 179 h 1506"/>
                <a:gd name="T4" fmla="*/ 273 w 1507"/>
                <a:gd name="T5" fmla="*/ 186 h 1506"/>
                <a:gd name="T6" fmla="*/ 253 w 1507"/>
                <a:gd name="T7" fmla="*/ 204 h 1506"/>
                <a:gd name="T8" fmla="*/ 226 w 1507"/>
                <a:gd name="T9" fmla="*/ 230 h 1506"/>
                <a:gd name="T10" fmla="*/ 218 w 1507"/>
                <a:gd name="T11" fmla="*/ 237 h 1506"/>
                <a:gd name="T12" fmla="*/ 200 w 1507"/>
                <a:gd name="T13" fmla="*/ 257 h 1506"/>
                <a:gd name="T14" fmla="*/ 179 w 1507"/>
                <a:gd name="T15" fmla="*/ 281 h 1506"/>
                <a:gd name="T16" fmla="*/ 176 w 1507"/>
                <a:gd name="T17" fmla="*/ 285 h 1506"/>
                <a:gd name="T18" fmla="*/ 156 w 1507"/>
                <a:gd name="T19" fmla="*/ 311 h 1506"/>
                <a:gd name="T20" fmla="*/ 154 w 1507"/>
                <a:gd name="T21" fmla="*/ 314 h 1506"/>
                <a:gd name="T22" fmla="*/ 137 w 1507"/>
                <a:gd name="T23" fmla="*/ 337 h 1506"/>
                <a:gd name="T24" fmla="*/ 133 w 1507"/>
                <a:gd name="T25" fmla="*/ 344 h 1506"/>
                <a:gd name="T26" fmla="*/ 118 w 1507"/>
                <a:gd name="T27" fmla="*/ 366 h 1506"/>
                <a:gd name="T28" fmla="*/ 113 w 1507"/>
                <a:gd name="T29" fmla="*/ 375 h 1506"/>
                <a:gd name="T30" fmla="*/ 42 w 1507"/>
                <a:gd name="T31" fmla="*/ 535 h 1506"/>
                <a:gd name="T32" fmla="*/ 40 w 1507"/>
                <a:gd name="T33" fmla="*/ 541 h 1506"/>
                <a:gd name="T34" fmla="*/ 16 w 1507"/>
                <a:gd name="T35" fmla="*/ 648 h 1506"/>
                <a:gd name="T36" fmla="*/ 16 w 1507"/>
                <a:gd name="T37" fmla="*/ 649 h 1506"/>
                <a:gd name="T38" fmla="*/ 14 w 1507"/>
                <a:gd name="T39" fmla="*/ 665 h 1506"/>
                <a:gd name="T40" fmla="*/ 9 w 1507"/>
                <a:gd name="T41" fmla="*/ 723 h 1506"/>
                <a:gd name="T42" fmla="*/ 204 w 1507"/>
                <a:gd name="T43" fmla="*/ 1262 h 1506"/>
                <a:gd name="T44" fmla="*/ 759 w 1507"/>
                <a:gd name="T45" fmla="*/ 1506 h 1506"/>
                <a:gd name="T46" fmla="*/ 1263 w 1507"/>
                <a:gd name="T47" fmla="*/ 1311 h 1506"/>
                <a:gd name="T48" fmla="*/ 1291 w 1507"/>
                <a:gd name="T49" fmla="*/ 1284 h 1506"/>
                <a:gd name="T50" fmla="*/ 1507 w 1507"/>
                <a:gd name="T51" fmla="*/ 755 h 1506"/>
                <a:gd name="T52" fmla="*/ 1402 w 1507"/>
                <a:gd name="T53" fmla="*/ 374 h 1506"/>
                <a:gd name="T54" fmla="*/ 1311 w 1507"/>
                <a:gd name="T55" fmla="*/ 252 h 1506"/>
                <a:gd name="T56" fmla="*/ 792 w 1507"/>
                <a:gd name="T57" fmla="*/ 9 h 1506"/>
                <a:gd name="T58" fmla="*/ 287 w 1507"/>
                <a:gd name="T59" fmla="*/ 174 h 1506"/>
                <a:gd name="T60" fmla="*/ 1126 w 1507"/>
                <a:gd name="T61" fmla="*/ 421 h 1506"/>
                <a:gd name="T62" fmla="*/ 1094 w 1507"/>
                <a:gd name="T63" fmla="*/ 1125 h 1506"/>
                <a:gd name="T64" fmla="*/ 390 w 1507"/>
                <a:gd name="T65" fmla="*/ 1093 h 1506"/>
                <a:gd name="T66" fmla="*/ 261 w 1507"/>
                <a:gd name="T67" fmla="*/ 784 h 1506"/>
                <a:gd name="T68" fmla="*/ 260 w 1507"/>
                <a:gd name="T69" fmla="*/ 735 h 1506"/>
                <a:gd name="T70" fmla="*/ 422 w 1507"/>
                <a:gd name="T71" fmla="*/ 390 h 1506"/>
                <a:gd name="T72" fmla="*/ 422 w 1507"/>
                <a:gd name="T73" fmla="*/ 390 h 1506"/>
                <a:gd name="T74" fmla="*/ 758 w 1507"/>
                <a:gd name="T75" fmla="*/ 259 h 1506"/>
                <a:gd name="T76" fmla="*/ 781 w 1507"/>
                <a:gd name="T77" fmla="*/ 260 h 1506"/>
                <a:gd name="T78" fmla="*/ 1126 w 1507"/>
                <a:gd name="T79" fmla="*/ 421 h 1506"/>
                <a:gd name="T80" fmla="*/ 1126 w 1507"/>
                <a:gd name="T81" fmla="*/ 421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7" h="1506">
                  <a:moveTo>
                    <a:pt x="287" y="174"/>
                  </a:moveTo>
                  <a:cubicBezTo>
                    <a:pt x="285" y="176"/>
                    <a:pt x="283" y="178"/>
                    <a:pt x="281" y="179"/>
                  </a:cubicBezTo>
                  <a:cubicBezTo>
                    <a:pt x="278" y="182"/>
                    <a:pt x="276" y="184"/>
                    <a:pt x="273" y="186"/>
                  </a:cubicBezTo>
                  <a:cubicBezTo>
                    <a:pt x="266" y="192"/>
                    <a:pt x="260" y="198"/>
                    <a:pt x="253" y="204"/>
                  </a:cubicBezTo>
                  <a:cubicBezTo>
                    <a:pt x="244" y="212"/>
                    <a:pt x="235" y="221"/>
                    <a:pt x="226" y="230"/>
                  </a:cubicBezTo>
                  <a:cubicBezTo>
                    <a:pt x="223" y="232"/>
                    <a:pt x="221" y="235"/>
                    <a:pt x="218" y="237"/>
                  </a:cubicBezTo>
                  <a:cubicBezTo>
                    <a:pt x="212" y="244"/>
                    <a:pt x="206" y="250"/>
                    <a:pt x="200" y="257"/>
                  </a:cubicBezTo>
                  <a:cubicBezTo>
                    <a:pt x="193" y="265"/>
                    <a:pt x="186" y="273"/>
                    <a:pt x="179" y="281"/>
                  </a:cubicBezTo>
                  <a:cubicBezTo>
                    <a:pt x="178" y="282"/>
                    <a:pt x="177" y="283"/>
                    <a:pt x="176" y="285"/>
                  </a:cubicBezTo>
                  <a:cubicBezTo>
                    <a:pt x="169" y="293"/>
                    <a:pt x="162" y="302"/>
                    <a:pt x="156" y="311"/>
                  </a:cubicBezTo>
                  <a:cubicBezTo>
                    <a:pt x="155" y="312"/>
                    <a:pt x="154" y="313"/>
                    <a:pt x="154" y="314"/>
                  </a:cubicBezTo>
                  <a:cubicBezTo>
                    <a:pt x="148" y="322"/>
                    <a:pt x="143" y="329"/>
                    <a:pt x="137" y="337"/>
                  </a:cubicBezTo>
                  <a:cubicBezTo>
                    <a:pt x="136" y="339"/>
                    <a:pt x="134" y="342"/>
                    <a:pt x="133" y="344"/>
                  </a:cubicBezTo>
                  <a:cubicBezTo>
                    <a:pt x="128" y="351"/>
                    <a:pt x="123" y="359"/>
                    <a:pt x="118" y="366"/>
                  </a:cubicBezTo>
                  <a:cubicBezTo>
                    <a:pt x="117" y="369"/>
                    <a:pt x="115" y="372"/>
                    <a:pt x="113" y="375"/>
                  </a:cubicBezTo>
                  <a:cubicBezTo>
                    <a:pt x="83" y="425"/>
                    <a:pt x="59" y="479"/>
                    <a:pt x="42" y="535"/>
                  </a:cubicBezTo>
                  <a:cubicBezTo>
                    <a:pt x="41" y="537"/>
                    <a:pt x="41" y="539"/>
                    <a:pt x="40" y="541"/>
                  </a:cubicBezTo>
                  <a:cubicBezTo>
                    <a:pt x="30" y="576"/>
                    <a:pt x="22" y="612"/>
                    <a:pt x="16" y="648"/>
                  </a:cubicBezTo>
                  <a:cubicBezTo>
                    <a:pt x="16" y="648"/>
                    <a:pt x="16" y="649"/>
                    <a:pt x="16" y="649"/>
                  </a:cubicBezTo>
                  <a:cubicBezTo>
                    <a:pt x="15" y="654"/>
                    <a:pt x="15" y="660"/>
                    <a:pt x="14" y="665"/>
                  </a:cubicBezTo>
                  <a:cubicBezTo>
                    <a:pt x="12" y="684"/>
                    <a:pt x="10" y="704"/>
                    <a:pt x="9" y="723"/>
                  </a:cubicBezTo>
                  <a:cubicBezTo>
                    <a:pt x="0" y="923"/>
                    <a:pt x="69" y="1115"/>
                    <a:pt x="204" y="1262"/>
                  </a:cubicBezTo>
                  <a:cubicBezTo>
                    <a:pt x="352" y="1424"/>
                    <a:pt x="555" y="1506"/>
                    <a:pt x="759" y="1506"/>
                  </a:cubicBezTo>
                  <a:cubicBezTo>
                    <a:pt x="939" y="1506"/>
                    <a:pt x="1120" y="1442"/>
                    <a:pt x="1263" y="1311"/>
                  </a:cubicBezTo>
                  <a:cubicBezTo>
                    <a:pt x="1273" y="1302"/>
                    <a:pt x="1282" y="1293"/>
                    <a:pt x="1291" y="1284"/>
                  </a:cubicBezTo>
                  <a:cubicBezTo>
                    <a:pt x="1435" y="1139"/>
                    <a:pt x="1507" y="947"/>
                    <a:pt x="1507" y="755"/>
                  </a:cubicBezTo>
                  <a:cubicBezTo>
                    <a:pt x="1507" y="623"/>
                    <a:pt x="1472" y="491"/>
                    <a:pt x="1402" y="374"/>
                  </a:cubicBezTo>
                  <a:cubicBezTo>
                    <a:pt x="1376" y="331"/>
                    <a:pt x="1346" y="290"/>
                    <a:pt x="1311" y="252"/>
                  </a:cubicBezTo>
                  <a:cubicBezTo>
                    <a:pt x="1176" y="104"/>
                    <a:pt x="992" y="18"/>
                    <a:pt x="792" y="9"/>
                  </a:cubicBezTo>
                  <a:cubicBezTo>
                    <a:pt x="607" y="0"/>
                    <a:pt x="430" y="59"/>
                    <a:pt x="287" y="174"/>
                  </a:cubicBezTo>
                  <a:close/>
                  <a:moveTo>
                    <a:pt x="1126" y="421"/>
                  </a:moveTo>
                  <a:cubicBezTo>
                    <a:pt x="1311" y="624"/>
                    <a:pt x="1297" y="940"/>
                    <a:pt x="1094" y="1125"/>
                  </a:cubicBezTo>
                  <a:cubicBezTo>
                    <a:pt x="891" y="1310"/>
                    <a:pt x="575" y="1296"/>
                    <a:pt x="390" y="1093"/>
                  </a:cubicBezTo>
                  <a:cubicBezTo>
                    <a:pt x="312" y="1007"/>
                    <a:pt x="267" y="899"/>
                    <a:pt x="261" y="784"/>
                  </a:cubicBezTo>
                  <a:cubicBezTo>
                    <a:pt x="260" y="768"/>
                    <a:pt x="260" y="751"/>
                    <a:pt x="260" y="735"/>
                  </a:cubicBezTo>
                  <a:cubicBezTo>
                    <a:pt x="266" y="602"/>
                    <a:pt x="324" y="479"/>
                    <a:pt x="422" y="390"/>
                  </a:cubicBezTo>
                  <a:cubicBezTo>
                    <a:pt x="422" y="390"/>
                    <a:pt x="422" y="390"/>
                    <a:pt x="422" y="390"/>
                  </a:cubicBezTo>
                  <a:cubicBezTo>
                    <a:pt x="515" y="305"/>
                    <a:pt x="633" y="259"/>
                    <a:pt x="758" y="259"/>
                  </a:cubicBezTo>
                  <a:cubicBezTo>
                    <a:pt x="765" y="259"/>
                    <a:pt x="773" y="259"/>
                    <a:pt x="781" y="260"/>
                  </a:cubicBezTo>
                  <a:cubicBezTo>
                    <a:pt x="914" y="266"/>
                    <a:pt x="1036" y="323"/>
                    <a:pt x="1126" y="421"/>
                  </a:cubicBezTo>
                  <a:close/>
                  <a:moveTo>
                    <a:pt x="1126" y="42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84">
              <a:extLst>
                <a:ext uri="{FF2B5EF4-FFF2-40B4-BE49-F238E27FC236}">
                  <a16:creationId xmlns:a16="http://schemas.microsoft.com/office/drawing/2014/main" id="{46CF4E65-AAE8-4A66-98D9-848863145E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10" y="3388"/>
              <a:ext cx="105" cy="105"/>
            </a:xfrm>
            <a:custGeom>
              <a:avLst/>
              <a:gdLst>
                <a:gd name="T0" fmla="*/ 1583 w 3166"/>
                <a:gd name="T1" fmla="*/ 0 h 3166"/>
                <a:gd name="T2" fmla="*/ 0 w 3166"/>
                <a:gd name="T3" fmla="*/ 1583 h 3166"/>
                <a:gd name="T4" fmla="*/ 1583 w 3166"/>
                <a:gd name="T5" fmla="*/ 3166 h 3166"/>
                <a:gd name="T6" fmla="*/ 3166 w 3166"/>
                <a:gd name="T7" fmla="*/ 1583 h 3166"/>
                <a:gd name="T8" fmla="*/ 1583 w 3166"/>
                <a:gd name="T9" fmla="*/ 0 h 3166"/>
                <a:gd name="T10" fmla="*/ 2855 w 3166"/>
                <a:gd name="T11" fmla="*/ 1709 h 3166"/>
                <a:gd name="T12" fmla="*/ 2908 w 3166"/>
                <a:gd name="T13" fmla="*/ 1709 h 3166"/>
                <a:gd name="T14" fmla="*/ 1709 w 3166"/>
                <a:gd name="T15" fmla="*/ 2909 h 3166"/>
                <a:gd name="T16" fmla="*/ 1709 w 3166"/>
                <a:gd name="T17" fmla="*/ 2855 h 3166"/>
                <a:gd name="T18" fmla="*/ 1583 w 3166"/>
                <a:gd name="T19" fmla="*/ 2729 h 3166"/>
                <a:gd name="T20" fmla="*/ 1457 w 3166"/>
                <a:gd name="T21" fmla="*/ 2855 h 3166"/>
                <a:gd name="T22" fmla="*/ 1457 w 3166"/>
                <a:gd name="T23" fmla="*/ 2909 h 3166"/>
                <a:gd name="T24" fmla="*/ 258 w 3166"/>
                <a:gd name="T25" fmla="*/ 1709 h 3166"/>
                <a:gd name="T26" fmla="*/ 311 w 3166"/>
                <a:gd name="T27" fmla="*/ 1709 h 3166"/>
                <a:gd name="T28" fmla="*/ 437 w 3166"/>
                <a:gd name="T29" fmla="*/ 1583 h 3166"/>
                <a:gd name="T30" fmla="*/ 311 w 3166"/>
                <a:gd name="T31" fmla="*/ 1458 h 3166"/>
                <a:gd name="T32" fmla="*/ 258 w 3166"/>
                <a:gd name="T33" fmla="*/ 1458 h 3166"/>
                <a:gd name="T34" fmla="*/ 1457 w 3166"/>
                <a:gd name="T35" fmla="*/ 258 h 3166"/>
                <a:gd name="T36" fmla="*/ 1457 w 3166"/>
                <a:gd name="T37" fmla="*/ 312 h 3166"/>
                <a:gd name="T38" fmla="*/ 1583 w 3166"/>
                <a:gd name="T39" fmla="*/ 437 h 3166"/>
                <a:gd name="T40" fmla="*/ 1709 w 3166"/>
                <a:gd name="T41" fmla="*/ 312 h 3166"/>
                <a:gd name="T42" fmla="*/ 1709 w 3166"/>
                <a:gd name="T43" fmla="*/ 258 h 3166"/>
                <a:gd name="T44" fmla="*/ 2908 w 3166"/>
                <a:gd name="T45" fmla="*/ 1458 h 3166"/>
                <a:gd name="T46" fmla="*/ 2855 w 3166"/>
                <a:gd name="T47" fmla="*/ 1458 h 3166"/>
                <a:gd name="T48" fmla="*/ 2729 w 3166"/>
                <a:gd name="T49" fmla="*/ 1583 h 3166"/>
                <a:gd name="T50" fmla="*/ 2855 w 3166"/>
                <a:gd name="T51" fmla="*/ 1709 h 3166"/>
                <a:gd name="T52" fmla="*/ 2855 w 3166"/>
                <a:gd name="T53" fmla="*/ 1709 h 3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66" h="3166">
                  <a:moveTo>
                    <a:pt x="1583" y="0"/>
                  </a:moveTo>
                  <a:cubicBezTo>
                    <a:pt x="710" y="0"/>
                    <a:pt x="0" y="711"/>
                    <a:pt x="0" y="1583"/>
                  </a:cubicBezTo>
                  <a:cubicBezTo>
                    <a:pt x="0" y="2456"/>
                    <a:pt x="710" y="3166"/>
                    <a:pt x="1583" y="3166"/>
                  </a:cubicBezTo>
                  <a:cubicBezTo>
                    <a:pt x="2456" y="3166"/>
                    <a:pt x="3166" y="2456"/>
                    <a:pt x="3166" y="1583"/>
                  </a:cubicBezTo>
                  <a:cubicBezTo>
                    <a:pt x="3166" y="711"/>
                    <a:pt x="2456" y="0"/>
                    <a:pt x="1583" y="0"/>
                  </a:cubicBezTo>
                  <a:close/>
                  <a:moveTo>
                    <a:pt x="2855" y="1709"/>
                  </a:moveTo>
                  <a:lnTo>
                    <a:pt x="2908" y="1709"/>
                  </a:lnTo>
                  <a:cubicBezTo>
                    <a:pt x="2848" y="2343"/>
                    <a:pt x="2343" y="2849"/>
                    <a:pt x="1709" y="2909"/>
                  </a:cubicBezTo>
                  <a:lnTo>
                    <a:pt x="1709" y="2855"/>
                  </a:lnTo>
                  <a:cubicBezTo>
                    <a:pt x="1709" y="2786"/>
                    <a:pt x="1652" y="2729"/>
                    <a:pt x="1583" y="2729"/>
                  </a:cubicBezTo>
                  <a:cubicBezTo>
                    <a:pt x="1513" y="2729"/>
                    <a:pt x="1457" y="2786"/>
                    <a:pt x="1457" y="2855"/>
                  </a:cubicBezTo>
                  <a:lnTo>
                    <a:pt x="1457" y="2909"/>
                  </a:lnTo>
                  <a:cubicBezTo>
                    <a:pt x="823" y="2849"/>
                    <a:pt x="317" y="2343"/>
                    <a:pt x="258" y="1709"/>
                  </a:cubicBezTo>
                  <a:lnTo>
                    <a:pt x="311" y="1709"/>
                  </a:lnTo>
                  <a:cubicBezTo>
                    <a:pt x="381" y="1709"/>
                    <a:pt x="437" y="1653"/>
                    <a:pt x="437" y="1583"/>
                  </a:cubicBezTo>
                  <a:cubicBezTo>
                    <a:pt x="437" y="1514"/>
                    <a:pt x="381" y="1458"/>
                    <a:pt x="311" y="1458"/>
                  </a:cubicBezTo>
                  <a:lnTo>
                    <a:pt x="258" y="1458"/>
                  </a:lnTo>
                  <a:cubicBezTo>
                    <a:pt x="317" y="824"/>
                    <a:pt x="823" y="317"/>
                    <a:pt x="1457" y="258"/>
                  </a:cubicBezTo>
                  <a:lnTo>
                    <a:pt x="1457" y="312"/>
                  </a:lnTo>
                  <a:cubicBezTo>
                    <a:pt x="1457" y="381"/>
                    <a:pt x="1513" y="437"/>
                    <a:pt x="1583" y="437"/>
                  </a:cubicBezTo>
                  <a:cubicBezTo>
                    <a:pt x="1652" y="437"/>
                    <a:pt x="1709" y="381"/>
                    <a:pt x="1709" y="312"/>
                  </a:cubicBezTo>
                  <a:lnTo>
                    <a:pt x="1709" y="258"/>
                  </a:lnTo>
                  <a:cubicBezTo>
                    <a:pt x="2343" y="317"/>
                    <a:pt x="2848" y="824"/>
                    <a:pt x="2908" y="1458"/>
                  </a:cubicBezTo>
                  <a:lnTo>
                    <a:pt x="2855" y="1458"/>
                  </a:lnTo>
                  <a:cubicBezTo>
                    <a:pt x="2785" y="1458"/>
                    <a:pt x="2729" y="1514"/>
                    <a:pt x="2729" y="1583"/>
                  </a:cubicBezTo>
                  <a:cubicBezTo>
                    <a:pt x="2729" y="1653"/>
                    <a:pt x="2785" y="1709"/>
                    <a:pt x="2855" y="1709"/>
                  </a:cubicBezTo>
                  <a:close/>
                  <a:moveTo>
                    <a:pt x="2855" y="170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385">
              <a:extLst>
                <a:ext uri="{FF2B5EF4-FFF2-40B4-BE49-F238E27FC236}">
                  <a16:creationId xmlns:a16="http://schemas.microsoft.com/office/drawing/2014/main" id="{FA9FFB9E-B7F4-4FBC-B3E0-392A07E144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4" y="3416"/>
              <a:ext cx="23" cy="36"/>
            </a:xfrm>
            <a:custGeom>
              <a:avLst/>
              <a:gdLst>
                <a:gd name="T0" fmla="*/ 543 w 669"/>
                <a:gd name="T1" fmla="*/ 0 h 1086"/>
                <a:gd name="T2" fmla="*/ 417 w 669"/>
                <a:gd name="T3" fmla="*/ 125 h 1086"/>
                <a:gd name="T4" fmla="*/ 417 w 669"/>
                <a:gd name="T5" fmla="*/ 834 h 1086"/>
                <a:gd name="T6" fmla="*/ 126 w 669"/>
                <a:gd name="T7" fmla="*/ 834 h 1086"/>
                <a:gd name="T8" fmla="*/ 0 w 669"/>
                <a:gd name="T9" fmla="*/ 960 h 1086"/>
                <a:gd name="T10" fmla="*/ 126 w 669"/>
                <a:gd name="T11" fmla="*/ 1086 h 1086"/>
                <a:gd name="T12" fmla="*/ 543 w 669"/>
                <a:gd name="T13" fmla="*/ 1086 h 1086"/>
                <a:gd name="T14" fmla="*/ 669 w 669"/>
                <a:gd name="T15" fmla="*/ 960 h 1086"/>
                <a:gd name="T16" fmla="*/ 669 w 669"/>
                <a:gd name="T17" fmla="*/ 125 h 1086"/>
                <a:gd name="T18" fmla="*/ 543 w 669"/>
                <a:gd name="T19" fmla="*/ 0 h 1086"/>
                <a:gd name="T20" fmla="*/ 543 w 669"/>
                <a:gd name="T21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9" h="1086">
                  <a:moveTo>
                    <a:pt x="543" y="0"/>
                  </a:moveTo>
                  <a:cubicBezTo>
                    <a:pt x="473" y="0"/>
                    <a:pt x="417" y="56"/>
                    <a:pt x="417" y="125"/>
                  </a:cubicBezTo>
                  <a:lnTo>
                    <a:pt x="417" y="834"/>
                  </a:lnTo>
                  <a:lnTo>
                    <a:pt x="126" y="834"/>
                  </a:lnTo>
                  <a:cubicBezTo>
                    <a:pt x="56" y="834"/>
                    <a:pt x="0" y="891"/>
                    <a:pt x="0" y="960"/>
                  </a:cubicBezTo>
                  <a:cubicBezTo>
                    <a:pt x="0" y="1029"/>
                    <a:pt x="56" y="1086"/>
                    <a:pt x="126" y="1086"/>
                  </a:cubicBezTo>
                  <a:lnTo>
                    <a:pt x="543" y="1086"/>
                  </a:lnTo>
                  <a:cubicBezTo>
                    <a:pt x="612" y="1086"/>
                    <a:pt x="669" y="1029"/>
                    <a:pt x="669" y="960"/>
                  </a:cubicBezTo>
                  <a:lnTo>
                    <a:pt x="669" y="125"/>
                  </a:lnTo>
                  <a:cubicBezTo>
                    <a:pt x="669" y="56"/>
                    <a:pt x="612" y="0"/>
                    <a:pt x="543" y="0"/>
                  </a:cubicBezTo>
                  <a:close/>
                  <a:moveTo>
                    <a:pt x="543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" name="Group 248">
            <a:extLst>
              <a:ext uri="{FF2B5EF4-FFF2-40B4-BE49-F238E27FC236}">
                <a16:creationId xmlns:a16="http://schemas.microsoft.com/office/drawing/2014/main" id="{CFCADF67-FDFD-431C-9949-D36A083A7FE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6153" y="2142579"/>
            <a:ext cx="584897" cy="530671"/>
            <a:chOff x="1780" y="300"/>
            <a:chExt cx="4088" cy="3709"/>
          </a:xfrm>
          <a:solidFill>
            <a:schemeClr val="bg2">
              <a:lumMod val="25000"/>
            </a:schemeClr>
          </a:solidFill>
        </p:grpSpPr>
        <p:sp>
          <p:nvSpPr>
            <p:cNvPr id="26" name="Freeform 249">
              <a:extLst>
                <a:ext uri="{FF2B5EF4-FFF2-40B4-BE49-F238E27FC236}">
                  <a16:creationId xmlns:a16="http://schemas.microsoft.com/office/drawing/2014/main" id="{316B7C79-17DC-4106-9F98-38A3C6DDD6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0" y="300"/>
              <a:ext cx="4088" cy="3709"/>
            </a:xfrm>
            <a:custGeom>
              <a:avLst/>
              <a:gdLst>
                <a:gd name="T0" fmla="*/ 7231 w 8517"/>
                <a:gd name="T1" fmla="*/ 2632 h 7729"/>
                <a:gd name="T2" fmla="*/ 5932 w 8517"/>
                <a:gd name="T3" fmla="*/ 1311 h 7729"/>
                <a:gd name="T4" fmla="*/ 4661 w 8517"/>
                <a:gd name="T5" fmla="*/ 0 h 7729"/>
                <a:gd name="T6" fmla="*/ 2630 w 8517"/>
                <a:gd name="T7" fmla="*/ 1317 h 7729"/>
                <a:gd name="T8" fmla="*/ 941 w 8517"/>
                <a:gd name="T9" fmla="*/ 2243 h 7729"/>
                <a:gd name="T10" fmla="*/ 480 w 8517"/>
                <a:gd name="T11" fmla="*/ 3397 h 7729"/>
                <a:gd name="T12" fmla="*/ 1042 w 8517"/>
                <a:gd name="T13" fmla="*/ 5238 h 7729"/>
                <a:gd name="T14" fmla="*/ 1532 w 8517"/>
                <a:gd name="T15" fmla="*/ 7555 h 7729"/>
                <a:gd name="T16" fmla="*/ 2332 w 8517"/>
                <a:gd name="T17" fmla="*/ 6226 h 7729"/>
                <a:gd name="T18" fmla="*/ 2776 w 8517"/>
                <a:gd name="T19" fmla="*/ 7229 h 7729"/>
                <a:gd name="T20" fmla="*/ 3633 w 8517"/>
                <a:gd name="T21" fmla="*/ 7233 h 7729"/>
                <a:gd name="T22" fmla="*/ 4081 w 8517"/>
                <a:gd name="T23" fmla="*/ 6226 h 7729"/>
                <a:gd name="T24" fmla="*/ 4546 w 8517"/>
                <a:gd name="T25" fmla="*/ 7605 h 7729"/>
                <a:gd name="T26" fmla="*/ 4747 w 8517"/>
                <a:gd name="T27" fmla="*/ 6576 h 7729"/>
                <a:gd name="T28" fmla="*/ 5191 w 8517"/>
                <a:gd name="T29" fmla="*/ 7198 h 7729"/>
                <a:gd name="T30" fmla="*/ 5661 w 8517"/>
                <a:gd name="T31" fmla="*/ 7610 h 7729"/>
                <a:gd name="T32" fmla="*/ 6076 w 8517"/>
                <a:gd name="T33" fmla="*/ 6435 h 7729"/>
                <a:gd name="T34" fmla="*/ 6658 w 8517"/>
                <a:gd name="T35" fmla="*/ 7599 h 7729"/>
                <a:gd name="T36" fmla="*/ 7540 w 8517"/>
                <a:gd name="T37" fmla="*/ 6322 h 7729"/>
                <a:gd name="T38" fmla="*/ 8029 w 8517"/>
                <a:gd name="T39" fmla="*/ 5179 h 7729"/>
                <a:gd name="T40" fmla="*/ 3016 w 8517"/>
                <a:gd name="T41" fmla="*/ 3937 h 7729"/>
                <a:gd name="T42" fmla="*/ 3475 w 8517"/>
                <a:gd name="T43" fmla="*/ 3641 h 7729"/>
                <a:gd name="T44" fmla="*/ 3784 w 8517"/>
                <a:gd name="T45" fmla="*/ 4446 h 7729"/>
                <a:gd name="T46" fmla="*/ 2750 w 8517"/>
                <a:gd name="T47" fmla="*/ 5038 h 7729"/>
                <a:gd name="T48" fmla="*/ 2972 w 8517"/>
                <a:gd name="T49" fmla="*/ 5611 h 7729"/>
                <a:gd name="T50" fmla="*/ 3491 w 8517"/>
                <a:gd name="T51" fmla="*/ 5842 h 7729"/>
                <a:gd name="T52" fmla="*/ 3403 w 8517"/>
                <a:gd name="T53" fmla="*/ 7111 h 7729"/>
                <a:gd name="T54" fmla="*/ 5141 w 8517"/>
                <a:gd name="T55" fmla="*/ 4717 h 7729"/>
                <a:gd name="T56" fmla="*/ 6031 w 8517"/>
                <a:gd name="T57" fmla="*/ 4794 h 7729"/>
                <a:gd name="T58" fmla="*/ 5944 w 8517"/>
                <a:gd name="T59" fmla="*/ 5500 h 7729"/>
                <a:gd name="T60" fmla="*/ 5141 w 8517"/>
                <a:gd name="T61" fmla="*/ 4998 h 7729"/>
                <a:gd name="T62" fmla="*/ 5586 w 8517"/>
                <a:gd name="T63" fmla="*/ 5937 h 7729"/>
                <a:gd name="T64" fmla="*/ 5577 w 8517"/>
                <a:gd name="T65" fmla="*/ 7340 h 7729"/>
                <a:gd name="T66" fmla="*/ 8268 w 8517"/>
                <a:gd name="T67" fmla="*/ 4661 h 7729"/>
                <a:gd name="T68" fmla="*/ 7017 w 8517"/>
                <a:gd name="T69" fmla="*/ 6095 h 7729"/>
                <a:gd name="T70" fmla="*/ 6368 w 8517"/>
                <a:gd name="T71" fmla="*/ 6270 h 7729"/>
                <a:gd name="T72" fmla="*/ 6011 w 8517"/>
                <a:gd name="T73" fmla="*/ 6049 h 7729"/>
                <a:gd name="T74" fmla="*/ 6281 w 8517"/>
                <a:gd name="T75" fmla="*/ 4967 h 7729"/>
                <a:gd name="T76" fmla="*/ 4891 w 8517"/>
                <a:gd name="T77" fmla="*/ 4636 h 7729"/>
                <a:gd name="T78" fmla="*/ 5169 w 8517"/>
                <a:gd name="T79" fmla="*/ 5756 h 7729"/>
                <a:gd name="T80" fmla="*/ 4635 w 8517"/>
                <a:gd name="T81" fmla="*/ 6351 h 7729"/>
                <a:gd name="T82" fmla="*/ 3690 w 8517"/>
                <a:gd name="T83" fmla="*/ 5313 h 7729"/>
                <a:gd name="T84" fmla="*/ 4033 w 8517"/>
                <a:gd name="T85" fmla="*/ 3950 h 7729"/>
                <a:gd name="T86" fmla="*/ 2380 w 8517"/>
                <a:gd name="T87" fmla="*/ 4301 h 7729"/>
                <a:gd name="T88" fmla="*/ 2625 w 8517"/>
                <a:gd name="T89" fmla="*/ 5835 h 7729"/>
                <a:gd name="T90" fmla="*/ 1181 w 8517"/>
                <a:gd name="T91" fmla="*/ 6850 h 7729"/>
                <a:gd name="T92" fmla="*/ 1021 w 8517"/>
                <a:gd name="T93" fmla="*/ 4962 h 7729"/>
                <a:gd name="T94" fmla="*/ 1010 w 8517"/>
                <a:gd name="T95" fmla="*/ 3607 h 7729"/>
                <a:gd name="T96" fmla="*/ 1140 w 8517"/>
                <a:gd name="T97" fmla="*/ 1708 h 7729"/>
                <a:gd name="T98" fmla="*/ 3399 w 8517"/>
                <a:gd name="T99" fmla="*/ 1266 h 7729"/>
                <a:gd name="T100" fmla="*/ 4930 w 8517"/>
                <a:gd name="T101" fmla="*/ 503 h 7729"/>
                <a:gd name="T102" fmla="*/ 6484 w 8517"/>
                <a:gd name="T103" fmla="*/ 1167 h 7729"/>
                <a:gd name="T104" fmla="*/ 7006 w 8517"/>
                <a:gd name="T105" fmla="*/ 2795 h 7729"/>
                <a:gd name="T106" fmla="*/ 8268 w 8517"/>
                <a:gd name="T107" fmla="*/ 4661 h 7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17" h="7729">
                  <a:moveTo>
                    <a:pt x="8037" y="3397"/>
                  </a:moveTo>
                  <a:lnTo>
                    <a:pt x="7526" y="3358"/>
                  </a:lnTo>
                  <a:cubicBezTo>
                    <a:pt x="7509" y="3357"/>
                    <a:pt x="7495" y="3346"/>
                    <a:pt x="7491" y="3330"/>
                  </a:cubicBezTo>
                  <a:cubicBezTo>
                    <a:pt x="7426" y="3105"/>
                    <a:pt x="7337" y="2885"/>
                    <a:pt x="7226" y="2677"/>
                  </a:cubicBezTo>
                  <a:cubicBezTo>
                    <a:pt x="7218" y="2663"/>
                    <a:pt x="7220" y="2645"/>
                    <a:pt x="7231" y="2632"/>
                  </a:cubicBezTo>
                  <a:lnTo>
                    <a:pt x="7576" y="2243"/>
                  </a:lnTo>
                  <a:cubicBezTo>
                    <a:pt x="7757" y="2038"/>
                    <a:pt x="7748" y="1726"/>
                    <a:pt x="7554" y="1532"/>
                  </a:cubicBezTo>
                  <a:lnTo>
                    <a:pt x="7027" y="1004"/>
                  </a:lnTo>
                  <a:cubicBezTo>
                    <a:pt x="6836" y="814"/>
                    <a:pt x="6526" y="802"/>
                    <a:pt x="6321" y="977"/>
                  </a:cubicBezTo>
                  <a:lnTo>
                    <a:pt x="5932" y="1311"/>
                  </a:lnTo>
                  <a:cubicBezTo>
                    <a:pt x="5920" y="1322"/>
                    <a:pt x="5901" y="1324"/>
                    <a:pt x="5887" y="1316"/>
                  </a:cubicBezTo>
                  <a:cubicBezTo>
                    <a:pt x="5682" y="1202"/>
                    <a:pt x="5463" y="1110"/>
                    <a:pt x="5238" y="1042"/>
                  </a:cubicBezTo>
                  <a:cubicBezTo>
                    <a:pt x="5223" y="1037"/>
                    <a:pt x="5212" y="1022"/>
                    <a:pt x="5211" y="1006"/>
                  </a:cubicBezTo>
                  <a:lnTo>
                    <a:pt x="5179" y="488"/>
                  </a:lnTo>
                  <a:cubicBezTo>
                    <a:pt x="5162" y="214"/>
                    <a:pt x="4935" y="0"/>
                    <a:pt x="4661" y="0"/>
                  </a:cubicBezTo>
                  <a:lnTo>
                    <a:pt x="3915" y="0"/>
                  </a:lnTo>
                  <a:cubicBezTo>
                    <a:pt x="3645" y="0"/>
                    <a:pt x="3418" y="211"/>
                    <a:pt x="3397" y="480"/>
                  </a:cubicBezTo>
                  <a:lnTo>
                    <a:pt x="3358" y="991"/>
                  </a:lnTo>
                  <a:cubicBezTo>
                    <a:pt x="3357" y="1008"/>
                    <a:pt x="3346" y="1022"/>
                    <a:pt x="3330" y="1026"/>
                  </a:cubicBezTo>
                  <a:cubicBezTo>
                    <a:pt x="3087" y="1096"/>
                    <a:pt x="2851" y="1194"/>
                    <a:pt x="2630" y="1317"/>
                  </a:cubicBezTo>
                  <a:cubicBezTo>
                    <a:pt x="2616" y="1324"/>
                    <a:pt x="2598" y="1322"/>
                    <a:pt x="2585" y="1311"/>
                  </a:cubicBezTo>
                  <a:lnTo>
                    <a:pt x="2196" y="977"/>
                  </a:lnTo>
                  <a:cubicBezTo>
                    <a:pt x="1991" y="802"/>
                    <a:pt x="1682" y="814"/>
                    <a:pt x="1491" y="1004"/>
                  </a:cubicBezTo>
                  <a:lnTo>
                    <a:pt x="963" y="1532"/>
                  </a:lnTo>
                  <a:cubicBezTo>
                    <a:pt x="769" y="1726"/>
                    <a:pt x="760" y="2038"/>
                    <a:pt x="941" y="2243"/>
                  </a:cubicBezTo>
                  <a:lnTo>
                    <a:pt x="1286" y="2632"/>
                  </a:lnTo>
                  <a:cubicBezTo>
                    <a:pt x="1297" y="2645"/>
                    <a:pt x="1299" y="2663"/>
                    <a:pt x="1292" y="2677"/>
                  </a:cubicBezTo>
                  <a:cubicBezTo>
                    <a:pt x="1180" y="2885"/>
                    <a:pt x="1091" y="3105"/>
                    <a:pt x="1027" y="3330"/>
                  </a:cubicBezTo>
                  <a:cubicBezTo>
                    <a:pt x="1022" y="3346"/>
                    <a:pt x="1008" y="3357"/>
                    <a:pt x="991" y="3358"/>
                  </a:cubicBezTo>
                  <a:lnTo>
                    <a:pt x="480" y="3397"/>
                  </a:lnTo>
                  <a:cubicBezTo>
                    <a:pt x="211" y="3418"/>
                    <a:pt x="0" y="3645"/>
                    <a:pt x="0" y="3915"/>
                  </a:cubicBezTo>
                  <a:lnTo>
                    <a:pt x="0" y="4661"/>
                  </a:lnTo>
                  <a:cubicBezTo>
                    <a:pt x="0" y="4935"/>
                    <a:pt x="215" y="5163"/>
                    <a:pt x="488" y="5179"/>
                  </a:cubicBezTo>
                  <a:lnTo>
                    <a:pt x="1006" y="5211"/>
                  </a:lnTo>
                  <a:cubicBezTo>
                    <a:pt x="1023" y="5212"/>
                    <a:pt x="1037" y="5223"/>
                    <a:pt x="1042" y="5238"/>
                  </a:cubicBezTo>
                  <a:cubicBezTo>
                    <a:pt x="1110" y="5463"/>
                    <a:pt x="1203" y="5682"/>
                    <a:pt x="1316" y="5887"/>
                  </a:cubicBezTo>
                  <a:cubicBezTo>
                    <a:pt x="1324" y="5902"/>
                    <a:pt x="1322" y="5920"/>
                    <a:pt x="1311" y="5932"/>
                  </a:cubicBezTo>
                  <a:lnTo>
                    <a:pt x="977" y="6322"/>
                  </a:lnTo>
                  <a:cubicBezTo>
                    <a:pt x="802" y="6526"/>
                    <a:pt x="814" y="6836"/>
                    <a:pt x="1004" y="7027"/>
                  </a:cubicBezTo>
                  <a:lnTo>
                    <a:pt x="1532" y="7555"/>
                  </a:lnTo>
                  <a:cubicBezTo>
                    <a:pt x="1579" y="7602"/>
                    <a:pt x="1634" y="7639"/>
                    <a:pt x="1695" y="7665"/>
                  </a:cubicBezTo>
                  <a:cubicBezTo>
                    <a:pt x="1758" y="7692"/>
                    <a:pt x="1831" y="7663"/>
                    <a:pt x="1858" y="7599"/>
                  </a:cubicBezTo>
                  <a:cubicBezTo>
                    <a:pt x="1868" y="7576"/>
                    <a:pt x="1871" y="7552"/>
                    <a:pt x="1867" y="7529"/>
                  </a:cubicBezTo>
                  <a:lnTo>
                    <a:pt x="1867" y="6875"/>
                  </a:lnTo>
                  <a:cubicBezTo>
                    <a:pt x="1867" y="6580"/>
                    <a:pt x="2054" y="6319"/>
                    <a:pt x="2332" y="6226"/>
                  </a:cubicBezTo>
                  <a:lnTo>
                    <a:pt x="2594" y="6137"/>
                  </a:lnTo>
                  <a:cubicBezTo>
                    <a:pt x="2645" y="6121"/>
                    <a:pt x="2692" y="6097"/>
                    <a:pt x="2735" y="6067"/>
                  </a:cubicBezTo>
                  <a:cubicBezTo>
                    <a:pt x="2830" y="6096"/>
                    <a:pt x="2928" y="6116"/>
                    <a:pt x="3027" y="6126"/>
                  </a:cubicBezTo>
                  <a:lnTo>
                    <a:pt x="2749" y="7111"/>
                  </a:lnTo>
                  <a:cubicBezTo>
                    <a:pt x="2737" y="7152"/>
                    <a:pt x="2747" y="7197"/>
                    <a:pt x="2776" y="7229"/>
                  </a:cubicBezTo>
                  <a:lnTo>
                    <a:pt x="3097" y="7586"/>
                  </a:lnTo>
                  <a:cubicBezTo>
                    <a:pt x="3120" y="7612"/>
                    <a:pt x="3152" y="7627"/>
                    <a:pt x="3186" y="7628"/>
                  </a:cubicBezTo>
                  <a:lnTo>
                    <a:pt x="3190" y="7628"/>
                  </a:lnTo>
                  <a:cubicBezTo>
                    <a:pt x="3223" y="7628"/>
                    <a:pt x="3255" y="7615"/>
                    <a:pt x="3278" y="7591"/>
                  </a:cubicBezTo>
                  <a:lnTo>
                    <a:pt x="3633" y="7233"/>
                  </a:lnTo>
                  <a:cubicBezTo>
                    <a:pt x="3666" y="7200"/>
                    <a:pt x="3677" y="7152"/>
                    <a:pt x="3664" y="7108"/>
                  </a:cubicBezTo>
                  <a:lnTo>
                    <a:pt x="3355" y="6122"/>
                  </a:lnTo>
                  <a:cubicBezTo>
                    <a:pt x="3458" y="6109"/>
                    <a:pt x="3560" y="6086"/>
                    <a:pt x="3658" y="6052"/>
                  </a:cubicBezTo>
                  <a:cubicBezTo>
                    <a:pt x="3707" y="6089"/>
                    <a:pt x="3761" y="6118"/>
                    <a:pt x="3819" y="6137"/>
                  </a:cubicBezTo>
                  <a:lnTo>
                    <a:pt x="4081" y="6226"/>
                  </a:lnTo>
                  <a:cubicBezTo>
                    <a:pt x="4259" y="6286"/>
                    <a:pt x="4406" y="6418"/>
                    <a:pt x="4484" y="6589"/>
                  </a:cubicBezTo>
                  <a:cubicBezTo>
                    <a:pt x="4524" y="6676"/>
                    <a:pt x="4545" y="6768"/>
                    <a:pt x="4546" y="6862"/>
                  </a:cubicBezTo>
                  <a:cubicBezTo>
                    <a:pt x="4546" y="6865"/>
                    <a:pt x="4546" y="6867"/>
                    <a:pt x="4546" y="6869"/>
                  </a:cubicBezTo>
                  <a:cubicBezTo>
                    <a:pt x="4546" y="6871"/>
                    <a:pt x="4546" y="6873"/>
                    <a:pt x="4546" y="6875"/>
                  </a:cubicBezTo>
                  <a:lnTo>
                    <a:pt x="4546" y="7605"/>
                  </a:lnTo>
                  <a:cubicBezTo>
                    <a:pt x="4546" y="7673"/>
                    <a:pt x="4602" y="7729"/>
                    <a:pt x="4671" y="7729"/>
                  </a:cubicBezTo>
                  <a:cubicBezTo>
                    <a:pt x="4740" y="7729"/>
                    <a:pt x="4796" y="7673"/>
                    <a:pt x="4796" y="7605"/>
                  </a:cubicBezTo>
                  <a:lnTo>
                    <a:pt x="4796" y="6875"/>
                  </a:lnTo>
                  <a:cubicBezTo>
                    <a:pt x="4796" y="6868"/>
                    <a:pt x="4796" y="6862"/>
                    <a:pt x="4796" y="6856"/>
                  </a:cubicBezTo>
                  <a:cubicBezTo>
                    <a:pt x="4794" y="6760"/>
                    <a:pt x="4777" y="6666"/>
                    <a:pt x="4747" y="6576"/>
                  </a:cubicBezTo>
                  <a:cubicBezTo>
                    <a:pt x="4788" y="6547"/>
                    <a:pt x="4834" y="6523"/>
                    <a:pt x="4883" y="6507"/>
                  </a:cubicBezTo>
                  <a:lnTo>
                    <a:pt x="5096" y="6435"/>
                  </a:lnTo>
                  <a:cubicBezTo>
                    <a:pt x="5136" y="6422"/>
                    <a:pt x="5173" y="6404"/>
                    <a:pt x="5207" y="6381"/>
                  </a:cubicBezTo>
                  <a:cubicBezTo>
                    <a:pt x="5274" y="6401"/>
                    <a:pt x="5341" y="6415"/>
                    <a:pt x="5410" y="6424"/>
                  </a:cubicBezTo>
                  <a:lnTo>
                    <a:pt x="5191" y="7198"/>
                  </a:lnTo>
                  <a:cubicBezTo>
                    <a:pt x="5180" y="7239"/>
                    <a:pt x="5190" y="7283"/>
                    <a:pt x="5218" y="7315"/>
                  </a:cubicBezTo>
                  <a:lnTo>
                    <a:pt x="5479" y="7606"/>
                  </a:lnTo>
                  <a:cubicBezTo>
                    <a:pt x="5502" y="7631"/>
                    <a:pt x="5535" y="7646"/>
                    <a:pt x="5569" y="7647"/>
                  </a:cubicBezTo>
                  <a:cubicBezTo>
                    <a:pt x="5570" y="7647"/>
                    <a:pt x="5571" y="7647"/>
                    <a:pt x="5572" y="7647"/>
                  </a:cubicBezTo>
                  <a:cubicBezTo>
                    <a:pt x="5605" y="7647"/>
                    <a:pt x="5637" y="7634"/>
                    <a:pt x="5661" y="7610"/>
                  </a:cubicBezTo>
                  <a:lnTo>
                    <a:pt x="5949" y="7319"/>
                  </a:lnTo>
                  <a:cubicBezTo>
                    <a:pt x="5982" y="7286"/>
                    <a:pt x="5993" y="7238"/>
                    <a:pt x="5979" y="7194"/>
                  </a:cubicBezTo>
                  <a:lnTo>
                    <a:pt x="5737" y="6420"/>
                  </a:lnTo>
                  <a:cubicBezTo>
                    <a:pt x="5809" y="6409"/>
                    <a:pt x="5879" y="6393"/>
                    <a:pt x="5949" y="6369"/>
                  </a:cubicBezTo>
                  <a:cubicBezTo>
                    <a:pt x="5987" y="6398"/>
                    <a:pt x="6030" y="6420"/>
                    <a:pt x="6076" y="6435"/>
                  </a:cubicBezTo>
                  <a:lnTo>
                    <a:pt x="6288" y="6507"/>
                  </a:lnTo>
                  <a:cubicBezTo>
                    <a:pt x="6505" y="6580"/>
                    <a:pt x="6651" y="6783"/>
                    <a:pt x="6651" y="7012"/>
                  </a:cubicBezTo>
                  <a:lnTo>
                    <a:pt x="6651" y="7522"/>
                  </a:lnTo>
                  <a:cubicBezTo>
                    <a:pt x="6651" y="7523"/>
                    <a:pt x="6651" y="7523"/>
                    <a:pt x="6651" y="7524"/>
                  </a:cubicBezTo>
                  <a:cubicBezTo>
                    <a:pt x="6645" y="7548"/>
                    <a:pt x="6647" y="7574"/>
                    <a:pt x="6658" y="7599"/>
                  </a:cubicBezTo>
                  <a:cubicBezTo>
                    <a:pt x="6678" y="7647"/>
                    <a:pt x="6724" y="7675"/>
                    <a:pt x="6773" y="7675"/>
                  </a:cubicBezTo>
                  <a:cubicBezTo>
                    <a:pt x="6789" y="7675"/>
                    <a:pt x="6805" y="7672"/>
                    <a:pt x="6821" y="7665"/>
                  </a:cubicBezTo>
                  <a:cubicBezTo>
                    <a:pt x="6883" y="7639"/>
                    <a:pt x="6938" y="7602"/>
                    <a:pt x="6985" y="7555"/>
                  </a:cubicBezTo>
                  <a:lnTo>
                    <a:pt x="7513" y="7027"/>
                  </a:lnTo>
                  <a:cubicBezTo>
                    <a:pt x="7704" y="6836"/>
                    <a:pt x="7716" y="6526"/>
                    <a:pt x="7540" y="6322"/>
                  </a:cubicBezTo>
                  <a:lnTo>
                    <a:pt x="7206" y="5932"/>
                  </a:lnTo>
                  <a:cubicBezTo>
                    <a:pt x="7195" y="5920"/>
                    <a:pt x="7193" y="5902"/>
                    <a:pt x="7201" y="5887"/>
                  </a:cubicBezTo>
                  <a:cubicBezTo>
                    <a:pt x="7315" y="5682"/>
                    <a:pt x="7407" y="5463"/>
                    <a:pt x="7476" y="5238"/>
                  </a:cubicBezTo>
                  <a:cubicBezTo>
                    <a:pt x="7480" y="5223"/>
                    <a:pt x="7495" y="5212"/>
                    <a:pt x="7512" y="5211"/>
                  </a:cubicBezTo>
                  <a:lnTo>
                    <a:pt x="8029" y="5179"/>
                  </a:lnTo>
                  <a:cubicBezTo>
                    <a:pt x="8303" y="5163"/>
                    <a:pt x="8517" y="4935"/>
                    <a:pt x="8517" y="4661"/>
                  </a:cubicBezTo>
                  <a:lnTo>
                    <a:pt x="8517" y="3915"/>
                  </a:lnTo>
                  <a:cubicBezTo>
                    <a:pt x="8517" y="3645"/>
                    <a:pt x="8306" y="3418"/>
                    <a:pt x="8037" y="3397"/>
                  </a:cubicBezTo>
                  <a:close/>
                  <a:moveTo>
                    <a:pt x="3784" y="4184"/>
                  </a:moveTo>
                  <a:lnTo>
                    <a:pt x="3016" y="3937"/>
                  </a:lnTo>
                  <a:cubicBezTo>
                    <a:pt x="2984" y="3927"/>
                    <a:pt x="2949" y="3930"/>
                    <a:pt x="2920" y="3945"/>
                  </a:cubicBezTo>
                  <a:lnTo>
                    <a:pt x="2629" y="4097"/>
                  </a:lnTo>
                  <a:lnTo>
                    <a:pt x="2629" y="3950"/>
                  </a:lnTo>
                  <a:cubicBezTo>
                    <a:pt x="2629" y="3780"/>
                    <a:pt x="2768" y="3641"/>
                    <a:pt x="2938" y="3641"/>
                  </a:cubicBezTo>
                  <a:lnTo>
                    <a:pt x="3475" y="3641"/>
                  </a:lnTo>
                  <a:cubicBezTo>
                    <a:pt x="3645" y="3641"/>
                    <a:pt x="3784" y="3780"/>
                    <a:pt x="3784" y="3950"/>
                  </a:cubicBezTo>
                  <a:lnTo>
                    <a:pt x="3784" y="4184"/>
                  </a:lnTo>
                  <a:close/>
                  <a:moveTo>
                    <a:pt x="2629" y="4378"/>
                  </a:moveTo>
                  <a:lnTo>
                    <a:pt x="2989" y="4190"/>
                  </a:lnTo>
                  <a:lnTo>
                    <a:pt x="3784" y="4446"/>
                  </a:lnTo>
                  <a:lnTo>
                    <a:pt x="3784" y="4822"/>
                  </a:lnTo>
                  <a:cubicBezTo>
                    <a:pt x="3784" y="4910"/>
                    <a:pt x="3737" y="4992"/>
                    <a:pt x="3663" y="5038"/>
                  </a:cubicBezTo>
                  <a:lnTo>
                    <a:pt x="3337" y="5236"/>
                  </a:lnTo>
                  <a:cubicBezTo>
                    <a:pt x="3257" y="5285"/>
                    <a:pt x="3156" y="5285"/>
                    <a:pt x="3076" y="5236"/>
                  </a:cubicBezTo>
                  <a:lnTo>
                    <a:pt x="2750" y="5038"/>
                  </a:lnTo>
                  <a:cubicBezTo>
                    <a:pt x="2676" y="4992"/>
                    <a:pt x="2629" y="4910"/>
                    <a:pt x="2629" y="4822"/>
                  </a:cubicBezTo>
                  <a:lnTo>
                    <a:pt x="2629" y="4378"/>
                  </a:lnTo>
                  <a:close/>
                  <a:moveTo>
                    <a:pt x="3201" y="5884"/>
                  </a:moveTo>
                  <a:cubicBezTo>
                    <a:pt x="3104" y="5886"/>
                    <a:pt x="3009" y="5876"/>
                    <a:pt x="2915" y="5856"/>
                  </a:cubicBezTo>
                  <a:cubicBezTo>
                    <a:pt x="2952" y="5781"/>
                    <a:pt x="2972" y="5697"/>
                    <a:pt x="2972" y="5611"/>
                  </a:cubicBezTo>
                  <a:lnTo>
                    <a:pt x="2972" y="5464"/>
                  </a:lnTo>
                  <a:cubicBezTo>
                    <a:pt x="3046" y="5503"/>
                    <a:pt x="3126" y="5523"/>
                    <a:pt x="3206" y="5523"/>
                  </a:cubicBezTo>
                  <a:cubicBezTo>
                    <a:pt x="3287" y="5523"/>
                    <a:pt x="3367" y="5503"/>
                    <a:pt x="3441" y="5464"/>
                  </a:cubicBezTo>
                  <a:lnTo>
                    <a:pt x="3441" y="5611"/>
                  </a:lnTo>
                  <a:cubicBezTo>
                    <a:pt x="3441" y="5692"/>
                    <a:pt x="3458" y="5771"/>
                    <a:pt x="3491" y="5842"/>
                  </a:cubicBezTo>
                  <a:cubicBezTo>
                    <a:pt x="3396" y="5867"/>
                    <a:pt x="3299" y="5881"/>
                    <a:pt x="3201" y="5884"/>
                  </a:cubicBezTo>
                  <a:close/>
                  <a:moveTo>
                    <a:pt x="3194" y="7321"/>
                  </a:moveTo>
                  <a:lnTo>
                    <a:pt x="3007" y="7113"/>
                  </a:lnTo>
                  <a:lnTo>
                    <a:pt x="3196" y="6448"/>
                  </a:lnTo>
                  <a:lnTo>
                    <a:pt x="3403" y="7111"/>
                  </a:lnTo>
                  <a:lnTo>
                    <a:pt x="3194" y="7321"/>
                  </a:lnTo>
                  <a:close/>
                  <a:moveTo>
                    <a:pt x="6031" y="4794"/>
                  </a:moveTo>
                  <a:lnTo>
                    <a:pt x="5438" y="4603"/>
                  </a:lnTo>
                  <a:cubicBezTo>
                    <a:pt x="5406" y="4593"/>
                    <a:pt x="5372" y="4596"/>
                    <a:pt x="5342" y="4611"/>
                  </a:cubicBezTo>
                  <a:lnTo>
                    <a:pt x="5141" y="4717"/>
                  </a:lnTo>
                  <a:lnTo>
                    <a:pt x="5141" y="4636"/>
                  </a:lnTo>
                  <a:cubicBezTo>
                    <a:pt x="5141" y="4511"/>
                    <a:pt x="5242" y="4408"/>
                    <a:pt x="5368" y="4408"/>
                  </a:cubicBezTo>
                  <a:lnTo>
                    <a:pt x="5804" y="4408"/>
                  </a:lnTo>
                  <a:cubicBezTo>
                    <a:pt x="5929" y="4408"/>
                    <a:pt x="6031" y="4511"/>
                    <a:pt x="6031" y="4636"/>
                  </a:cubicBezTo>
                  <a:lnTo>
                    <a:pt x="6031" y="4794"/>
                  </a:lnTo>
                  <a:close/>
                  <a:moveTo>
                    <a:pt x="5141" y="4998"/>
                  </a:moveTo>
                  <a:lnTo>
                    <a:pt x="5411" y="4857"/>
                  </a:lnTo>
                  <a:lnTo>
                    <a:pt x="6031" y="5056"/>
                  </a:lnTo>
                  <a:lnTo>
                    <a:pt x="6031" y="5345"/>
                  </a:lnTo>
                  <a:cubicBezTo>
                    <a:pt x="6031" y="5408"/>
                    <a:pt x="5998" y="5467"/>
                    <a:pt x="5944" y="5500"/>
                  </a:cubicBezTo>
                  <a:lnTo>
                    <a:pt x="5680" y="5661"/>
                  </a:lnTo>
                  <a:cubicBezTo>
                    <a:pt x="5622" y="5696"/>
                    <a:pt x="5550" y="5696"/>
                    <a:pt x="5492" y="5661"/>
                  </a:cubicBezTo>
                  <a:lnTo>
                    <a:pt x="5227" y="5500"/>
                  </a:lnTo>
                  <a:cubicBezTo>
                    <a:pt x="5174" y="5467"/>
                    <a:pt x="5141" y="5408"/>
                    <a:pt x="5141" y="5345"/>
                  </a:cubicBezTo>
                  <a:lnTo>
                    <a:pt x="5141" y="4998"/>
                  </a:lnTo>
                  <a:close/>
                  <a:moveTo>
                    <a:pt x="5581" y="6183"/>
                  </a:moveTo>
                  <a:cubicBezTo>
                    <a:pt x="5514" y="6185"/>
                    <a:pt x="5448" y="6179"/>
                    <a:pt x="5382" y="6167"/>
                  </a:cubicBezTo>
                  <a:cubicBezTo>
                    <a:pt x="5406" y="6110"/>
                    <a:pt x="5419" y="6048"/>
                    <a:pt x="5419" y="5985"/>
                  </a:cubicBezTo>
                  <a:lnTo>
                    <a:pt x="5419" y="5903"/>
                  </a:lnTo>
                  <a:cubicBezTo>
                    <a:pt x="5472" y="5926"/>
                    <a:pt x="5529" y="5937"/>
                    <a:pt x="5586" y="5937"/>
                  </a:cubicBezTo>
                  <a:cubicBezTo>
                    <a:pt x="5643" y="5937"/>
                    <a:pt x="5699" y="5926"/>
                    <a:pt x="5753" y="5903"/>
                  </a:cubicBezTo>
                  <a:lnTo>
                    <a:pt x="5753" y="5985"/>
                  </a:lnTo>
                  <a:cubicBezTo>
                    <a:pt x="5753" y="6045"/>
                    <a:pt x="5764" y="6103"/>
                    <a:pt x="5785" y="6157"/>
                  </a:cubicBezTo>
                  <a:cubicBezTo>
                    <a:pt x="5718" y="6173"/>
                    <a:pt x="5650" y="6182"/>
                    <a:pt x="5581" y="6183"/>
                  </a:cubicBezTo>
                  <a:close/>
                  <a:moveTo>
                    <a:pt x="5577" y="7340"/>
                  </a:moveTo>
                  <a:lnTo>
                    <a:pt x="5450" y="7199"/>
                  </a:lnTo>
                  <a:lnTo>
                    <a:pt x="5578" y="6747"/>
                  </a:lnTo>
                  <a:lnTo>
                    <a:pt x="5719" y="7197"/>
                  </a:lnTo>
                  <a:lnTo>
                    <a:pt x="5577" y="7340"/>
                  </a:lnTo>
                  <a:close/>
                  <a:moveTo>
                    <a:pt x="8268" y="4661"/>
                  </a:moveTo>
                  <a:cubicBezTo>
                    <a:pt x="8268" y="4803"/>
                    <a:pt x="8156" y="4922"/>
                    <a:pt x="8014" y="4930"/>
                  </a:cubicBezTo>
                  <a:lnTo>
                    <a:pt x="7496" y="4962"/>
                  </a:lnTo>
                  <a:cubicBezTo>
                    <a:pt x="7376" y="4969"/>
                    <a:pt x="7272" y="5051"/>
                    <a:pt x="7237" y="5166"/>
                  </a:cubicBezTo>
                  <a:cubicBezTo>
                    <a:pt x="7174" y="5374"/>
                    <a:pt x="7088" y="5576"/>
                    <a:pt x="6983" y="5766"/>
                  </a:cubicBezTo>
                  <a:cubicBezTo>
                    <a:pt x="6924" y="5871"/>
                    <a:pt x="6938" y="6003"/>
                    <a:pt x="7017" y="6095"/>
                  </a:cubicBezTo>
                  <a:lnTo>
                    <a:pt x="7351" y="6484"/>
                  </a:lnTo>
                  <a:cubicBezTo>
                    <a:pt x="7442" y="6591"/>
                    <a:pt x="7436" y="6751"/>
                    <a:pt x="7337" y="6850"/>
                  </a:cubicBezTo>
                  <a:lnTo>
                    <a:pt x="6900" y="7287"/>
                  </a:lnTo>
                  <a:lnTo>
                    <a:pt x="6900" y="7012"/>
                  </a:lnTo>
                  <a:cubicBezTo>
                    <a:pt x="6900" y="6675"/>
                    <a:pt x="6686" y="6377"/>
                    <a:pt x="6368" y="6270"/>
                  </a:cubicBezTo>
                  <a:lnTo>
                    <a:pt x="6200" y="6214"/>
                  </a:lnTo>
                  <a:cubicBezTo>
                    <a:pt x="6685" y="5731"/>
                    <a:pt x="6979" y="5080"/>
                    <a:pt x="7013" y="4402"/>
                  </a:cubicBezTo>
                  <a:cubicBezTo>
                    <a:pt x="7017" y="4333"/>
                    <a:pt x="6964" y="4275"/>
                    <a:pt x="6895" y="4271"/>
                  </a:cubicBezTo>
                  <a:cubicBezTo>
                    <a:pt x="6826" y="4268"/>
                    <a:pt x="6768" y="4321"/>
                    <a:pt x="6764" y="4390"/>
                  </a:cubicBezTo>
                  <a:cubicBezTo>
                    <a:pt x="6733" y="5012"/>
                    <a:pt x="6460" y="5609"/>
                    <a:pt x="6011" y="6049"/>
                  </a:cubicBezTo>
                  <a:cubicBezTo>
                    <a:pt x="6005" y="6029"/>
                    <a:pt x="6002" y="6007"/>
                    <a:pt x="6002" y="5985"/>
                  </a:cubicBezTo>
                  <a:lnTo>
                    <a:pt x="6002" y="5756"/>
                  </a:lnTo>
                  <a:lnTo>
                    <a:pt x="6074" y="5713"/>
                  </a:lnTo>
                  <a:cubicBezTo>
                    <a:pt x="6202" y="5635"/>
                    <a:pt x="6281" y="5494"/>
                    <a:pt x="6281" y="5345"/>
                  </a:cubicBezTo>
                  <a:lnTo>
                    <a:pt x="6281" y="4967"/>
                  </a:lnTo>
                  <a:lnTo>
                    <a:pt x="6281" y="4966"/>
                  </a:lnTo>
                  <a:lnTo>
                    <a:pt x="6281" y="4636"/>
                  </a:lnTo>
                  <a:cubicBezTo>
                    <a:pt x="6281" y="4373"/>
                    <a:pt x="6067" y="4159"/>
                    <a:pt x="5804" y="4159"/>
                  </a:cubicBezTo>
                  <a:lnTo>
                    <a:pt x="5368" y="4159"/>
                  </a:lnTo>
                  <a:cubicBezTo>
                    <a:pt x="5105" y="4159"/>
                    <a:pt x="4891" y="4373"/>
                    <a:pt x="4891" y="4636"/>
                  </a:cubicBezTo>
                  <a:lnTo>
                    <a:pt x="4891" y="4920"/>
                  </a:lnTo>
                  <a:lnTo>
                    <a:pt x="4891" y="4921"/>
                  </a:lnTo>
                  <a:lnTo>
                    <a:pt x="4891" y="5345"/>
                  </a:lnTo>
                  <a:cubicBezTo>
                    <a:pt x="4891" y="5494"/>
                    <a:pt x="4970" y="5635"/>
                    <a:pt x="5097" y="5713"/>
                  </a:cubicBezTo>
                  <a:lnTo>
                    <a:pt x="5169" y="5756"/>
                  </a:lnTo>
                  <a:lnTo>
                    <a:pt x="5169" y="5985"/>
                  </a:lnTo>
                  <a:cubicBezTo>
                    <a:pt x="5169" y="6048"/>
                    <a:pt x="5143" y="6108"/>
                    <a:pt x="5098" y="6150"/>
                  </a:cubicBezTo>
                  <a:cubicBezTo>
                    <a:pt x="5074" y="6172"/>
                    <a:pt x="5047" y="6188"/>
                    <a:pt x="5017" y="6199"/>
                  </a:cubicBezTo>
                  <a:lnTo>
                    <a:pt x="4804" y="6270"/>
                  </a:lnTo>
                  <a:cubicBezTo>
                    <a:pt x="4744" y="6291"/>
                    <a:pt x="4687" y="6318"/>
                    <a:pt x="4635" y="6351"/>
                  </a:cubicBezTo>
                  <a:cubicBezTo>
                    <a:pt x="4521" y="6183"/>
                    <a:pt x="4354" y="6054"/>
                    <a:pt x="4160" y="5989"/>
                  </a:cubicBezTo>
                  <a:lnTo>
                    <a:pt x="3898" y="5901"/>
                  </a:lnTo>
                  <a:cubicBezTo>
                    <a:pt x="3851" y="5885"/>
                    <a:pt x="3810" y="5859"/>
                    <a:pt x="3775" y="5823"/>
                  </a:cubicBezTo>
                  <a:cubicBezTo>
                    <a:pt x="3720" y="5766"/>
                    <a:pt x="3690" y="5690"/>
                    <a:pt x="3690" y="5611"/>
                  </a:cubicBezTo>
                  <a:lnTo>
                    <a:pt x="3690" y="5313"/>
                  </a:lnTo>
                  <a:lnTo>
                    <a:pt x="3793" y="5251"/>
                  </a:lnTo>
                  <a:cubicBezTo>
                    <a:pt x="3941" y="5160"/>
                    <a:pt x="4033" y="4996"/>
                    <a:pt x="4033" y="4822"/>
                  </a:cubicBezTo>
                  <a:lnTo>
                    <a:pt x="4033" y="4357"/>
                  </a:lnTo>
                  <a:lnTo>
                    <a:pt x="4033" y="4356"/>
                  </a:lnTo>
                  <a:lnTo>
                    <a:pt x="4033" y="3950"/>
                  </a:lnTo>
                  <a:cubicBezTo>
                    <a:pt x="4033" y="3642"/>
                    <a:pt x="3783" y="3391"/>
                    <a:pt x="3475" y="3391"/>
                  </a:cubicBezTo>
                  <a:lnTo>
                    <a:pt x="2938" y="3391"/>
                  </a:lnTo>
                  <a:cubicBezTo>
                    <a:pt x="2630" y="3391"/>
                    <a:pt x="2380" y="3642"/>
                    <a:pt x="2380" y="3950"/>
                  </a:cubicBezTo>
                  <a:lnTo>
                    <a:pt x="2380" y="4301"/>
                  </a:lnTo>
                  <a:lnTo>
                    <a:pt x="2380" y="4301"/>
                  </a:lnTo>
                  <a:lnTo>
                    <a:pt x="2380" y="4822"/>
                  </a:lnTo>
                  <a:cubicBezTo>
                    <a:pt x="2380" y="4996"/>
                    <a:pt x="2472" y="5160"/>
                    <a:pt x="2620" y="5251"/>
                  </a:cubicBezTo>
                  <a:lnTo>
                    <a:pt x="2723" y="5313"/>
                  </a:lnTo>
                  <a:lnTo>
                    <a:pt x="2723" y="5611"/>
                  </a:lnTo>
                  <a:cubicBezTo>
                    <a:pt x="2723" y="5696"/>
                    <a:pt x="2687" y="5778"/>
                    <a:pt x="2625" y="5835"/>
                  </a:cubicBezTo>
                  <a:cubicBezTo>
                    <a:pt x="2593" y="5865"/>
                    <a:pt x="2556" y="5887"/>
                    <a:pt x="2515" y="5901"/>
                  </a:cubicBezTo>
                  <a:lnTo>
                    <a:pt x="2253" y="5989"/>
                  </a:lnTo>
                  <a:cubicBezTo>
                    <a:pt x="1873" y="6117"/>
                    <a:pt x="1617" y="6473"/>
                    <a:pt x="1617" y="6875"/>
                  </a:cubicBezTo>
                  <a:lnTo>
                    <a:pt x="1617" y="7287"/>
                  </a:lnTo>
                  <a:lnTo>
                    <a:pt x="1181" y="6850"/>
                  </a:lnTo>
                  <a:cubicBezTo>
                    <a:pt x="1082" y="6751"/>
                    <a:pt x="1076" y="6591"/>
                    <a:pt x="1167" y="6484"/>
                  </a:cubicBezTo>
                  <a:lnTo>
                    <a:pt x="1501" y="6095"/>
                  </a:lnTo>
                  <a:cubicBezTo>
                    <a:pt x="1579" y="6003"/>
                    <a:pt x="1593" y="5871"/>
                    <a:pt x="1535" y="5766"/>
                  </a:cubicBezTo>
                  <a:cubicBezTo>
                    <a:pt x="1429" y="5576"/>
                    <a:pt x="1344" y="5374"/>
                    <a:pt x="1280" y="5166"/>
                  </a:cubicBezTo>
                  <a:cubicBezTo>
                    <a:pt x="1246" y="5051"/>
                    <a:pt x="1141" y="4969"/>
                    <a:pt x="1021" y="4962"/>
                  </a:cubicBezTo>
                  <a:lnTo>
                    <a:pt x="503" y="4930"/>
                  </a:lnTo>
                  <a:cubicBezTo>
                    <a:pt x="361" y="4922"/>
                    <a:pt x="250" y="4803"/>
                    <a:pt x="250" y="4661"/>
                  </a:cubicBezTo>
                  <a:lnTo>
                    <a:pt x="250" y="3915"/>
                  </a:lnTo>
                  <a:cubicBezTo>
                    <a:pt x="250" y="3775"/>
                    <a:pt x="359" y="3657"/>
                    <a:pt x="499" y="3646"/>
                  </a:cubicBezTo>
                  <a:lnTo>
                    <a:pt x="1010" y="3607"/>
                  </a:lnTo>
                  <a:cubicBezTo>
                    <a:pt x="1130" y="3598"/>
                    <a:pt x="1233" y="3514"/>
                    <a:pt x="1266" y="3399"/>
                  </a:cubicBezTo>
                  <a:cubicBezTo>
                    <a:pt x="1326" y="3190"/>
                    <a:pt x="1409" y="2987"/>
                    <a:pt x="1512" y="2795"/>
                  </a:cubicBezTo>
                  <a:cubicBezTo>
                    <a:pt x="1568" y="2689"/>
                    <a:pt x="1553" y="2557"/>
                    <a:pt x="1473" y="2467"/>
                  </a:cubicBezTo>
                  <a:lnTo>
                    <a:pt x="1128" y="2078"/>
                  </a:lnTo>
                  <a:cubicBezTo>
                    <a:pt x="1034" y="1971"/>
                    <a:pt x="1039" y="1809"/>
                    <a:pt x="1140" y="1708"/>
                  </a:cubicBezTo>
                  <a:lnTo>
                    <a:pt x="1667" y="1181"/>
                  </a:lnTo>
                  <a:cubicBezTo>
                    <a:pt x="1766" y="1082"/>
                    <a:pt x="1927" y="1075"/>
                    <a:pt x="2033" y="1167"/>
                  </a:cubicBezTo>
                  <a:lnTo>
                    <a:pt x="2423" y="1501"/>
                  </a:lnTo>
                  <a:cubicBezTo>
                    <a:pt x="2514" y="1579"/>
                    <a:pt x="2646" y="1593"/>
                    <a:pt x="2751" y="1535"/>
                  </a:cubicBezTo>
                  <a:cubicBezTo>
                    <a:pt x="2956" y="1421"/>
                    <a:pt x="3174" y="1331"/>
                    <a:pt x="3399" y="1266"/>
                  </a:cubicBezTo>
                  <a:cubicBezTo>
                    <a:pt x="3514" y="1233"/>
                    <a:pt x="3598" y="1130"/>
                    <a:pt x="3607" y="1010"/>
                  </a:cubicBezTo>
                  <a:lnTo>
                    <a:pt x="3646" y="499"/>
                  </a:lnTo>
                  <a:cubicBezTo>
                    <a:pt x="3657" y="359"/>
                    <a:pt x="3775" y="250"/>
                    <a:pt x="3915" y="250"/>
                  </a:cubicBezTo>
                  <a:lnTo>
                    <a:pt x="4661" y="250"/>
                  </a:lnTo>
                  <a:cubicBezTo>
                    <a:pt x="4803" y="250"/>
                    <a:pt x="4921" y="361"/>
                    <a:pt x="4930" y="503"/>
                  </a:cubicBezTo>
                  <a:lnTo>
                    <a:pt x="4962" y="1021"/>
                  </a:lnTo>
                  <a:cubicBezTo>
                    <a:pt x="4969" y="1141"/>
                    <a:pt x="5051" y="1245"/>
                    <a:pt x="5166" y="1280"/>
                  </a:cubicBezTo>
                  <a:cubicBezTo>
                    <a:pt x="5374" y="1344"/>
                    <a:pt x="5576" y="1429"/>
                    <a:pt x="5766" y="1535"/>
                  </a:cubicBezTo>
                  <a:cubicBezTo>
                    <a:pt x="5871" y="1593"/>
                    <a:pt x="6003" y="1579"/>
                    <a:pt x="6095" y="1501"/>
                  </a:cubicBezTo>
                  <a:lnTo>
                    <a:pt x="6484" y="1167"/>
                  </a:lnTo>
                  <a:cubicBezTo>
                    <a:pt x="6590" y="1076"/>
                    <a:pt x="6751" y="1082"/>
                    <a:pt x="6850" y="1181"/>
                  </a:cubicBezTo>
                  <a:lnTo>
                    <a:pt x="7378" y="1708"/>
                  </a:lnTo>
                  <a:cubicBezTo>
                    <a:pt x="7478" y="1809"/>
                    <a:pt x="7483" y="1971"/>
                    <a:pt x="7389" y="2078"/>
                  </a:cubicBezTo>
                  <a:lnTo>
                    <a:pt x="7045" y="2467"/>
                  </a:lnTo>
                  <a:cubicBezTo>
                    <a:pt x="6965" y="2557"/>
                    <a:pt x="6949" y="2689"/>
                    <a:pt x="7006" y="2795"/>
                  </a:cubicBezTo>
                  <a:cubicBezTo>
                    <a:pt x="7109" y="2987"/>
                    <a:pt x="7191" y="3190"/>
                    <a:pt x="7251" y="3399"/>
                  </a:cubicBezTo>
                  <a:cubicBezTo>
                    <a:pt x="7284" y="3514"/>
                    <a:pt x="7387" y="3598"/>
                    <a:pt x="7507" y="3607"/>
                  </a:cubicBezTo>
                  <a:lnTo>
                    <a:pt x="8018" y="3646"/>
                  </a:lnTo>
                  <a:cubicBezTo>
                    <a:pt x="8158" y="3657"/>
                    <a:pt x="8268" y="3775"/>
                    <a:pt x="8268" y="3915"/>
                  </a:cubicBezTo>
                  <a:lnTo>
                    <a:pt x="8268" y="4661"/>
                  </a:lnTo>
                  <a:close/>
                  <a:moveTo>
                    <a:pt x="8268" y="4661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50">
              <a:extLst>
                <a:ext uri="{FF2B5EF4-FFF2-40B4-BE49-F238E27FC236}">
                  <a16:creationId xmlns:a16="http://schemas.microsoft.com/office/drawing/2014/main" id="{03B5604E-6F5F-4D73-BC57-48BA0AEAE6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7" y="987"/>
              <a:ext cx="2648" cy="2103"/>
            </a:xfrm>
            <a:custGeom>
              <a:avLst/>
              <a:gdLst>
                <a:gd name="T0" fmla="*/ 2641 w 5517"/>
                <a:gd name="T1" fmla="*/ 71 h 4381"/>
                <a:gd name="T2" fmla="*/ 837 w 5517"/>
                <a:gd name="T3" fmla="*/ 877 h 4381"/>
                <a:gd name="T4" fmla="*/ 30 w 5517"/>
                <a:gd name="T5" fmla="*/ 2682 h 4381"/>
                <a:gd name="T6" fmla="*/ 468 w 5517"/>
                <a:gd name="T7" fmla="*/ 4324 h 4381"/>
                <a:gd name="T8" fmla="*/ 573 w 5517"/>
                <a:gd name="T9" fmla="*/ 4381 h 4381"/>
                <a:gd name="T10" fmla="*/ 641 w 5517"/>
                <a:gd name="T11" fmla="*/ 4361 h 4381"/>
                <a:gd name="T12" fmla="*/ 678 w 5517"/>
                <a:gd name="T13" fmla="*/ 4188 h 4381"/>
                <a:gd name="T14" fmla="*/ 279 w 5517"/>
                <a:gd name="T15" fmla="*/ 2695 h 4381"/>
                <a:gd name="T16" fmla="*/ 1013 w 5517"/>
                <a:gd name="T17" fmla="*/ 1054 h 4381"/>
                <a:gd name="T18" fmla="*/ 2654 w 5517"/>
                <a:gd name="T19" fmla="*/ 320 h 4381"/>
                <a:gd name="T20" fmla="*/ 5260 w 5517"/>
                <a:gd name="T21" fmla="*/ 2412 h 4381"/>
                <a:gd name="T22" fmla="*/ 5403 w 5517"/>
                <a:gd name="T23" fmla="*/ 2515 h 4381"/>
                <a:gd name="T24" fmla="*/ 5506 w 5517"/>
                <a:gd name="T25" fmla="*/ 2372 h 4381"/>
                <a:gd name="T26" fmla="*/ 2641 w 5517"/>
                <a:gd name="T27" fmla="*/ 71 h 4381"/>
                <a:gd name="T28" fmla="*/ 2641 w 5517"/>
                <a:gd name="T29" fmla="*/ 71 h 4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17" h="4381">
                  <a:moveTo>
                    <a:pt x="2641" y="71"/>
                  </a:moveTo>
                  <a:cubicBezTo>
                    <a:pt x="1963" y="105"/>
                    <a:pt x="1322" y="392"/>
                    <a:pt x="837" y="877"/>
                  </a:cubicBezTo>
                  <a:cubicBezTo>
                    <a:pt x="351" y="1363"/>
                    <a:pt x="64" y="2004"/>
                    <a:pt x="30" y="2682"/>
                  </a:cubicBezTo>
                  <a:cubicBezTo>
                    <a:pt x="0" y="3268"/>
                    <a:pt x="152" y="3836"/>
                    <a:pt x="468" y="4324"/>
                  </a:cubicBezTo>
                  <a:cubicBezTo>
                    <a:pt x="492" y="4361"/>
                    <a:pt x="532" y="4381"/>
                    <a:pt x="573" y="4381"/>
                  </a:cubicBezTo>
                  <a:cubicBezTo>
                    <a:pt x="596" y="4381"/>
                    <a:pt x="620" y="4374"/>
                    <a:pt x="641" y="4361"/>
                  </a:cubicBezTo>
                  <a:cubicBezTo>
                    <a:pt x="699" y="4323"/>
                    <a:pt x="715" y="4246"/>
                    <a:pt x="678" y="4188"/>
                  </a:cubicBezTo>
                  <a:cubicBezTo>
                    <a:pt x="390" y="3744"/>
                    <a:pt x="252" y="3228"/>
                    <a:pt x="279" y="2695"/>
                  </a:cubicBezTo>
                  <a:cubicBezTo>
                    <a:pt x="310" y="2079"/>
                    <a:pt x="571" y="1496"/>
                    <a:pt x="1013" y="1054"/>
                  </a:cubicBezTo>
                  <a:cubicBezTo>
                    <a:pt x="1455" y="612"/>
                    <a:pt x="2038" y="351"/>
                    <a:pt x="2654" y="320"/>
                  </a:cubicBezTo>
                  <a:cubicBezTo>
                    <a:pt x="3932" y="255"/>
                    <a:pt x="5051" y="1155"/>
                    <a:pt x="5260" y="2412"/>
                  </a:cubicBezTo>
                  <a:cubicBezTo>
                    <a:pt x="5271" y="2480"/>
                    <a:pt x="5335" y="2526"/>
                    <a:pt x="5403" y="2515"/>
                  </a:cubicBezTo>
                  <a:cubicBezTo>
                    <a:pt x="5471" y="2504"/>
                    <a:pt x="5517" y="2440"/>
                    <a:pt x="5506" y="2372"/>
                  </a:cubicBezTo>
                  <a:cubicBezTo>
                    <a:pt x="5277" y="989"/>
                    <a:pt x="4045" y="0"/>
                    <a:pt x="2641" y="71"/>
                  </a:cubicBezTo>
                  <a:close/>
                  <a:moveTo>
                    <a:pt x="2641" y="71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8" name="object 15">
            <a:extLst>
              <a:ext uri="{FF2B5EF4-FFF2-40B4-BE49-F238E27FC236}">
                <a16:creationId xmlns:a16="http://schemas.microsoft.com/office/drawing/2014/main" id="{35BAD4D7-EC44-410D-805E-97F408E37CB2}"/>
              </a:ext>
            </a:extLst>
          </p:cNvPr>
          <p:cNvSpPr txBox="1"/>
          <p:nvPr/>
        </p:nvSpPr>
        <p:spPr>
          <a:xfrm>
            <a:off x="4470241" y="2119292"/>
            <a:ext cx="7366103" cy="2310529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300"/>
              </a:spcAft>
            </a:pP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Мониторинг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предмети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Ўзбекистон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еспубликаси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ураш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ўғрисидаг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онунчилиги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ўзгарт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ўшимча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ирит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: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Норматив-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уқуқий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ужжат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лойиҳалар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уҳокам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ил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портал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: </a:t>
            </a: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</a:rPr>
              <a:t>https://regulation.gov.uz/ru 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Ўзбекистон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еспубликас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ону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ужжатлар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ълумотлар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иллий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азас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: </a:t>
            </a: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</a:rPr>
              <a:t>https://lex.uz/ru/ 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Ўзбекистон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еспубликас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лий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суди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Пленум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орлари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ўзгарт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ўшимча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иритиш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Ахборот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идир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эксперт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изим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</a:rPr>
              <a:t>Norma online: https://nrm.uz/contentf?doc=396897_&amp;products=1_zakonodatelstvo_ruz 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Ўзбекистон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еспубликас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ураш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гентлиги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всиялар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ашрлар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: </a:t>
            </a: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</a:rPr>
              <a:t>https://anticorruption.uz/ru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29" name="object 12">
            <a:extLst>
              <a:ext uri="{FF2B5EF4-FFF2-40B4-BE49-F238E27FC236}">
                <a16:creationId xmlns:a16="http://schemas.microsoft.com/office/drawing/2014/main" id="{D5B64A43-C27C-4CDE-B809-2C282FC7AAF7}"/>
              </a:ext>
            </a:extLst>
          </p:cNvPr>
          <p:cNvSpPr/>
          <p:nvPr/>
        </p:nvSpPr>
        <p:spPr>
          <a:xfrm>
            <a:off x="3655082" y="207111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0" name="Group 1419">
            <a:extLst>
              <a:ext uri="{FF2B5EF4-FFF2-40B4-BE49-F238E27FC236}">
                <a16:creationId xmlns:a16="http://schemas.microsoft.com/office/drawing/2014/main" id="{E59143E9-016F-47DC-AD0D-84DFAEBF633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42500" y="2209297"/>
            <a:ext cx="598963" cy="414400"/>
            <a:chOff x="1472" y="2215"/>
            <a:chExt cx="172" cy="119"/>
          </a:xfrm>
          <a:solidFill>
            <a:schemeClr val="bg2">
              <a:lumMod val="25000"/>
            </a:schemeClr>
          </a:solidFill>
        </p:grpSpPr>
        <p:sp>
          <p:nvSpPr>
            <p:cNvPr id="31" name="Freeform 1420">
              <a:extLst>
                <a:ext uri="{FF2B5EF4-FFF2-40B4-BE49-F238E27FC236}">
                  <a16:creationId xmlns:a16="http://schemas.microsoft.com/office/drawing/2014/main" id="{D8EC12F2-E19D-48B1-97A6-297182D273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72" y="2215"/>
              <a:ext cx="172" cy="119"/>
            </a:xfrm>
            <a:custGeom>
              <a:avLst/>
              <a:gdLst>
                <a:gd name="T0" fmla="*/ 5246 w 6400"/>
                <a:gd name="T1" fmla="*/ 652 h 4424"/>
                <a:gd name="T2" fmla="*/ 4295 w 6400"/>
                <a:gd name="T3" fmla="*/ 209 h 4424"/>
                <a:gd name="T4" fmla="*/ 3922 w 6400"/>
                <a:gd name="T5" fmla="*/ 0 h 4424"/>
                <a:gd name="T6" fmla="*/ 3483 w 6400"/>
                <a:gd name="T7" fmla="*/ 1205 h 4424"/>
                <a:gd name="T8" fmla="*/ 2917 w 6400"/>
                <a:gd name="T9" fmla="*/ 438 h 4424"/>
                <a:gd name="T10" fmla="*/ 2105 w 6400"/>
                <a:gd name="T11" fmla="*/ 209 h 4424"/>
                <a:gd name="T12" fmla="*/ 1154 w 6400"/>
                <a:gd name="T13" fmla="*/ 652 h 4424"/>
                <a:gd name="T14" fmla="*/ 1005 w 6400"/>
                <a:gd name="T15" fmla="*/ 1110 h 4424"/>
                <a:gd name="T16" fmla="*/ 1336 w 6400"/>
                <a:gd name="T17" fmla="*/ 764 h 4424"/>
                <a:gd name="T18" fmla="*/ 2703 w 6400"/>
                <a:gd name="T19" fmla="*/ 1150 h 4424"/>
                <a:gd name="T20" fmla="*/ 2703 w 6400"/>
                <a:gd name="T21" fmla="*/ 2206 h 4424"/>
                <a:gd name="T22" fmla="*/ 798 w 6400"/>
                <a:gd name="T23" fmla="*/ 1666 h 4424"/>
                <a:gd name="T24" fmla="*/ 920 w 6400"/>
                <a:gd name="T25" fmla="*/ 1253 h 4424"/>
                <a:gd name="T26" fmla="*/ 142 w 6400"/>
                <a:gd name="T27" fmla="*/ 2339 h 4424"/>
                <a:gd name="T28" fmla="*/ 1458 w 6400"/>
                <a:gd name="T29" fmla="*/ 4424 h 4424"/>
                <a:gd name="T30" fmla="*/ 2917 w 6400"/>
                <a:gd name="T31" fmla="*/ 2681 h 4424"/>
                <a:gd name="T32" fmla="*/ 3483 w 6400"/>
                <a:gd name="T33" fmla="*/ 2966 h 4424"/>
                <a:gd name="T34" fmla="*/ 6400 w 6400"/>
                <a:gd name="T35" fmla="*/ 2966 h 4424"/>
                <a:gd name="T36" fmla="*/ 2703 w 6400"/>
                <a:gd name="T37" fmla="*/ 550 h 4424"/>
                <a:gd name="T38" fmla="*/ 2478 w 6400"/>
                <a:gd name="T39" fmla="*/ 214 h 4424"/>
                <a:gd name="T40" fmla="*/ 2703 w 6400"/>
                <a:gd name="T41" fmla="*/ 550 h 4424"/>
                <a:gd name="T42" fmla="*/ 214 w 6400"/>
                <a:gd name="T43" fmla="*/ 2966 h 4424"/>
                <a:gd name="T44" fmla="*/ 2703 w 6400"/>
                <a:gd name="T45" fmla="*/ 2966 h 4424"/>
                <a:gd name="T46" fmla="*/ 2917 w 6400"/>
                <a:gd name="T47" fmla="*/ 2056 h 4424"/>
                <a:gd name="T48" fmla="*/ 3483 w 6400"/>
                <a:gd name="T49" fmla="*/ 1419 h 4424"/>
                <a:gd name="T50" fmla="*/ 2917 w 6400"/>
                <a:gd name="T51" fmla="*/ 2056 h 4424"/>
                <a:gd name="T52" fmla="*/ 2917 w 6400"/>
                <a:gd name="T53" fmla="*/ 2467 h 4424"/>
                <a:gd name="T54" fmla="*/ 3483 w 6400"/>
                <a:gd name="T55" fmla="*/ 2270 h 4424"/>
                <a:gd name="T56" fmla="*/ 3697 w 6400"/>
                <a:gd name="T57" fmla="*/ 438 h 4424"/>
                <a:gd name="T58" fmla="*/ 4071 w 6400"/>
                <a:gd name="T59" fmla="*/ 271 h 4424"/>
                <a:gd name="T60" fmla="*/ 3697 w 6400"/>
                <a:gd name="T61" fmla="*/ 438 h 4424"/>
                <a:gd name="T62" fmla="*/ 3697 w 6400"/>
                <a:gd name="T63" fmla="*/ 1150 h 4424"/>
                <a:gd name="T64" fmla="*/ 5064 w 6400"/>
                <a:gd name="T65" fmla="*/ 764 h 4424"/>
                <a:gd name="T66" fmla="*/ 4942 w 6400"/>
                <a:gd name="T67" fmla="*/ 1508 h 4424"/>
                <a:gd name="T68" fmla="*/ 3697 w 6400"/>
                <a:gd name="T69" fmla="*/ 1150 h 4424"/>
                <a:gd name="T70" fmla="*/ 3697 w 6400"/>
                <a:gd name="T71" fmla="*/ 2966 h 4424"/>
                <a:gd name="T72" fmla="*/ 6186 w 6400"/>
                <a:gd name="T73" fmla="*/ 2966 h 4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400" h="4424">
                  <a:moveTo>
                    <a:pt x="6250" y="2323"/>
                  </a:moveTo>
                  <a:cubicBezTo>
                    <a:pt x="6207" y="2234"/>
                    <a:pt x="5270" y="690"/>
                    <a:pt x="5246" y="652"/>
                  </a:cubicBezTo>
                  <a:cubicBezTo>
                    <a:pt x="5071" y="368"/>
                    <a:pt x="4768" y="198"/>
                    <a:pt x="4435" y="198"/>
                  </a:cubicBezTo>
                  <a:cubicBezTo>
                    <a:pt x="4388" y="198"/>
                    <a:pt x="4341" y="202"/>
                    <a:pt x="4295" y="209"/>
                  </a:cubicBezTo>
                  <a:cubicBezTo>
                    <a:pt x="4295" y="209"/>
                    <a:pt x="4295" y="208"/>
                    <a:pt x="4295" y="208"/>
                  </a:cubicBezTo>
                  <a:cubicBezTo>
                    <a:pt x="4215" y="78"/>
                    <a:pt x="4075" y="0"/>
                    <a:pt x="3922" y="0"/>
                  </a:cubicBezTo>
                  <a:cubicBezTo>
                    <a:pt x="3680" y="0"/>
                    <a:pt x="3483" y="196"/>
                    <a:pt x="3483" y="438"/>
                  </a:cubicBezTo>
                  <a:lnTo>
                    <a:pt x="3483" y="1205"/>
                  </a:lnTo>
                  <a:lnTo>
                    <a:pt x="2917" y="1205"/>
                  </a:lnTo>
                  <a:lnTo>
                    <a:pt x="2917" y="438"/>
                  </a:lnTo>
                  <a:cubicBezTo>
                    <a:pt x="2917" y="196"/>
                    <a:pt x="2720" y="0"/>
                    <a:pt x="2478" y="0"/>
                  </a:cubicBezTo>
                  <a:cubicBezTo>
                    <a:pt x="2325" y="0"/>
                    <a:pt x="2186" y="77"/>
                    <a:pt x="2105" y="209"/>
                  </a:cubicBezTo>
                  <a:cubicBezTo>
                    <a:pt x="2059" y="202"/>
                    <a:pt x="2012" y="198"/>
                    <a:pt x="1965" y="198"/>
                  </a:cubicBezTo>
                  <a:cubicBezTo>
                    <a:pt x="1632" y="198"/>
                    <a:pt x="1329" y="368"/>
                    <a:pt x="1154" y="652"/>
                  </a:cubicBezTo>
                  <a:cubicBezTo>
                    <a:pt x="1152" y="655"/>
                    <a:pt x="1144" y="667"/>
                    <a:pt x="968" y="963"/>
                  </a:cubicBezTo>
                  <a:cubicBezTo>
                    <a:pt x="938" y="1014"/>
                    <a:pt x="954" y="1079"/>
                    <a:pt x="1005" y="1110"/>
                  </a:cubicBezTo>
                  <a:cubicBezTo>
                    <a:pt x="1056" y="1140"/>
                    <a:pt x="1122" y="1123"/>
                    <a:pt x="1152" y="1073"/>
                  </a:cubicBezTo>
                  <a:cubicBezTo>
                    <a:pt x="1297" y="829"/>
                    <a:pt x="1332" y="771"/>
                    <a:pt x="1336" y="764"/>
                  </a:cubicBezTo>
                  <a:cubicBezTo>
                    <a:pt x="1472" y="544"/>
                    <a:pt x="1707" y="413"/>
                    <a:pt x="1965" y="413"/>
                  </a:cubicBezTo>
                  <a:cubicBezTo>
                    <a:pt x="2372" y="413"/>
                    <a:pt x="2703" y="743"/>
                    <a:pt x="2703" y="1150"/>
                  </a:cubicBezTo>
                  <a:lnTo>
                    <a:pt x="2703" y="1150"/>
                  </a:lnTo>
                  <a:lnTo>
                    <a:pt x="2703" y="2206"/>
                  </a:lnTo>
                  <a:cubicBezTo>
                    <a:pt x="2446" y="1787"/>
                    <a:pt x="1984" y="1508"/>
                    <a:pt x="1458" y="1508"/>
                  </a:cubicBezTo>
                  <a:cubicBezTo>
                    <a:pt x="1221" y="1508"/>
                    <a:pt x="997" y="1565"/>
                    <a:pt x="798" y="1666"/>
                  </a:cubicBezTo>
                  <a:cubicBezTo>
                    <a:pt x="849" y="1580"/>
                    <a:pt x="903" y="1490"/>
                    <a:pt x="957" y="1399"/>
                  </a:cubicBezTo>
                  <a:cubicBezTo>
                    <a:pt x="987" y="1349"/>
                    <a:pt x="971" y="1283"/>
                    <a:pt x="920" y="1253"/>
                  </a:cubicBezTo>
                  <a:cubicBezTo>
                    <a:pt x="869" y="1222"/>
                    <a:pt x="803" y="1239"/>
                    <a:pt x="773" y="1290"/>
                  </a:cubicBezTo>
                  <a:cubicBezTo>
                    <a:pt x="545" y="1671"/>
                    <a:pt x="187" y="2244"/>
                    <a:pt x="142" y="2339"/>
                  </a:cubicBezTo>
                  <a:cubicBezTo>
                    <a:pt x="51" y="2529"/>
                    <a:pt x="0" y="2742"/>
                    <a:pt x="0" y="2966"/>
                  </a:cubicBezTo>
                  <a:cubicBezTo>
                    <a:pt x="0" y="3770"/>
                    <a:pt x="654" y="4424"/>
                    <a:pt x="1458" y="4424"/>
                  </a:cubicBezTo>
                  <a:cubicBezTo>
                    <a:pt x="2263" y="4424"/>
                    <a:pt x="2917" y="3770"/>
                    <a:pt x="2917" y="2966"/>
                  </a:cubicBezTo>
                  <a:lnTo>
                    <a:pt x="2917" y="2681"/>
                  </a:lnTo>
                  <a:lnTo>
                    <a:pt x="3483" y="2681"/>
                  </a:lnTo>
                  <a:lnTo>
                    <a:pt x="3483" y="2966"/>
                  </a:lnTo>
                  <a:cubicBezTo>
                    <a:pt x="3483" y="3770"/>
                    <a:pt x="4137" y="4424"/>
                    <a:pt x="4942" y="4424"/>
                  </a:cubicBezTo>
                  <a:cubicBezTo>
                    <a:pt x="5746" y="4424"/>
                    <a:pt x="6400" y="3770"/>
                    <a:pt x="6400" y="2966"/>
                  </a:cubicBezTo>
                  <a:cubicBezTo>
                    <a:pt x="6400" y="2735"/>
                    <a:pt x="6346" y="2517"/>
                    <a:pt x="6250" y="2323"/>
                  </a:cubicBezTo>
                  <a:close/>
                  <a:moveTo>
                    <a:pt x="2703" y="550"/>
                  </a:moveTo>
                  <a:cubicBezTo>
                    <a:pt x="2604" y="428"/>
                    <a:pt x="2476" y="332"/>
                    <a:pt x="2329" y="271"/>
                  </a:cubicBezTo>
                  <a:cubicBezTo>
                    <a:pt x="2369" y="234"/>
                    <a:pt x="2422" y="214"/>
                    <a:pt x="2478" y="214"/>
                  </a:cubicBezTo>
                  <a:cubicBezTo>
                    <a:pt x="2602" y="214"/>
                    <a:pt x="2703" y="314"/>
                    <a:pt x="2703" y="438"/>
                  </a:cubicBezTo>
                  <a:lnTo>
                    <a:pt x="2703" y="550"/>
                  </a:lnTo>
                  <a:close/>
                  <a:moveTo>
                    <a:pt x="1458" y="4210"/>
                  </a:moveTo>
                  <a:cubicBezTo>
                    <a:pt x="772" y="4210"/>
                    <a:pt x="214" y="3652"/>
                    <a:pt x="214" y="2966"/>
                  </a:cubicBezTo>
                  <a:cubicBezTo>
                    <a:pt x="214" y="2280"/>
                    <a:pt x="772" y="1722"/>
                    <a:pt x="1458" y="1722"/>
                  </a:cubicBezTo>
                  <a:cubicBezTo>
                    <a:pt x="2144" y="1722"/>
                    <a:pt x="2703" y="2280"/>
                    <a:pt x="2703" y="2966"/>
                  </a:cubicBezTo>
                  <a:cubicBezTo>
                    <a:pt x="2703" y="3652"/>
                    <a:pt x="2144" y="4210"/>
                    <a:pt x="1458" y="4210"/>
                  </a:cubicBezTo>
                  <a:close/>
                  <a:moveTo>
                    <a:pt x="2917" y="2056"/>
                  </a:moveTo>
                  <a:lnTo>
                    <a:pt x="2917" y="1419"/>
                  </a:lnTo>
                  <a:lnTo>
                    <a:pt x="3483" y="1419"/>
                  </a:lnTo>
                  <a:lnTo>
                    <a:pt x="3483" y="2056"/>
                  </a:lnTo>
                  <a:lnTo>
                    <a:pt x="2917" y="2056"/>
                  </a:lnTo>
                  <a:close/>
                  <a:moveTo>
                    <a:pt x="3483" y="2467"/>
                  </a:moveTo>
                  <a:lnTo>
                    <a:pt x="2917" y="2467"/>
                  </a:lnTo>
                  <a:lnTo>
                    <a:pt x="2917" y="2270"/>
                  </a:lnTo>
                  <a:lnTo>
                    <a:pt x="3483" y="2270"/>
                  </a:lnTo>
                  <a:lnTo>
                    <a:pt x="3483" y="2467"/>
                  </a:lnTo>
                  <a:close/>
                  <a:moveTo>
                    <a:pt x="3697" y="438"/>
                  </a:moveTo>
                  <a:cubicBezTo>
                    <a:pt x="3697" y="314"/>
                    <a:pt x="3798" y="214"/>
                    <a:pt x="3922" y="214"/>
                  </a:cubicBezTo>
                  <a:cubicBezTo>
                    <a:pt x="3978" y="214"/>
                    <a:pt x="4031" y="235"/>
                    <a:pt x="4071" y="271"/>
                  </a:cubicBezTo>
                  <a:cubicBezTo>
                    <a:pt x="3925" y="332"/>
                    <a:pt x="3796" y="428"/>
                    <a:pt x="3697" y="550"/>
                  </a:cubicBezTo>
                  <a:lnTo>
                    <a:pt x="3697" y="438"/>
                  </a:lnTo>
                  <a:close/>
                  <a:moveTo>
                    <a:pt x="3697" y="1150"/>
                  </a:moveTo>
                  <a:lnTo>
                    <a:pt x="3697" y="1150"/>
                  </a:lnTo>
                  <a:cubicBezTo>
                    <a:pt x="3697" y="743"/>
                    <a:pt x="4028" y="413"/>
                    <a:pt x="4435" y="413"/>
                  </a:cubicBezTo>
                  <a:cubicBezTo>
                    <a:pt x="4693" y="413"/>
                    <a:pt x="4928" y="544"/>
                    <a:pt x="5064" y="764"/>
                  </a:cubicBezTo>
                  <a:cubicBezTo>
                    <a:pt x="5077" y="785"/>
                    <a:pt x="5344" y="1234"/>
                    <a:pt x="5602" y="1666"/>
                  </a:cubicBezTo>
                  <a:cubicBezTo>
                    <a:pt x="5403" y="1565"/>
                    <a:pt x="5179" y="1508"/>
                    <a:pt x="4942" y="1508"/>
                  </a:cubicBezTo>
                  <a:cubicBezTo>
                    <a:pt x="4416" y="1508"/>
                    <a:pt x="3954" y="1787"/>
                    <a:pt x="3697" y="2206"/>
                  </a:cubicBezTo>
                  <a:lnTo>
                    <a:pt x="3697" y="1150"/>
                  </a:lnTo>
                  <a:close/>
                  <a:moveTo>
                    <a:pt x="4942" y="4210"/>
                  </a:moveTo>
                  <a:cubicBezTo>
                    <a:pt x="4256" y="4210"/>
                    <a:pt x="3697" y="3652"/>
                    <a:pt x="3697" y="2966"/>
                  </a:cubicBezTo>
                  <a:cubicBezTo>
                    <a:pt x="3697" y="2280"/>
                    <a:pt x="4256" y="1722"/>
                    <a:pt x="4942" y="1722"/>
                  </a:cubicBezTo>
                  <a:cubicBezTo>
                    <a:pt x="5628" y="1722"/>
                    <a:pt x="6186" y="2280"/>
                    <a:pt x="6186" y="2966"/>
                  </a:cubicBezTo>
                  <a:cubicBezTo>
                    <a:pt x="6186" y="3652"/>
                    <a:pt x="5628" y="4210"/>
                    <a:pt x="4942" y="421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421">
              <a:extLst>
                <a:ext uri="{FF2B5EF4-FFF2-40B4-BE49-F238E27FC236}">
                  <a16:creationId xmlns:a16="http://schemas.microsoft.com/office/drawing/2014/main" id="{21F0F864-75A4-4D3F-ABF7-2F0AB9C48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8" y="2268"/>
              <a:ext cx="54" cy="53"/>
            </a:xfrm>
            <a:custGeom>
              <a:avLst/>
              <a:gdLst>
                <a:gd name="T0" fmla="*/ 1937 w 1995"/>
                <a:gd name="T1" fmla="*/ 661 h 1996"/>
                <a:gd name="T2" fmla="*/ 1800 w 1995"/>
                <a:gd name="T3" fmla="*/ 596 h 1996"/>
                <a:gd name="T4" fmla="*/ 1735 w 1995"/>
                <a:gd name="T5" fmla="*/ 733 h 1996"/>
                <a:gd name="T6" fmla="*/ 1781 w 1995"/>
                <a:gd name="T7" fmla="*/ 998 h 1996"/>
                <a:gd name="T8" fmla="*/ 998 w 1995"/>
                <a:gd name="T9" fmla="*/ 1781 h 1996"/>
                <a:gd name="T10" fmla="*/ 214 w 1995"/>
                <a:gd name="T11" fmla="*/ 998 h 1996"/>
                <a:gd name="T12" fmla="*/ 998 w 1995"/>
                <a:gd name="T13" fmla="*/ 215 h 1996"/>
                <a:gd name="T14" fmla="*/ 1571 w 1995"/>
                <a:gd name="T15" fmla="*/ 464 h 1996"/>
                <a:gd name="T16" fmla="*/ 1723 w 1995"/>
                <a:gd name="T17" fmla="*/ 470 h 1996"/>
                <a:gd name="T18" fmla="*/ 1728 w 1995"/>
                <a:gd name="T19" fmla="*/ 319 h 1996"/>
                <a:gd name="T20" fmla="*/ 998 w 1995"/>
                <a:gd name="T21" fmla="*/ 0 h 1996"/>
                <a:gd name="T22" fmla="*/ 0 w 1995"/>
                <a:gd name="T23" fmla="*/ 998 h 1996"/>
                <a:gd name="T24" fmla="*/ 998 w 1995"/>
                <a:gd name="T25" fmla="*/ 1996 h 1996"/>
                <a:gd name="T26" fmla="*/ 1995 w 1995"/>
                <a:gd name="T27" fmla="*/ 998 h 1996"/>
                <a:gd name="T28" fmla="*/ 1937 w 1995"/>
                <a:gd name="T29" fmla="*/ 661 h 1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95" h="1996">
                  <a:moveTo>
                    <a:pt x="1937" y="661"/>
                  </a:moveTo>
                  <a:cubicBezTo>
                    <a:pt x="1917" y="605"/>
                    <a:pt x="1855" y="576"/>
                    <a:pt x="1800" y="596"/>
                  </a:cubicBezTo>
                  <a:cubicBezTo>
                    <a:pt x="1744" y="616"/>
                    <a:pt x="1715" y="677"/>
                    <a:pt x="1735" y="733"/>
                  </a:cubicBezTo>
                  <a:cubicBezTo>
                    <a:pt x="1766" y="818"/>
                    <a:pt x="1781" y="907"/>
                    <a:pt x="1781" y="998"/>
                  </a:cubicBezTo>
                  <a:cubicBezTo>
                    <a:pt x="1781" y="1430"/>
                    <a:pt x="1430" y="1781"/>
                    <a:pt x="998" y="1781"/>
                  </a:cubicBezTo>
                  <a:cubicBezTo>
                    <a:pt x="566" y="1781"/>
                    <a:pt x="214" y="1430"/>
                    <a:pt x="214" y="998"/>
                  </a:cubicBezTo>
                  <a:cubicBezTo>
                    <a:pt x="214" y="566"/>
                    <a:pt x="566" y="215"/>
                    <a:pt x="998" y="215"/>
                  </a:cubicBezTo>
                  <a:cubicBezTo>
                    <a:pt x="1214" y="215"/>
                    <a:pt x="1423" y="306"/>
                    <a:pt x="1571" y="464"/>
                  </a:cubicBezTo>
                  <a:cubicBezTo>
                    <a:pt x="1612" y="508"/>
                    <a:pt x="1679" y="510"/>
                    <a:pt x="1723" y="470"/>
                  </a:cubicBezTo>
                  <a:cubicBezTo>
                    <a:pt x="1766" y="430"/>
                    <a:pt x="1768" y="362"/>
                    <a:pt x="1728" y="319"/>
                  </a:cubicBezTo>
                  <a:cubicBezTo>
                    <a:pt x="1540" y="116"/>
                    <a:pt x="1274" y="0"/>
                    <a:pt x="998" y="0"/>
                  </a:cubicBezTo>
                  <a:cubicBezTo>
                    <a:pt x="447" y="0"/>
                    <a:pt x="0" y="448"/>
                    <a:pt x="0" y="998"/>
                  </a:cubicBezTo>
                  <a:cubicBezTo>
                    <a:pt x="0" y="1548"/>
                    <a:pt x="447" y="1996"/>
                    <a:pt x="998" y="1996"/>
                  </a:cubicBezTo>
                  <a:cubicBezTo>
                    <a:pt x="1548" y="1996"/>
                    <a:pt x="1995" y="1548"/>
                    <a:pt x="1995" y="998"/>
                  </a:cubicBezTo>
                  <a:cubicBezTo>
                    <a:pt x="1995" y="882"/>
                    <a:pt x="1975" y="769"/>
                    <a:pt x="1937" y="66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422">
              <a:extLst>
                <a:ext uri="{FF2B5EF4-FFF2-40B4-BE49-F238E27FC236}">
                  <a16:creationId xmlns:a16="http://schemas.microsoft.com/office/drawing/2014/main" id="{2DC87F4D-0E1F-4AB7-8C21-6F285B8F40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4" y="2268"/>
              <a:ext cx="54" cy="53"/>
            </a:xfrm>
            <a:custGeom>
              <a:avLst/>
              <a:gdLst>
                <a:gd name="T0" fmla="*/ 997 w 1995"/>
                <a:gd name="T1" fmla="*/ 0 h 1996"/>
                <a:gd name="T2" fmla="*/ 0 w 1995"/>
                <a:gd name="T3" fmla="*/ 998 h 1996"/>
                <a:gd name="T4" fmla="*/ 997 w 1995"/>
                <a:gd name="T5" fmla="*/ 1996 h 1996"/>
                <a:gd name="T6" fmla="*/ 1995 w 1995"/>
                <a:gd name="T7" fmla="*/ 998 h 1996"/>
                <a:gd name="T8" fmla="*/ 997 w 1995"/>
                <a:gd name="T9" fmla="*/ 0 h 1996"/>
                <a:gd name="T10" fmla="*/ 997 w 1995"/>
                <a:gd name="T11" fmla="*/ 1781 h 1996"/>
                <a:gd name="T12" fmla="*/ 214 w 1995"/>
                <a:gd name="T13" fmla="*/ 998 h 1996"/>
                <a:gd name="T14" fmla="*/ 997 w 1995"/>
                <a:gd name="T15" fmla="*/ 215 h 1996"/>
                <a:gd name="T16" fmla="*/ 1781 w 1995"/>
                <a:gd name="T17" fmla="*/ 998 h 1996"/>
                <a:gd name="T18" fmla="*/ 997 w 1995"/>
                <a:gd name="T19" fmla="*/ 1781 h 1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95" h="1996">
                  <a:moveTo>
                    <a:pt x="997" y="0"/>
                  </a:moveTo>
                  <a:cubicBezTo>
                    <a:pt x="447" y="0"/>
                    <a:pt x="0" y="448"/>
                    <a:pt x="0" y="998"/>
                  </a:cubicBezTo>
                  <a:cubicBezTo>
                    <a:pt x="0" y="1548"/>
                    <a:pt x="447" y="1996"/>
                    <a:pt x="997" y="1996"/>
                  </a:cubicBezTo>
                  <a:cubicBezTo>
                    <a:pt x="1548" y="1996"/>
                    <a:pt x="1995" y="1548"/>
                    <a:pt x="1995" y="998"/>
                  </a:cubicBezTo>
                  <a:cubicBezTo>
                    <a:pt x="1995" y="448"/>
                    <a:pt x="1548" y="0"/>
                    <a:pt x="997" y="0"/>
                  </a:cubicBezTo>
                  <a:close/>
                  <a:moveTo>
                    <a:pt x="997" y="1781"/>
                  </a:moveTo>
                  <a:cubicBezTo>
                    <a:pt x="565" y="1781"/>
                    <a:pt x="214" y="1430"/>
                    <a:pt x="214" y="998"/>
                  </a:cubicBezTo>
                  <a:cubicBezTo>
                    <a:pt x="214" y="566"/>
                    <a:pt x="565" y="215"/>
                    <a:pt x="997" y="215"/>
                  </a:cubicBezTo>
                  <a:cubicBezTo>
                    <a:pt x="1429" y="215"/>
                    <a:pt x="1781" y="566"/>
                    <a:pt x="1781" y="998"/>
                  </a:cubicBezTo>
                  <a:cubicBezTo>
                    <a:pt x="1781" y="1430"/>
                    <a:pt x="1429" y="1781"/>
                    <a:pt x="997" y="178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E8B249C0-1FFB-40A4-91D6-AB3CB30FE84F}"/>
              </a:ext>
            </a:extLst>
          </p:cNvPr>
          <p:cNvSpPr/>
          <p:nvPr/>
        </p:nvSpPr>
        <p:spPr>
          <a:xfrm>
            <a:off x="431998" y="4722286"/>
            <a:ext cx="2981723" cy="1745548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/>
          <a:lstStyle/>
          <a:p>
            <a:pPr>
              <a:spcAft>
                <a:spcPts val="600"/>
              </a:spcAft>
            </a:pPr>
            <a:r>
              <a:rPr lang="ru-RU" sz="1200" dirty="0">
                <a:solidFill>
                  <a:schemeClr val="tx2"/>
                </a:solidFill>
              </a:rPr>
              <a:t>Амалдаги </a:t>
            </a:r>
            <a:r>
              <a:rPr lang="ru-RU" sz="1200" dirty="0" err="1">
                <a:solidFill>
                  <a:schemeClr val="tx2"/>
                </a:solidFill>
              </a:rPr>
              <a:t>қонунчилик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халқаро </a:t>
            </a:r>
            <a:r>
              <a:rPr lang="ru-RU" sz="1200" dirty="0" err="1">
                <a:solidFill>
                  <a:schemeClr val="tx2"/>
                </a:solidFill>
              </a:rPr>
              <a:t>тавсияла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амалиётлар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увофиқ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авл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рганининг</a:t>
            </a:r>
            <a:r>
              <a:rPr lang="ru-RU" sz="1200" dirty="0">
                <a:solidFill>
                  <a:schemeClr val="tx2"/>
                </a:solidFill>
              </a:rPr>
              <a:t> ички </a:t>
            </a:r>
            <a:r>
              <a:rPr lang="ru-RU" sz="1200" dirty="0" err="1">
                <a:solidFill>
                  <a:schemeClr val="tx2"/>
                </a:solidFill>
              </a:rPr>
              <a:t>ҳужжатлари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ўзгартир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ирит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йич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клифла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ишлаб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чиқиш</a:t>
            </a:r>
            <a:r>
              <a:rPr lang="ru-RU" sz="1200" dirty="0">
                <a:solidFill>
                  <a:schemeClr val="tx2"/>
                </a:solidFill>
              </a:rPr>
              <a:t>.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FE7403F-5CF1-473D-AB6C-DD7F912038B0}"/>
              </a:ext>
            </a:extLst>
          </p:cNvPr>
          <p:cNvGrpSpPr/>
          <p:nvPr/>
        </p:nvGrpSpPr>
        <p:grpSpPr>
          <a:xfrm>
            <a:off x="-2" y="4092359"/>
            <a:ext cx="3413724" cy="573322"/>
            <a:chOff x="-3" y="1138806"/>
            <a:chExt cx="9575803" cy="1463040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B01D3E4-7E55-42FE-B766-20F052DE2160}"/>
                </a:ext>
              </a:extLst>
            </p:cNvPr>
            <p:cNvSpPr/>
            <p:nvPr/>
          </p:nvSpPr>
          <p:spPr>
            <a:xfrm>
              <a:off x="-3" y="1138806"/>
              <a:ext cx="1282562" cy="1463040"/>
            </a:xfrm>
            <a:prstGeom prst="rect">
              <a:avLst/>
            </a:prstGeom>
            <a:solidFill>
              <a:srgbClr val="CDF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C54D8A60-DB2C-4233-A19F-09CFA8D2EE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Blur radius="3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" t="25090" r="277" b="26127"/>
            <a:stretch/>
          </p:blipFill>
          <p:spPr>
            <a:xfrm>
              <a:off x="0" y="1138806"/>
              <a:ext cx="9575800" cy="1458253"/>
            </a:xfrm>
            <a:prstGeom prst="roundRect">
              <a:avLst>
                <a:gd name="adj" fmla="val 50000"/>
              </a:avLst>
            </a:prstGeom>
          </p:spPr>
        </p:pic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18DEA177-9066-4B4F-9A8A-A9F748AAAF56}"/>
              </a:ext>
            </a:extLst>
          </p:cNvPr>
          <p:cNvSpPr txBox="1"/>
          <p:nvPr/>
        </p:nvSpPr>
        <p:spPr>
          <a:xfrm>
            <a:off x="416561" y="4098929"/>
            <a:ext cx="1327179" cy="55475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Натижа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: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A01A5F5-EC48-4BB6-BF99-DD3DE433AD61}"/>
              </a:ext>
            </a:extLst>
          </p:cNvPr>
          <p:cNvGrpSpPr/>
          <p:nvPr/>
        </p:nvGrpSpPr>
        <p:grpSpPr>
          <a:xfrm rot="5400000">
            <a:off x="2870031" y="4202967"/>
            <a:ext cx="238043" cy="377590"/>
            <a:chOff x="3841139" y="1940745"/>
            <a:chExt cx="238043" cy="442712"/>
          </a:xfrm>
          <a:solidFill>
            <a:srgbClr val="1BD7D3"/>
          </a:solidFill>
        </p:grpSpPr>
        <p:sp>
          <p:nvSpPr>
            <p:cNvPr id="40" name="Arrow: Chevron 39">
              <a:extLst>
                <a:ext uri="{FF2B5EF4-FFF2-40B4-BE49-F238E27FC236}">
                  <a16:creationId xmlns:a16="http://schemas.microsoft.com/office/drawing/2014/main" id="{F6A93B47-5586-43F0-86BC-1FF21CE3321C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41" name="Arrow: Chevron 40">
              <a:extLst>
                <a:ext uri="{FF2B5EF4-FFF2-40B4-BE49-F238E27FC236}">
                  <a16:creationId xmlns:a16="http://schemas.microsoft.com/office/drawing/2014/main" id="{446860FE-5101-403D-BB84-3E4516D92E2A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42" name="Picture 2" descr="https://w7.pngwing.com/pngs/564/452/png-transparent-flag-of-uzbekistan-emoji-flag-of-albania-emoji-flag-text-logo.png">
            <a:extLst>
              <a:ext uri="{FF2B5EF4-FFF2-40B4-BE49-F238E27FC236}">
                <a16:creationId xmlns:a16="http://schemas.microsoft.com/office/drawing/2014/main" id="{34F1900B-6328-4C8B-97C9-2DEEB32CADF4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93" t="2618" r="24782" b="2590"/>
          <a:stretch/>
        </p:blipFill>
        <p:spPr bwMode="auto">
          <a:xfrm>
            <a:off x="10811994" y="624763"/>
            <a:ext cx="612000" cy="612000"/>
          </a:xfrm>
          <a:prstGeom prst="flowChartConnector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90177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F418F0-DDBE-41F8-A811-AF52B745B6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</a:t>
            </a:r>
            <a:r>
              <a:rPr lang="ru-RU" dirty="0"/>
              <a:t> </a:t>
            </a:r>
            <a:r>
              <a:rPr lang="ru-RU" dirty="0" err="1"/>
              <a:t>тизимини</a:t>
            </a:r>
            <a:r>
              <a:rPr lang="ru-RU" dirty="0"/>
              <a:t> мониторинг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назорат</a:t>
            </a:r>
            <a:r>
              <a:rPr lang="ru-RU" dirty="0"/>
              <a:t> </a:t>
            </a:r>
            <a:r>
              <a:rPr lang="ru-RU" dirty="0" err="1"/>
              <a:t>қилиш</a:t>
            </a:r>
            <a:r>
              <a:rPr lang="ru-RU" dirty="0"/>
              <a:t>: Ўзбекистон </a:t>
            </a:r>
            <a:r>
              <a:rPr lang="ru-RU" dirty="0" err="1"/>
              <a:t>Республикасида</a:t>
            </a:r>
            <a:r>
              <a:rPr lang="ru-RU" dirty="0"/>
              <a:t> </a:t>
            </a:r>
            <a:r>
              <a:rPr lang="ru-RU" dirty="0" err="1"/>
              <a:t>амалга</a:t>
            </a:r>
            <a:r>
              <a:rPr lang="ru-RU" dirty="0"/>
              <a:t> </a:t>
            </a:r>
            <a:r>
              <a:rPr lang="ru-RU" dirty="0" err="1"/>
              <a:t>ошириш</a:t>
            </a:r>
            <a:r>
              <a:rPr lang="ru-RU" dirty="0"/>
              <a:t> </a:t>
            </a:r>
            <a:r>
              <a:rPr lang="ru-RU" dirty="0" err="1"/>
              <a:t>амалиёти</a:t>
            </a:r>
            <a:r>
              <a:rPr lang="ru-RU" dirty="0"/>
              <a:t> (4/8)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BA7F7CE-69C3-452A-96AD-E6E715071126}"/>
              </a:ext>
            </a:extLst>
          </p:cNvPr>
          <p:cNvGrpSpPr/>
          <p:nvPr/>
        </p:nvGrpSpPr>
        <p:grpSpPr>
          <a:xfrm>
            <a:off x="443080" y="1282696"/>
            <a:ext cx="11306008" cy="736607"/>
            <a:chOff x="3784798" y="1289128"/>
            <a:chExt cx="7964290" cy="440386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38BF9D6C-949D-4B68-B8FF-A751E2F3DFFF}"/>
                </a:ext>
              </a:extLst>
            </p:cNvPr>
            <p:cNvSpPr/>
            <p:nvPr/>
          </p:nvSpPr>
          <p:spPr>
            <a:xfrm>
              <a:off x="3921193" y="1348907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259540A-3690-420E-A19B-C95E5AECFAF3}"/>
                </a:ext>
              </a:extLst>
            </p:cNvPr>
            <p:cNvSpPr/>
            <p:nvPr/>
          </p:nvSpPr>
          <p:spPr>
            <a:xfrm>
              <a:off x="3784798" y="1289128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Давлат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органининг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, шу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жумладан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уларнинг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ходимларининг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ррупциявий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ҳаракатларг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жалб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этилганлиг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ўғрисидаг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маълумотлар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ОАВд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,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шунингдек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давлат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орга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нтрагентлар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ўғрисидаг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шу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аб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маълумотларнинг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мавжудлиг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мониторинги</a:t>
              </a:r>
            </a:p>
          </p:txBody>
        </p:sp>
      </p:grpSp>
      <p:sp>
        <p:nvSpPr>
          <p:cNvPr id="13" name="object 15">
            <a:extLst>
              <a:ext uri="{FF2B5EF4-FFF2-40B4-BE49-F238E27FC236}">
                <a16:creationId xmlns:a16="http://schemas.microsoft.com/office/drawing/2014/main" id="{FE8DA30A-4483-49A1-A37C-5A2956FBD876}"/>
              </a:ext>
            </a:extLst>
          </p:cNvPr>
          <p:cNvSpPr txBox="1"/>
          <p:nvPr/>
        </p:nvSpPr>
        <p:spPr>
          <a:xfrm>
            <a:off x="1271993" y="2119292"/>
            <a:ext cx="2141729" cy="671618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Масъул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шахс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 </a:t>
            </a:r>
          </a:p>
          <a:p>
            <a:pPr marL="10319">
              <a:spcAft>
                <a:spcPts val="600"/>
              </a:spcAft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тбуот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им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/ комплаенс-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инмас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4" name="object 12">
            <a:extLst>
              <a:ext uri="{FF2B5EF4-FFF2-40B4-BE49-F238E27FC236}">
                <a16:creationId xmlns:a16="http://schemas.microsoft.com/office/drawing/2014/main" id="{A4846948-FEA5-4DB9-858A-7AC5F1F90B60}"/>
              </a:ext>
            </a:extLst>
          </p:cNvPr>
          <p:cNvSpPr/>
          <p:nvPr/>
        </p:nvSpPr>
        <p:spPr>
          <a:xfrm>
            <a:off x="456832" y="207111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>
            <a:extLst>
              <a:ext uri="{FF2B5EF4-FFF2-40B4-BE49-F238E27FC236}">
                <a16:creationId xmlns:a16="http://schemas.microsoft.com/office/drawing/2014/main" id="{CEB8387D-D75B-410F-ACB6-D71004CB01CA}"/>
              </a:ext>
            </a:extLst>
          </p:cNvPr>
          <p:cNvSpPr txBox="1"/>
          <p:nvPr/>
        </p:nvSpPr>
        <p:spPr>
          <a:xfrm>
            <a:off x="1271993" y="3056941"/>
            <a:ext cx="2141730" cy="48695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Даврийлик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 </a:t>
            </a:r>
          </a:p>
          <a:p>
            <a:pPr marL="10319">
              <a:spcAft>
                <a:spcPts val="600"/>
              </a:spcAft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унтазам</a:t>
            </a:r>
            <a:endParaRPr lang="ru-RU"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6" name="object 12">
            <a:extLst>
              <a:ext uri="{FF2B5EF4-FFF2-40B4-BE49-F238E27FC236}">
                <a16:creationId xmlns:a16="http://schemas.microsoft.com/office/drawing/2014/main" id="{65E9570B-CF90-49E9-8736-2064A442A888}"/>
              </a:ext>
            </a:extLst>
          </p:cNvPr>
          <p:cNvSpPr/>
          <p:nvPr/>
        </p:nvSpPr>
        <p:spPr>
          <a:xfrm>
            <a:off x="456832" y="298810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7" name="Group 379">
            <a:extLst>
              <a:ext uri="{FF2B5EF4-FFF2-40B4-BE49-F238E27FC236}">
                <a16:creationId xmlns:a16="http://schemas.microsoft.com/office/drawing/2014/main" id="{02D84150-6B4A-431B-B24D-338A2DEEDCD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3080" y="3070945"/>
            <a:ext cx="590071" cy="596415"/>
            <a:chOff x="1156" y="3368"/>
            <a:chExt cx="279" cy="282"/>
          </a:xfrm>
          <a:solidFill>
            <a:schemeClr val="bg2">
              <a:lumMod val="25000"/>
            </a:schemeClr>
          </a:solidFill>
        </p:grpSpPr>
        <p:sp>
          <p:nvSpPr>
            <p:cNvPr id="18" name="Freeform 380">
              <a:extLst>
                <a:ext uri="{FF2B5EF4-FFF2-40B4-BE49-F238E27FC236}">
                  <a16:creationId xmlns:a16="http://schemas.microsoft.com/office/drawing/2014/main" id="{6DF56915-6BE2-424F-A2AC-7FD83E8F21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69" y="3516"/>
              <a:ext cx="96" cy="93"/>
            </a:xfrm>
            <a:custGeom>
              <a:avLst/>
              <a:gdLst>
                <a:gd name="T0" fmla="*/ 2440 w 2899"/>
                <a:gd name="T1" fmla="*/ 437 h 2811"/>
                <a:gd name="T2" fmla="*/ 2262 w 2899"/>
                <a:gd name="T3" fmla="*/ 444 h 2811"/>
                <a:gd name="T4" fmla="*/ 2269 w 2899"/>
                <a:gd name="T5" fmla="*/ 621 h 2811"/>
                <a:gd name="T6" fmla="*/ 2341 w 2899"/>
                <a:gd name="T7" fmla="*/ 693 h 2811"/>
                <a:gd name="T8" fmla="*/ 2631 w 2899"/>
                <a:gd name="T9" fmla="*/ 1496 h 2811"/>
                <a:gd name="T10" fmla="*/ 2269 w 2899"/>
                <a:gd name="T11" fmla="*/ 2269 h 2811"/>
                <a:gd name="T12" fmla="*/ 694 w 2899"/>
                <a:gd name="T13" fmla="*/ 2197 h 2811"/>
                <a:gd name="T14" fmla="*/ 765 w 2899"/>
                <a:gd name="T15" fmla="*/ 622 h 2811"/>
                <a:gd name="T16" fmla="*/ 1835 w 2899"/>
                <a:gd name="T17" fmla="*/ 376 h 2811"/>
                <a:gd name="T18" fmla="*/ 1991 w 2899"/>
                <a:gd name="T19" fmla="*/ 292 h 2811"/>
                <a:gd name="T20" fmla="*/ 1906 w 2899"/>
                <a:gd name="T21" fmla="*/ 135 h 2811"/>
                <a:gd name="T22" fmla="*/ 596 w 2899"/>
                <a:gd name="T23" fmla="*/ 436 h 2811"/>
                <a:gd name="T24" fmla="*/ 508 w 2899"/>
                <a:gd name="T25" fmla="*/ 2366 h 2811"/>
                <a:gd name="T26" fmla="*/ 1518 w 2899"/>
                <a:gd name="T27" fmla="*/ 2811 h 2811"/>
                <a:gd name="T28" fmla="*/ 2439 w 2899"/>
                <a:gd name="T29" fmla="*/ 2454 h 2811"/>
                <a:gd name="T30" fmla="*/ 2882 w 2899"/>
                <a:gd name="T31" fmla="*/ 1507 h 2811"/>
                <a:gd name="T32" fmla="*/ 2526 w 2899"/>
                <a:gd name="T33" fmla="*/ 523 h 2811"/>
                <a:gd name="T34" fmla="*/ 2440 w 2899"/>
                <a:gd name="T35" fmla="*/ 437 h 2811"/>
                <a:gd name="T36" fmla="*/ 2440 w 2899"/>
                <a:gd name="T37" fmla="*/ 437 h 2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99" h="2811">
                  <a:moveTo>
                    <a:pt x="2440" y="437"/>
                  </a:moveTo>
                  <a:cubicBezTo>
                    <a:pt x="2389" y="390"/>
                    <a:pt x="2310" y="393"/>
                    <a:pt x="2262" y="444"/>
                  </a:cubicBezTo>
                  <a:cubicBezTo>
                    <a:pt x="2215" y="494"/>
                    <a:pt x="2218" y="574"/>
                    <a:pt x="2269" y="621"/>
                  </a:cubicBezTo>
                  <a:cubicBezTo>
                    <a:pt x="2294" y="645"/>
                    <a:pt x="2318" y="669"/>
                    <a:pt x="2341" y="693"/>
                  </a:cubicBezTo>
                  <a:cubicBezTo>
                    <a:pt x="2541" y="913"/>
                    <a:pt x="2645" y="1198"/>
                    <a:pt x="2631" y="1496"/>
                  </a:cubicBezTo>
                  <a:cubicBezTo>
                    <a:pt x="2618" y="1793"/>
                    <a:pt x="2489" y="2068"/>
                    <a:pt x="2269" y="2269"/>
                  </a:cubicBezTo>
                  <a:cubicBezTo>
                    <a:pt x="1815" y="2683"/>
                    <a:pt x="1108" y="2651"/>
                    <a:pt x="694" y="2197"/>
                  </a:cubicBezTo>
                  <a:cubicBezTo>
                    <a:pt x="279" y="1743"/>
                    <a:pt x="311" y="1037"/>
                    <a:pt x="765" y="622"/>
                  </a:cubicBezTo>
                  <a:cubicBezTo>
                    <a:pt x="1057" y="356"/>
                    <a:pt x="1456" y="264"/>
                    <a:pt x="1835" y="376"/>
                  </a:cubicBezTo>
                  <a:cubicBezTo>
                    <a:pt x="1901" y="396"/>
                    <a:pt x="1971" y="358"/>
                    <a:pt x="1991" y="292"/>
                  </a:cubicBezTo>
                  <a:cubicBezTo>
                    <a:pt x="2011" y="225"/>
                    <a:pt x="1973" y="155"/>
                    <a:pt x="1906" y="135"/>
                  </a:cubicBezTo>
                  <a:cubicBezTo>
                    <a:pt x="1450" y="0"/>
                    <a:pt x="947" y="115"/>
                    <a:pt x="596" y="436"/>
                  </a:cubicBezTo>
                  <a:cubicBezTo>
                    <a:pt x="39" y="944"/>
                    <a:pt x="0" y="1811"/>
                    <a:pt x="508" y="2366"/>
                  </a:cubicBezTo>
                  <a:cubicBezTo>
                    <a:pt x="777" y="2661"/>
                    <a:pt x="1147" y="2811"/>
                    <a:pt x="1518" y="2811"/>
                  </a:cubicBezTo>
                  <a:cubicBezTo>
                    <a:pt x="1847" y="2811"/>
                    <a:pt x="2177" y="2693"/>
                    <a:pt x="2439" y="2454"/>
                  </a:cubicBezTo>
                  <a:cubicBezTo>
                    <a:pt x="2708" y="2208"/>
                    <a:pt x="2866" y="1872"/>
                    <a:pt x="2882" y="1507"/>
                  </a:cubicBezTo>
                  <a:cubicBezTo>
                    <a:pt x="2899" y="1143"/>
                    <a:pt x="2772" y="793"/>
                    <a:pt x="2526" y="523"/>
                  </a:cubicBezTo>
                  <a:cubicBezTo>
                    <a:pt x="2498" y="493"/>
                    <a:pt x="2470" y="465"/>
                    <a:pt x="2440" y="437"/>
                  </a:cubicBezTo>
                  <a:close/>
                  <a:moveTo>
                    <a:pt x="2440" y="437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381">
              <a:extLst>
                <a:ext uri="{FF2B5EF4-FFF2-40B4-BE49-F238E27FC236}">
                  <a16:creationId xmlns:a16="http://schemas.microsoft.com/office/drawing/2014/main" id="{7281B6F0-B921-417D-A987-253DC8938F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5" y="3452"/>
              <a:ext cx="49" cy="49"/>
            </a:xfrm>
            <a:custGeom>
              <a:avLst/>
              <a:gdLst>
                <a:gd name="T0" fmla="*/ 882 w 1469"/>
                <a:gd name="T1" fmla="*/ 15 h 1469"/>
                <a:gd name="T2" fmla="*/ 734 w 1469"/>
                <a:gd name="T3" fmla="*/ 0 h 1469"/>
                <a:gd name="T4" fmla="*/ 586 w 1469"/>
                <a:gd name="T5" fmla="*/ 15 h 1469"/>
                <a:gd name="T6" fmla="*/ 0 w 1469"/>
                <a:gd name="T7" fmla="*/ 735 h 1469"/>
                <a:gd name="T8" fmla="*/ 734 w 1469"/>
                <a:gd name="T9" fmla="*/ 1469 h 1469"/>
                <a:gd name="T10" fmla="*/ 1469 w 1469"/>
                <a:gd name="T11" fmla="*/ 735 h 1469"/>
                <a:gd name="T12" fmla="*/ 882 w 1469"/>
                <a:gd name="T13" fmla="*/ 15 h 1469"/>
                <a:gd name="T14" fmla="*/ 734 w 1469"/>
                <a:gd name="T15" fmla="*/ 1218 h 1469"/>
                <a:gd name="T16" fmla="*/ 252 w 1469"/>
                <a:gd name="T17" fmla="*/ 735 h 1469"/>
                <a:gd name="T18" fmla="*/ 734 w 1469"/>
                <a:gd name="T19" fmla="*/ 252 h 1469"/>
                <a:gd name="T20" fmla="*/ 1217 w 1469"/>
                <a:gd name="T21" fmla="*/ 735 h 1469"/>
                <a:gd name="T22" fmla="*/ 734 w 1469"/>
                <a:gd name="T23" fmla="*/ 1218 h 1469"/>
                <a:gd name="T24" fmla="*/ 734 w 1469"/>
                <a:gd name="T25" fmla="*/ 1218 h 1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69" h="1469">
                  <a:moveTo>
                    <a:pt x="882" y="15"/>
                  </a:moveTo>
                  <a:cubicBezTo>
                    <a:pt x="834" y="6"/>
                    <a:pt x="785" y="0"/>
                    <a:pt x="734" y="0"/>
                  </a:cubicBezTo>
                  <a:cubicBezTo>
                    <a:pt x="684" y="0"/>
                    <a:pt x="634" y="6"/>
                    <a:pt x="586" y="15"/>
                  </a:cubicBezTo>
                  <a:cubicBezTo>
                    <a:pt x="252" y="84"/>
                    <a:pt x="0" y="380"/>
                    <a:pt x="0" y="735"/>
                  </a:cubicBezTo>
                  <a:cubicBezTo>
                    <a:pt x="0" y="1140"/>
                    <a:pt x="329" y="1469"/>
                    <a:pt x="734" y="1469"/>
                  </a:cubicBezTo>
                  <a:cubicBezTo>
                    <a:pt x="1139" y="1469"/>
                    <a:pt x="1469" y="1140"/>
                    <a:pt x="1469" y="735"/>
                  </a:cubicBezTo>
                  <a:cubicBezTo>
                    <a:pt x="1469" y="380"/>
                    <a:pt x="1217" y="84"/>
                    <a:pt x="882" y="15"/>
                  </a:cubicBezTo>
                  <a:close/>
                  <a:moveTo>
                    <a:pt x="734" y="1218"/>
                  </a:moveTo>
                  <a:cubicBezTo>
                    <a:pt x="468" y="1218"/>
                    <a:pt x="252" y="1001"/>
                    <a:pt x="252" y="735"/>
                  </a:cubicBezTo>
                  <a:cubicBezTo>
                    <a:pt x="252" y="468"/>
                    <a:pt x="468" y="252"/>
                    <a:pt x="734" y="252"/>
                  </a:cubicBezTo>
                  <a:cubicBezTo>
                    <a:pt x="1001" y="252"/>
                    <a:pt x="1217" y="468"/>
                    <a:pt x="1217" y="735"/>
                  </a:cubicBezTo>
                  <a:cubicBezTo>
                    <a:pt x="1217" y="1001"/>
                    <a:pt x="1001" y="1218"/>
                    <a:pt x="734" y="1218"/>
                  </a:cubicBezTo>
                  <a:close/>
                  <a:moveTo>
                    <a:pt x="734" y="121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382">
              <a:extLst>
                <a:ext uri="{FF2B5EF4-FFF2-40B4-BE49-F238E27FC236}">
                  <a16:creationId xmlns:a16="http://schemas.microsoft.com/office/drawing/2014/main" id="{A6B502DF-F891-4F11-9D87-5012A4BCD8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6" y="3368"/>
              <a:ext cx="279" cy="282"/>
            </a:xfrm>
            <a:custGeom>
              <a:avLst/>
              <a:gdLst>
                <a:gd name="T0" fmla="*/ 7982 w 8433"/>
                <a:gd name="T1" fmla="*/ 1329 h 8517"/>
                <a:gd name="T2" fmla="*/ 6247 w 8433"/>
                <a:gd name="T3" fmla="*/ 251 h 8517"/>
                <a:gd name="T4" fmla="*/ 6247 w 8433"/>
                <a:gd name="T5" fmla="*/ 0 h 8517"/>
                <a:gd name="T6" fmla="*/ 3586 w 8433"/>
                <a:gd name="T7" fmla="*/ 1250 h 8517"/>
                <a:gd name="T8" fmla="*/ 2858 w 8433"/>
                <a:gd name="T9" fmla="*/ 733 h 8517"/>
                <a:gd name="T10" fmla="*/ 1598 w 8433"/>
                <a:gd name="T11" fmla="*/ 1359 h 8517"/>
                <a:gd name="T12" fmla="*/ 409 w 8433"/>
                <a:gd name="T13" fmla="*/ 1962 h 8517"/>
                <a:gd name="T14" fmla="*/ 367 w 8433"/>
                <a:gd name="T15" fmla="*/ 2583 h 8517"/>
                <a:gd name="T16" fmla="*/ 551 w 8433"/>
                <a:gd name="T17" fmla="*/ 3958 h 8517"/>
                <a:gd name="T18" fmla="*/ 516 w 8433"/>
                <a:gd name="T19" fmla="*/ 4839 h 8517"/>
                <a:gd name="T20" fmla="*/ 1850 w 8433"/>
                <a:gd name="T21" fmla="*/ 5256 h 8517"/>
                <a:gd name="T22" fmla="*/ 2324 w 8433"/>
                <a:gd name="T23" fmla="*/ 6117 h 8517"/>
                <a:gd name="T24" fmla="*/ 2951 w 8433"/>
                <a:gd name="T25" fmla="*/ 6767 h 8517"/>
                <a:gd name="T26" fmla="*/ 3237 w 8433"/>
                <a:gd name="T27" fmla="*/ 7901 h 8517"/>
                <a:gd name="T28" fmla="*/ 4132 w 8433"/>
                <a:gd name="T29" fmla="*/ 8097 h 8517"/>
                <a:gd name="T30" fmla="*/ 5413 w 8433"/>
                <a:gd name="T31" fmla="*/ 8419 h 8517"/>
                <a:gd name="T32" fmla="*/ 5916 w 8433"/>
                <a:gd name="T33" fmla="*/ 8022 h 8517"/>
                <a:gd name="T34" fmla="*/ 7049 w 8433"/>
                <a:gd name="T35" fmla="*/ 7345 h 8517"/>
                <a:gd name="T36" fmla="*/ 7124 w 8433"/>
                <a:gd name="T37" fmla="*/ 6708 h 8517"/>
                <a:gd name="T38" fmla="*/ 7188 w 8433"/>
                <a:gd name="T39" fmla="*/ 5307 h 8517"/>
                <a:gd name="T40" fmla="*/ 7074 w 8433"/>
                <a:gd name="T41" fmla="*/ 4397 h 8517"/>
                <a:gd name="T42" fmla="*/ 2350 w 8433"/>
                <a:gd name="T43" fmla="*/ 5557 h 8517"/>
                <a:gd name="T44" fmla="*/ 2012 w 8433"/>
                <a:gd name="T45" fmla="*/ 5045 h 8517"/>
                <a:gd name="T46" fmla="*/ 1147 w 8433"/>
                <a:gd name="T47" fmla="*/ 5114 h 8517"/>
                <a:gd name="T48" fmla="*/ 890 w 8433"/>
                <a:gd name="T49" fmla="*/ 4300 h 8517"/>
                <a:gd name="T50" fmla="*/ 367 w 8433"/>
                <a:gd name="T51" fmla="*/ 3707 h 8517"/>
                <a:gd name="T52" fmla="*/ 633 w 8433"/>
                <a:gd name="T53" fmla="*/ 2835 h 8517"/>
                <a:gd name="T54" fmla="*/ 694 w 8433"/>
                <a:gd name="T55" fmla="*/ 2044 h 8517"/>
                <a:gd name="T56" fmla="*/ 1311 w 8433"/>
                <a:gd name="T57" fmla="*/ 1427 h 8517"/>
                <a:gd name="T58" fmla="*/ 2101 w 8433"/>
                <a:gd name="T59" fmla="*/ 1342 h 8517"/>
                <a:gd name="T60" fmla="*/ 2974 w 8433"/>
                <a:gd name="T61" fmla="*/ 1100 h 8517"/>
                <a:gd name="T62" fmla="*/ 3602 w 8433"/>
                <a:gd name="T63" fmla="*/ 1590 h 8517"/>
                <a:gd name="T64" fmla="*/ 4132 w 8433"/>
                <a:gd name="T65" fmla="*/ 1632 h 8517"/>
                <a:gd name="T66" fmla="*/ 4328 w 8433"/>
                <a:gd name="T67" fmla="*/ 3795 h 8517"/>
                <a:gd name="T68" fmla="*/ 3874 w 8433"/>
                <a:gd name="T69" fmla="*/ 3271 h 8517"/>
                <a:gd name="T70" fmla="*/ 2830 w 8433"/>
                <a:gd name="T71" fmla="*/ 4575 h 8517"/>
                <a:gd name="T72" fmla="*/ 2743 w 8433"/>
                <a:gd name="T73" fmla="*/ 5104 h 8517"/>
                <a:gd name="T74" fmla="*/ 3535 w 8433"/>
                <a:gd name="T75" fmla="*/ 3697 h 8517"/>
                <a:gd name="T76" fmla="*/ 2537 w 8433"/>
                <a:gd name="T77" fmla="*/ 4356 h 8517"/>
                <a:gd name="T78" fmla="*/ 7177 w 8433"/>
                <a:gd name="T79" fmla="*/ 5558 h 8517"/>
                <a:gd name="T80" fmla="*/ 7136 w 8433"/>
                <a:gd name="T81" fmla="*/ 6457 h 8517"/>
                <a:gd name="T82" fmla="*/ 6583 w 8433"/>
                <a:gd name="T83" fmla="*/ 7045 h 8517"/>
                <a:gd name="T84" fmla="*/ 6273 w 8433"/>
                <a:gd name="T85" fmla="*/ 7861 h 8517"/>
                <a:gd name="T86" fmla="*/ 5764 w 8433"/>
                <a:gd name="T87" fmla="*/ 7615 h 8517"/>
                <a:gd name="T88" fmla="*/ 5243 w 8433"/>
                <a:gd name="T89" fmla="*/ 8233 h 8517"/>
                <a:gd name="T90" fmla="*/ 4396 w 8433"/>
                <a:gd name="T91" fmla="*/ 7824 h 8517"/>
                <a:gd name="T92" fmla="*/ 3595 w 8433"/>
                <a:gd name="T93" fmla="*/ 7739 h 8517"/>
                <a:gd name="T94" fmla="*/ 2987 w 8433"/>
                <a:gd name="T95" fmla="*/ 7074 h 8517"/>
                <a:gd name="T96" fmla="*/ 2959 w 8433"/>
                <a:gd name="T97" fmla="*/ 6267 h 8517"/>
                <a:gd name="T98" fmla="*/ 2605 w 8433"/>
                <a:gd name="T99" fmla="*/ 5472 h 8517"/>
                <a:gd name="T100" fmla="*/ 3110 w 8433"/>
                <a:gd name="T101" fmla="*/ 5281 h 8517"/>
                <a:gd name="T102" fmla="*/ 3070 w 8433"/>
                <a:gd name="T103" fmla="*/ 4479 h 8517"/>
                <a:gd name="T104" fmla="*/ 3766 w 8433"/>
                <a:gd name="T105" fmla="*/ 3960 h 8517"/>
                <a:gd name="T106" fmla="*/ 4575 w 8433"/>
                <a:gd name="T107" fmla="*/ 3899 h 8517"/>
                <a:gd name="T108" fmla="*/ 6646 w 8433"/>
                <a:gd name="T109" fmla="*/ 4336 h 8517"/>
                <a:gd name="T110" fmla="*/ 6697 w 8433"/>
                <a:gd name="T111" fmla="*/ 4906 h 8517"/>
                <a:gd name="T112" fmla="*/ 7177 w 8433"/>
                <a:gd name="T113" fmla="*/ 5558 h 8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433" h="8517">
                  <a:moveTo>
                    <a:pt x="8433" y="2186"/>
                  </a:moveTo>
                  <a:cubicBezTo>
                    <a:pt x="8433" y="1847"/>
                    <a:pt x="8357" y="1521"/>
                    <a:pt x="8207" y="1217"/>
                  </a:cubicBezTo>
                  <a:cubicBezTo>
                    <a:pt x="8177" y="1155"/>
                    <a:pt x="8101" y="1130"/>
                    <a:pt x="8039" y="1160"/>
                  </a:cubicBezTo>
                  <a:cubicBezTo>
                    <a:pt x="7977" y="1191"/>
                    <a:pt x="7951" y="1267"/>
                    <a:pt x="7982" y="1329"/>
                  </a:cubicBezTo>
                  <a:cubicBezTo>
                    <a:pt x="8115" y="1597"/>
                    <a:pt x="8182" y="1886"/>
                    <a:pt x="8182" y="2186"/>
                  </a:cubicBezTo>
                  <a:cubicBezTo>
                    <a:pt x="8182" y="3253"/>
                    <a:pt x="7314" y="4121"/>
                    <a:pt x="6247" y="4121"/>
                  </a:cubicBezTo>
                  <a:cubicBezTo>
                    <a:pt x="5180" y="4121"/>
                    <a:pt x="4312" y="3253"/>
                    <a:pt x="4312" y="2186"/>
                  </a:cubicBezTo>
                  <a:cubicBezTo>
                    <a:pt x="4312" y="1119"/>
                    <a:pt x="5180" y="251"/>
                    <a:pt x="6247" y="251"/>
                  </a:cubicBezTo>
                  <a:cubicBezTo>
                    <a:pt x="6781" y="251"/>
                    <a:pt x="7297" y="475"/>
                    <a:pt x="7661" y="866"/>
                  </a:cubicBezTo>
                  <a:cubicBezTo>
                    <a:pt x="7709" y="917"/>
                    <a:pt x="7788" y="919"/>
                    <a:pt x="7839" y="872"/>
                  </a:cubicBezTo>
                  <a:cubicBezTo>
                    <a:pt x="7890" y="825"/>
                    <a:pt x="7892" y="745"/>
                    <a:pt x="7845" y="694"/>
                  </a:cubicBezTo>
                  <a:cubicBezTo>
                    <a:pt x="7433" y="253"/>
                    <a:pt x="6851" y="0"/>
                    <a:pt x="6247" y="0"/>
                  </a:cubicBezTo>
                  <a:cubicBezTo>
                    <a:pt x="5332" y="0"/>
                    <a:pt x="4546" y="565"/>
                    <a:pt x="4221" y="1365"/>
                  </a:cubicBezTo>
                  <a:lnTo>
                    <a:pt x="4105" y="1249"/>
                  </a:lnTo>
                  <a:cubicBezTo>
                    <a:pt x="4036" y="1180"/>
                    <a:pt x="3944" y="1142"/>
                    <a:pt x="3846" y="1142"/>
                  </a:cubicBezTo>
                  <a:cubicBezTo>
                    <a:pt x="3747" y="1142"/>
                    <a:pt x="3655" y="1180"/>
                    <a:pt x="3586" y="1250"/>
                  </a:cubicBezTo>
                  <a:lnTo>
                    <a:pt x="3489" y="1347"/>
                  </a:lnTo>
                  <a:cubicBezTo>
                    <a:pt x="3404" y="1305"/>
                    <a:pt x="3316" y="1269"/>
                    <a:pt x="3225" y="1239"/>
                  </a:cubicBezTo>
                  <a:lnTo>
                    <a:pt x="3225" y="1100"/>
                  </a:lnTo>
                  <a:cubicBezTo>
                    <a:pt x="3225" y="898"/>
                    <a:pt x="3060" y="733"/>
                    <a:pt x="2858" y="733"/>
                  </a:cubicBezTo>
                  <a:lnTo>
                    <a:pt x="2217" y="733"/>
                  </a:lnTo>
                  <a:cubicBezTo>
                    <a:pt x="2015" y="733"/>
                    <a:pt x="1850" y="898"/>
                    <a:pt x="1850" y="1100"/>
                  </a:cubicBezTo>
                  <a:lnTo>
                    <a:pt x="1850" y="1251"/>
                  </a:lnTo>
                  <a:cubicBezTo>
                    <a:pt x="1764" y="1281"/>
                    <a:pt x="1680" y="1317"/>
                    <a:pt x="1598" y="1359"/>
                  </a:cubicBezTo>
                  <a:lnTo>
                    <a:pt x="1489" y="1249"/>
                  </a:lnTo>
                  <a:cubicBezTo>
                    <a:pt x="1346" y="1106"/>
                    <a:pt x="1113" y="1106"/>
                    <a:pt x="970" y="1249"/>
                  </a:cubicBezTo>
                  <a:lnTo>
                    <a:pt x="516" y="1703"/>
                  </a:lnTo>
                  <a:cubicBezTo>
                    <a:pt x="447" y="1772"/>
                    <a:pt x="409" y="1864"/>
                    <a:pt x="409" y="1962"/>
                  </a:cubicBezTo>
                  <a:cubicBezTo>
                    <a:pt x="409" y="2061"/>
                    <a:pt x="447" y="2153"/>
                    <a:pt x="516" y="2222"/>
                  </a:cubicBezTo>
                  <a:lnTo>
                    <a:pt x="637" y="2342"/>
                  </a:lnTo>
                  <a:cubicBezTo>
                    <a:pt x="599" y="2421"/>
                    <a:pt x="567" y="2501"/>
                    <a:pt x="540" y="2583"/>
                  </a:cubicBezTo>
                  <a:lnTo>
                    <a:pt x="367" y="2583"/>
                  </a:lnTo>
                  <a:cubicBezTo>
                    <a:pt x="164" y="2583"/>
                    <a:pt x="0" y="2748"/>
                    <a:pt x="0" y="2950"/>
                  </a:cubicBezTo>
                  <a:lnTo>
                    <a:pt x="0" y="3591"/>
                  </a:lnTo>
                  <a:cubicBezTo>
                    <a:pt x="0" y="3794"/>
                    <a:pt x="164" y="3958"/>
                    <a:pt x="367" y="3958"/>
                  </a:cubicBezTo>
                  <a:lnTo>
                    <a:pt x="551" y="3958"/>
                  </a:lnTo>
                  <a:cubicBezTo>
                    <a:pt x="579" y="4037"/>
                    <a:pt x="611" y="4113"/>
                    <a:pt x="648" y="4188"/>
                  </a:cubicBezTo>
                  <a:lnTo>
                    <a:pt x="516" y="4319"/>
                  </a:lnTo>
                  <a:cubicBezTo>
                    <a:pt x="447" y="4388"/>
                    <a:pt x="409" y="4481"/>
                    <a:pt x="409" y="4579"/>
                  </a:cubicBezTo>
                  <a:cubicBezTo>
                    <a:pt x="409" y="4677"/>
                    <a:pt x="447" y="4769"/>
                    <a:pt x="516" y="4839"/>
                  </a:cubicBezTo>
                  <a:lnTo>
                    <a:pt x="970" y="5292"/>
                  </a:lnTo>
                  <a:cubicBezTo>
                    <a:pt x="1113" y="5435"/>
                    <a:pt x="1346" y="5435"/>
                    <a:pt x="1489" y="5292"/>
                  </a:cubicBezTo>
                  <a:lnTo>
                    <a:pt x="1620" y="5160"/>
                  </a:lnTo>
                  <a:cubicBezTo>
                    <a:pt x="1695" y="5197"/>
                    <a:pt x="1771" y="5229"/>
                    <a:pt x="1850" y="5256"/>
                  </a:cubicBezTo>
                  <a:lnTo>
                    <a:pt x="1850" y="5442"/>
                  </a:lnTo>
                  <a:cubicBezTo>
                    <a:pt x="1850" y="5644"/>
                    <a:pt x="2015" y="5808"/>
                    <a:pt x="2217" y="5808"/>
                  </a:cubicBezTo>
                  <a:lnTo>
                    <a:pt x="2338" y="5808"/>
                  </a:lnTo>
                  <a:lnTo>
                    <a:pt x="2324" y="6117"/>
                  </a:lnTo>
                  <a:cubicBezTo>
                    <a:pt x="2320" y="6216"/>
                    <a:pt x="2354" y="6311"/>
                    <a:pt x="2421" y="6385"/>
                  </a:cubicBezTo>
                  <a:cubicBezTo>
                    <a:pt x="2489" y="6459"/>
                    <a:pt x="2581" y="6502"/>
                    <a:pt x="2680" y="6506"/>
                  </a:cubicBezTo>
                  <a:lnTo>
                    <a:pt x="2856" y="6514"/>
                  </a:lnTo>
                  <a:cubicBezTo>
                    <a:pt x="2883" y="6600"/>
                    <a:pt x="2914" y="6685"/>
                    <a:pt x="2951" y="6767"/>
                  </a:cubicBezTo>
                  <a:lnTo>
                    <a:pt x="2818" y="6888"/>
                  </a:lnTo>
                  <a:cubicBezTo>
                    <a:pt x="2744" y="6955"/>
                    <a:pt x="2702" y="7047"/>
                    <a:pt x="2697" y="7147"/>
                  </a:cubicBezTo>
                  <a:cubicBezTo>
                    <a:pt x="2693" y="7247"/>
                    <a:pt x="2727" y="7342"/>
                    <a:pt x="2794" y="7415"/>
                  </a:cubicBezTo>
                  <a:lnTo>
                    <a:pt x="3237" y="7901"/>
                  </a:lnTo>
                  <a:cubicBezTo>
                    <a:pt x="3376" y="8052"/>
                    <a:pt x="3612" y="8063"/>
                    <a:pt x="3764" y="7924"/>
                  </a:cubicBezTo>
                  <a:lnTo>
                    <a:pt x="3906" y="7795"/>
                  </a:lnTo>
                  <a:cubicBezTo>
                    <a:pt x="3981" y="7836"/>
                    <a:pt x="4060" y="7872"/>
                    <a:pt x="4141" y="7904"/>
                  </a:cubicBezTo>
                  <a:lnTo>
                    <a:pt x="4132" y="8097"/>
                  </a:lnTo>
                  <a:cubicBezTo>
                    <a:pt x="4123" y="8302"/>
                    <a:pt x="4283" y="8477"/>
                    <a:pt x="4488" y="8486"/>
                  </a:cubicBezTo>
                  <a:lnTo>
                    <a:pt x="5145" y="8516"/>
                  </a:lnTo>
                  <a:cubicBezTo>
                    <a:pt x="5150" y="8517"/>
                    <a:pt x="5156" y="8517"/>
                    <a:pt x="5162" y="8517"/>
                  </a:cubicBezTo>
                  <a:cubicBezTo>
                    <a:pt x="5255" y="8517"/>
                    <a:pt x="5343" y="8482"/>
                    <a:pt x="5413" y="8419"/>
                  </a:cubicBezTo>
                  <a:cubicBezTo>
                    <a:pt x="5486" y="8351"/>
                    <a:pt x="5529" y="8260"/>
                    <a:pt x="5534" y="8161"/>
                  </a:cubicBezTo>
                  <a:lnTo>
                    <a:pt x="5543" y="7968"/>
                  </a:lnTo>
                  <a:cubicBezTo>
                    <a:pt x="5626" y="7944"/>
                    <a:pt x="5707" y="7915"/>
                    <a:pt x="5787" y="7881"/>
                  </a:cubicBezTo>
                  <a:lnTo>
                    <a:pt x="5916" y="8022"/>
                  </a:lnTo>
                  <a:cubicBezTo>
                    <a:pt x="5983" y="8096"/>
                    <a:pt x="6075" y="8139"/>
                    <a:pt x="6175" y="8143"/>
                  </a:cubicBezTo>
                  <a:cubicBezTo>
                    <a:pt x="6274" y="8148"/>
                    <a:pt x="6369" y="8113"/>
                    <a:pt x="6443" y="8046"/>
                  </a:cubicBezTo>
                  <a:lnTo>
                    <a:pt x="6928" y="7603"/>
                  </a:lnTo>
                  <a:cubicBezTo>
                    <a:pt x="7002" y="7536"/>
                    <a:pt x="7045" y="7444"/>
                    <a:pt x="7049" y="7345"/>
                  </a:cubicBezTo>
                  <a:cubicBezTo>
                    <a:pt x="7054" y="7245"/>
                    <a:pt x="7019" y="7150"/>
                    <a:pt x="6952" y="7076"/>
                  </a:cubicBezTo>
                  <a:lnTo>
                    <a:pt x="6831" y="6944"/>
                  </a:lnTo>
                  <a:cubicBezTo>
                    <a:pt x="6875" y="6865"/>
                    <a:pt x="6914" y="6783"/>
                    <a:pt x="6948" y="6700"/>
                  </a:cubicBezTo>
                  <a:lnTo>
                    <a:pt x="7124" y="6708"/>
                  </a:lnTo>
                  <a:cubicBezTo>
                    <a:pt x="7223" y="6713"/>
                    <a:pt x="7319" y="6678"/>
                    <a:pt x="7392" y="6611"/>
                  </a:cubicBezTo>
                  <a:cubicBezTo>
                    <a:pt x="7466" y="6544"/>
                    <a:pt x="7509" y="6452"/>
                    <a:pt x="7514" y="6353"/>
                  </a:cubicBezTo>
                  <a:lnTo>
                    <a:pt x="7544" y="5696"/>
                  </a:lnTo>
                  <a:cubicBezTo>
                    <a:pt x="7553" y="5490"/>
                    <a:pt x="7394" y="5316"/>
                    <a:pt x="7188" y="5307"/>
                  </a:cubicBezTo>
                  <a:lnTo>
                    <a:pt x="7028" y="5299"/>
                  </a:lnTo>
                  <a:cubicBezTo>
                    <a:pt x="7003" y="5207"/>
                    <a:pt x="6971" y="5117"/>
                    <a:pt x="6934" y="5030"/>
                  </a:cubicBezTo>
                  <a:lnTo>
                    <a:pt x="7050" y="4924"/>
                  </a:lnTo>
                  <a:cubicBezTo>
                    <a:pt x="7202" y="4786"/>
                    <a:pt x="7212" y="4549"/>
                    <a:pt x="7074" y="4397"/>
                  </a:cubicBezTo>
                  <a:lnTo>
                    <a:pt x="6946" y="4258"/>
                  </a:lnTo>
                  <a:cubicBezTo>
                    <a:pt x="7810" y="3965"/>
                    <a:pt x="8433" y="3147"/>
                    <a:pt x="8433" y="2186"/>
                  </a:cubicBezTo>
                  <a:close/>
                  <a:moveTo>
                    <a:pt x="2354" y="5460"/>
                  </a:moveTo>
                  <a:lnTo>
                    <a:pt x="2350" y="5557"/>
                  </a:lnTo>
                  <a:lnTo>
                    <a:pt x="2217" y="5557"/>
                  </a:lnTo>
                  <a:cubicBezTo>
                    <a:pt x="2154" y="5557"/>
                    <a:pt x="2101" y="5504"/>
                    <a:pt x="2101" y="5442"/>
                  </a:cubicBezTo>
                  <a:lnTo>
                    <a:pt x="2101" y="5165"/>
                  </a:lnTo>
                  <a:cubicBezTo>
                    <a:pt x="2101" y="5110"/>
                    <a:pt x="2065" y="5061"/>
                    <a:pt x="2012" y="5045"/>
                  </a:cubicBezTo>
                  <a:cubicBezTo>
                    <a:pt x="1889" y="5008"/>
                    <a:pt x="1769" y="4958"/>
                    <a:pt x="1657" y="4896"/>
                  </a:cubicBezTo>
                  <a:cubicBezTo>
                    <a:pt x="1608" y="4869"/>
                    <a:pt x="1547" y="4878"/>
                    <a:pt x="1507" y="4917"/>
                  </a:cubicBezTo>
                  <a:lnTo>
                    <a:pt x="1311" y="5114"/>
                  </a:lnTo>
                  <a:cubicBezTo>
                    <a:pt x="1266" y="5159"/>
                    <a:pt x="1193" y="5159"/>
                    <a:pt x="1147" y="5114"/>
                  </a:cubicBezTo>
                  <a:lnTo>
                    <a:pt x="694" y="4661"/>
                  </a:lnTo>
                  <a:cubicBezTo>
                    <a:pt x="672" y="4639"/>
                    <a:pt x="660" y="4610"/>
                    <a:pt x="660" y="4579"/>
                  </a:cubicBezTo>
                  <a:cubicBezTo>
                    <a:pt x="660" y="4548"/>
                    <a:pt x="672" y="4519"/>
                    <a:pt x="694" y="4497"/>
                  </a:cubicBezTo>
                  <a:lnTo>
                    <a:pt x="890" y="4300"/>
                  </a:lnTo>
                  <a:cubicBezTo>
                    <a:pt x="930" y="4261"/>
                    <a:pt x="939" y="4200"/>
                    <a:pt x="912" y="4151"/>
                  </a:cubicBezTo>
                  <a:cubicBezTo>
                    <a:pt x="851" y="4039"/>
                    <a:pt x="800" y="3920"/>
                    <a:pt x="763" y="3796"/>
                  </a:cubicBezTo>
                  <a:cubicBezTo>
                    <a:pt x="747" y="3743"/>
                    <a:pt x="698" y="3707"/>
                    <a:pt x="643" y="3707"/>
                  </a:cubicBezTo>
                  <a:lnTo>
                    <a:pt x="367" y="3707"/>
                  </a:lnTo>
                  <a:cubicBezTo>
                    <a:pt x="303" y="3707"/>
                    <a:pt x="251" y="3655"/>
                    <a:pt x="251" y="3591"/>
                  </a:cubicBezTo>
                  <a:lnTo>
                    <a:pt x="251" y="2950"/>
                  </a:lnTo>
                  <a:cubicBezTo>
                    <a:pt x="251" y="2886"/>
                    <a:pt x="303" y="2835"/>
                    <a:pt x="367" y="2835"/>
                  </a:cubicBezTo>
                  <a:lnTo>
                    <a:pt x="633" y="2835"/>
                  </a:lnTo>
                  <a:cubicBezTo>
                    <a:pt x="689" y="2835"/>
                    <a:pt x="738" y="2797"/>
                    <a:pt x="754" y="2743"/>
                  </a:cubicBezTo>
                  <a:cubicBezTo>
                    <a:pt x="789" y="2617"/>
                    <a:pt x="839" y="2494"/>
                    <a:pt x="901" y="2377"/>
                  </a:cubicBezTo>
                  <a:cubicBezTo>
                    <a:pt x="927" y="2328"/>
                    <a:pt x="918" y="2268"/>
                    <a:pt x="879" y="2229"/>
                  </a:cubicBezTo>
                  <a:lnTo>
                    <a:pt x="694" y="2044"/>
                  </a:lnTo>
                  <a:cubicBezTo>
                    <a:pt x="672" y="2022"/>
                    <a:pt x="660" y="1993"/>
                    <a:pt x="660" y="1962"/>
                  </a:cubicBezTo>
                  <a:cubicBezTo>
                    <a:pt x="660" y="1931"/>
                    <a:pt x="672" y="1902"/>
                    <a:pt x="694" y="1881"/>
                  </a:cubicBezTo>
                  <a:lnTo>
                    <a:pt x="1148" y="1427"/>
                  </a:lnTo>
                  <a:cubicBezTo>
                    <a:pt x="1192" y="1382"/>
                    <a:pt x="1266" y="1382"/>
                    <a:pt x="1311" y="1427"/>
                  </a:cubicBezTo>
                  <a:lnTo>
                    <a:pt x="1486" y="1602"/>
                  </a:lnTo>
                  <a:cubicBezTo>
                    <a:pt x="1526" y="1642"/>
                    <a:pt x="1587" y="1650"/>
                    <a:pt x="1636" y="1623"/>
                  </a:cubicBezTo>
                  <a:cubicBezTo>
                    <a:pt x="1757" y="1555"/>
                    <a:pt x="1883" y="1501"/>
                    <a:pt x="2012" y="1463"/>
                  </a:cubicBezTo>
                  <a:cubicBezTo>
                    <a:pt x="2065" y="1447"/>
                    <a:pt x="2101" y="1398"/>
                    <a:pt x="2101" y="1342"/>
                  </a:cubicBezTo>
                  <a:lnTo>
                    <a:pt x="2101" y="1100"/>
                  </a:lnTo>
                  <a:cubicBezTo>
                    <a:pt x="2101" y="1036"/>
                    <a:pt x="2153" y="985"/>
                    <a:pt x="2217" y="985"/>
                  </a:cubicBezTo>
                  <a:lnTo>
                    <a:pt x="2858" y="985"/>
                  </a:lnTo>
                  <a:cubicBezTo>
                    <a:pt x="2921" y="985"/>
                    <a:pt x="2974" y="1037"/>
                    <a:pt x="2974" y="1100"/>
                  </a:cubicBezTo>
                  <a:lnTo>
                    <a:pt x="2974" y="1332"/>
                  </a:lnTo>
                  <a:cubicBezTo>
                    <a:pt x="2974" y="1388"/>
                    <a:pt x="3011" y="1437"/>
                    <a:pt x="3065" y="1453"/>
                  </a:cubicBezTo>
                  <a:cubicBezTo>
                    <a:pt x="3201" y="1491"/>
                    <a:pt x="3331" y="1545"/>
                    <a:pt x="3452" y="1611"/>
                  </a:cubicBezTo>
                  <a:cubicBezTo>
                    <a:pt x="3501" y="1638"/>
                    <a:pt x="3562" y="1630"/>
                    <a:pt x="3602" y="1590"/>
                  </a:cubicBezTo>
                  <a:lnTo>
                    <a:pt x="3764" y="1427"/>
                  </a:lnTo>
                  <a:cubicBezTo>
                    <a:pt x="3785" y="1406"/>
                    <a:pt x="3814" y="1394"/>
                    <a:pt x="3846" y="1394"/>
                  </a:cubicBezTo>
                  <a:cubicBezTo>
                    <a:pt x="3877" y="1394"/>
                    <a:pt x="3906" y="1406"/>
                    <a:pt x="3927" y="1427"/>
                  </a:cubicBezTo>
                  <a:lnTo>
                    <a:pt x="4132" y="1632"/>
                  </a:lnTo>
                  <a:cubicBezTo>
                    <a:pt x="4085" y="1809"/>
                    <a:pt x="4060" y="1995"/>
                    <a:pt x="4060" y="2186"/>
                  </a:cubicBezTo>
                  <a:cubicBezTo>
                    <a:pt x="4060" y="2640"/>
                    <a:pt x="4200" y="3062"/>
                    <a:pt x="4437" y="3412"/>
                  </a:cubicBezTo>
                  <a:cubicBezTo>
                    <a:pt x="4376" y="3476"/>
                    <a:pt x="4338" y="3561"/>
                    <a:pt x="4334" y="3653"/>
                  </a:cubicBezTo>
                  <a:lnTo>
                    <a:pt x="4328" y="3795"/>
                  </a:lnTo>
                  <a:cubicBezTo>
                    <a:pt x="4232" y="3823"/>
                    <a:pt x="4139" y="3857"/>
                    <a:pt x="4049" y="3897"/>
                  </a:cubicBezTo>
                  <a:lnTo>
                    <a:pt x="3952" y="3791"/>
                  </a:lnTo>
                  <a:cubicBezTo>
                    <a:pt x="3911" y="3746"/>
                    <a:pt x="3861" y="3713"/>
                    <a:pt x="3806" y="3692"/>
                  </a:cubicBezTo>
                  <a:cubicBezTo>
                    <a:pt x="3851" y="3557"/>
                    <a:pt x="3874" y="3416"/>
                    <a:pt x="3874" y="3271"/>
                  </a:cubicBezTo>
                  <a:cubicBezTo>
                    <a:pt x="3874" y="2534"/>
                    <a:pt x="3274" y="1934"/>
                    <a:pt x="2537" y="1934"/>
                  </a:cubicBezTo>
                  <a:cubicBezTo>
                    <a:pt x="1800" y="1934"/>
                    <a:pt x="1201" y="2534"/>
                    <a:pt x="1201" y="3271"/>
                  </a:cubicBezTo>
                  <a:cubicBezTo>
                    <a:pt x="1201" y="4007"/>
                    <a:pt x="1800" y="4607"/>
                    <a:pt x="2537" y="4607"/>
                  </a:cubicBezTo>
                  <a:cubicBezTo>
                    <a:pt x="2636" y="4607"/>
                    <a:pt x="2734" y="4596"/>
                    <a:pt x="2830" y="4575"/>
                  </a:cubicBezTo>
                  <a:cubicBezTo>
                    <a:pt x="2844" y="4635"/>
                    <a:pt x="2874" y="4690"/>
                    <a:pt x="2916" y="4736"/>
                  </a:cubicBezTo>
                  <a:lnTo>
                    <a:pt x="3022" y="4852"/>
                  </a:lnTo>
                  <a:cubicBezTo>
                    <a:pt x="2976" y="4936"/>
                    <a:pt x="2937" y="5023"/>
                    <a:pt x="2903" y="5112"/>
                  </a:cubicBezTo>
                  <a:lnTo>
                    <a:pt x="2743" y="5104"/>
                  </a:lnTo>
                  <a:cubicBezTo>
                    <a:pt x="2644" y="5100"/>
                    <a:pt x="2549" y="5135"/>
                    <a:pt x="2475" y="5202"/>
                  </a:cubicBezTo>
                  <a:cubicBezTo>
                    <a:pt x="2401" y="5269"/>
                    <a:pt x="2358" y="5361"/>
                    <a:pt x="2354" y="5460"/>
                  </a:cubicBezTo>
                  <a:close/>
                  <a:moveTo>
                    <a:pt x="3622" y="3271"/>
                  </a:moveTo>
                  <a:cubicBezTo>
                    <a:pt x="3622" y="3419"/>
                    <a:pt x="3593" y="3563"/>
                    <a:pt x="3535" y="3697"/>
                  </a:cubicBezTo>
                  <a:cubicBezTo>
                    <a:pt x="3495" y="3714"/>
                    <a:pt x="3458" y="3737"/>
                    <a:pt x="3425" y="3766"/>
                  </a:cubicBezTo>
                  <a:lnTo>
                    <a:pt x="2940" y="4210"/>
                  </a:lnTo>
                  <a:cubicBezTo>
                    <a:pt x="2909" y="4238"/>
                    <a:pt x="2884" y="4270"/>
                    <a:pt x="2865" y="4305"/>
                  </a:cubicBezTo>
                  <a:cubicBezTo>
                    <a:pt x="2759" y="4339"/>
                    <a:pt x="2649" y="4356"/>
                    <a:pt x="2537" y="4356"/>
                  </a:cubicBezTo>
                  <a:cubicBezTo>
                    <a:pt x="1939" y="4356"/>
                    <a:pt x="1452" y="3869"/>
                    <a:pt x="1452" y="3271"/>
                  </a:cubicBezTo>
                  <a:cubicBezTo>
                    <a:pt x="1452" y="2672"/>
                    <a:pt x="1939" y="2186"/>
                    <a:pt x="2537" y="2186"/>
                  </a:cubicBezTo>
                  <a:cubicBezTo>
                    <a:pt x="3136" y="2186"/>
                    <a:pt x="3622" y="2672"/>
                    <a:pt x="3622" y="3271"/>
                  </a:cubicBezTo>
                  <a:close/>
                  <a:moveTo>
                    <a:pt x="7177" y="5558"/>
                  </a:moveTo>
                  <a:cubicBezTo>
                    <a:pt x="7243" y="5561"/>
                    <a:pt x="7296" y="5619"/>
                    <a:pt x="7293" y="5684"/>
                  </a:cubicBezTo>
                  <a:lnTo>
                    <a:pt x="7263" y="6341"/>
                  </a:lnTo>
                  <a:cubicBezTo>
                    <a:pt x="7261" y="6373"/>
                    <a:pt x="7247" y="6403"/>
                    <a:pt x="7223" y="6425"/>
                  </a:cubicBezTo>
                  <a:cubicBezTo>
                    <a:pt x="7199" y="6447"/>
                    <a:pt x="7168" y="6458"/>
                    <a:pt x="7136" y="6457"/>
                  </a:cubicBezTo>
                  <a:lnTo>
                    <a:pt x="6869" y="6445"/>
                  </a:lnTo>
                  <a:cubicBezTo>
                    <a:pt x="6813" y="6442"/>
                    <a:pt x="6763" y="6476"/>
                    <a:pt x="6744" y="6528"/>
                  </a:cubicBezTo>
                  <a:cubicBezTo>
                    <a:pt x="6699" y="6655"/>
                    <a:pt x="6640" y="6778"/>
                    <a:pt x="6569" y="6894"/>
                  </a:cubicBezTo>
                  <a:cubicBezTo>
                    <a:pt x="6539" y="6942"/>
                    <a:pt x="6545" y="7003"/>
                    <a:pt x="6583" y="7045"/>
                  </a:cubicBezTo>
                  <a:lnTo>
                    <a:pt x="6766" y="7245"/>
                  </a:lnTo>
                  <a:cubicBezTo>
                    <a:pt x="6788" y="7269"/>
                    <a:pt x="6799" y="7301"/>
                    <a:pt x="6798" y="7333"/>
                  </a:cubicBezTo>
                  <a:cubicBezTo>
                    <a:pt x="6796" y="7366"/>
                    <a:pt x="6783" y="7396"/>
                    <a:pt x="6759" y="7417"/>
                  </a:cubicBezTo>
                  <a:lnTo>
                    <a:pt x="6273" y="7861"/>
                  </a:lnTo>
                  <a:cubicBezTo>
                    <a:pt x="6250" y="7882"/>
                    <a:pt x="6218" y="7893"/>
                    <a:pt x="6186" y="7892"/>
                  </a:cubicBezTo>
                  <a:cubicBezTo>
                    <a:pt x="6153" y="7890"/>
                    <a:pt x="6124" y="7877"/>
                    <a:pt x="6102" y="7853"/>
                  </a:cubicBezTo>
                  <a:lnTo>
                    <a:pt x="5911" y="7644"/>
                  </a:lnTo>
                  <a:cubicBezTo>
                    <a:pt x="5874" y="7603"/>
                    <a:pt x="5814" y="7591"/>
                    <a:pt x="5764" y="7615"/>
                  </a:cubicBezTo>
                  <a:cubicBezTo>
                    <a:pt x="5645" y="7672"/>
                    <a:pt x="5519" y="7717"/>
                    <a:pt x="5392" y="7748"/>
                  </a:cubicBezTo>
                  <a:cubicBezTo>
                    <a:pt x="5337" y="7761"/>
                    <a:pt x="5298" y="7808"/>
                    <a:pt x="5296" y="7864"/>
                  </a:cubicBezTo>
                  <a:lnTo>
                    <a:pt x="5283" y="8149"/>
                  </a:lnTo>
                  <a:cubicBezTo>
                    <a:pt x="5281" y="8181"/>
                    <a:pt x="5267" y="8211"/>
                    <a:pt x="5243" y="8233"/>
                  </a:cubicBezTo>
                  <a:cubicBezTo>
                    <a:pt x="5219" y="8255"/>
                    <a:pt x="5188" y="8267"/>
                    <a:pt x="5156" y="8265"/>
                  </a:cubicBezTo>
                  <a:lnTo>
                    <a:pt x="4499" y="8235"/>
                  </a:lnTo>
                  <a:cubicBezTo>
                    <a:pt x="4433" y="8232"/>
                    <a:pt x="4381" y="8174"/>
                    <a:pt x="4383" y="8108"/>
                  </a:cubicBezTo>
                  <a:lnTo>
                    <a:pt x="4396" y="7824"/>
                  </a:lnTo>
                  <a:cubicBezTo>
                    <a:pt x="4399" y="7768"/>
                    <a:pt x="4364" y="7717"/>
                    <a:pt x="4312" y="7699"/>
                  </a:cubicBezTo>
                  <a:cubicBezTo>
                    <a:pt x="4184" y="7655"/>
                    <a:pt x="4064" y="7599"/>
                    <a:pt x="3953" y="7533"/>
                  </a:cubicBezTo>
                  <a:cubicBezTo>
                    <a:pt x="3905" y="7504"/>
                    <a:pt x="3844" y="7510"/>
                    <a:pt x="3803" y="7548"/>
                  </a:cubicBezTo>
                  <a:lnTo>
                    <a:pt x="3595" y="7739"/>
                  </a:lnTo>
                  <a:cubicBezTo>
                    <a:pt x="3545" y="7784"/>
                    <a:pt x="3468" y="7780"/>
                    <a:pt x="3423" y="7731"/>
                  </a:cubicBezTo>
                  <a:lnTo>
                    <a:pt x="2980" y="7246"/>
                  </a:lnTo>
                  <a:cubicBezTo>
                    <a:pt x="2958" y="7222"/>
                    <a:pt x="2947" y="7191"/>
                    <a:pt x="2948" y="7158"/>
                  </a:cubicBezTo>
                  <a:cubicBezTo>
                    <a:pt x="2950" y="7126"/>
                    <a:pt x="2964" y="7096"/>
                    <a:pt x="2987" y="7074"/>
                  </a:cubicBezTo>
                  <a:lnTo>
                    <a:pt x="3189" y="6891"/>
                  </a:lnTo>
                  <a:cubicBezTo>
                    <a:pt x="3230" y="6853"/>
                    <a:pt x="3241" y="6792"/>
                    <a:pt x="3216" y="6742"/>
                  </a:cubicBezTo>
                  <a:cubicBezTo>
                    <a:pt x="3156" y="6621"/>
                    <a:pt x="3108" y="6493"/>
                    <a:pt x="3075" y="6361"/>
                  </a:cubicBezTo>
                  <a:cubicBezTo>
                    <a:pt x="3061" y="6308"/>
                    <a:pt x="3014" y="6270"/>
                    <a:pt x="2959" y="6267"/>
                  </a:cubicBezTo>
                  <a:lnTo>
                    <a:pt x="2691" y="6255"/>
                  </a:lnTo>
                  <a:cubicBezTo>
                    <a:pt x="2659" y="6254"/>
                    <a:pt x="2629" y="6240"/>
                    <a:pt x="2607" y="6215"/>
                  </a:cubicBezTo>
                  <a:cubicBezTo>
                    <a:pt x="2585" y="6191"/>
                    <a:pt x="2574" y="6160"/>
                    <a:pt x="2575" y="6128"/>
                  </a:cubicBezTo>
                  <a:lnTo>
                    <a:pt x="2605" y="5472"/>
                  </a:lnTo>
                  <a:cubicBezTo>
                    <a:pt x="2607" y="5439"/>
                    <a:pt x="2621" y="5409"/>
                    <a:pt x="2645" y="5387"/>
                  </a:cubicBezTo>
                  <a:cubicBezTo>
                    <a:pt x="2669" y="5365"/>
                    <a:pt x="2700" y="5354"/>
                    <a:pt x="2732" y="5355"/>
                  </a:cubicBezTo>
                  <a:lnTo>
                    <a:pt x="2985" y="5367"/>
                  </a:lnTo>
                  <a:cubicBezTo>
                    <a:pt x="3041" y="5370"/>
                    <a:pt x="3093" y="5334"/>
                    <a:pt x="3110" y="5281"/>
                  </a:cubicBezTo>
                  <a:cubicBezTo>
                    <a:pt x="3154" y="5148"/>
                    <a:pt x="3212" y="5020"/>
                    <a:pt x="3284" y="4899"/>
                  </a:cubicBezTo>
                  <a:cubicBezTo>
                    <a:pt x="3312" y="4852"/>
                    <a:pt x="3306" y="4791"/>
                    <a:pt x="3269" y="4750"/>
                  </a:cubicBezTo>
                  <a:lnTo>
                    <a:pt x="3102" y="4567"/>
                  </a:lnTo>
                  <a:cubicBezTo>
                    <a:pt x="3080" y="4543"/>
                    <a:pt x="3069" y="4512"/>
                    <a:pt x="3070" y="4479"/>
                  </a:cubicBezTo>
                  <a:cubicBezTo>
                    <a:pt x="3072" y="4447"/>
                    <a:pt x="3086" y="4417"/>
                    <a:pt x="3109" y="4395"/>
                  </a:cubicBezTo>
                  <a:lnTo>
                    <a:pt x="3595" y="3952"/>
                  </a:lnTo>
                  <a:cubicBezTo>
                    <a:pt x="3619" y="3930"/>
                    <a:pt x="3650" y="3919"/>
                    <a:pt x="3682" y="3921"/>
                  </a:cubicBezTo>
                  <a:cubicBezTo>
                    <a:pt x="3715" y="3922"/>
                    <a:pt x="3745" y="3936"/>
                    <a:pt x="3766" y="3960"/>
                  </a:cubicBezTo>
                  <a:lnTo>
                    <a:pt x="3926" y="4135"/>
                  </a:lnTo>
                  <a:cubicBezTo>
                    <a:pt x="3964" y="4177"/>
                    <a:pt x="4025" y="4188"/>
                    <a:pt x="4076" y="4163"/>
                  </a:cubicBezTo>
                  <a:cubicBezTo>
                    <a:pt x="4202" y="4100"/>
                    <a:pt x="4338" y="4050"/>
                    <a:pt x="4479" y="4015"/>
                  </a:cubicBezTo>
                  <a:cubicBezTo>
                    <a:pt x="4533" y="4002"/>
                    <a:pt x="4572" y="3954"/>
                    <a:pt x="4575" y="3899"/>
                  </a:cubicBezTo>
                  <a:lnTo>
                    <a:pt x="4585" y="3664"/>
                  </a:lnTo>
                  <a:cubicBezTo>
                    <a:pt x="4586" y="3648"/>
                    <a:pt x="4590" y="3633"/>
                    <a:pt x="4597" y="3619"/>
                  </a:cubicBezTo>
                  <a:cubicBezTo>
                    <a:pt x="4998" y="4080"/>
                    <a:pt x="5589" y="4372"/>
                    <a:pt x="6247" y="4372"/>
                  </a:cubicBezTo>
                  <a:cubicBezTo>
                    <a:pt x="6383" y="4372"/>
                    <a:pt x="6517" y="4360"/>
                    <a:pt x="6646" y="4336"/>
                  </a:cubicBezTo>
                  <a:cubicBezTo>
                    <a:pt x="6655" y="4334"/>
                    <a:pt x="6664" y="4333"/>
                    <a:pt x="6673" y="4331"/>
                  </a:cubicBezTo>
                  <a:lnTo>
                    <a:pt x="6888" y="4567"/>
                  </a:lnTo>
                  <a:cubicBezTo>
                    <a:pt x="6933" y="4616"/>
                    <a:pt x="6930" y="4694"/>
                    <a:pt x="6880" y="4739"/>
                  </a:cubicBezTo>
                  <a:lnTo>
                    <a:pt x="6697" y="4906"/>
                  </a:lnTo>
                  <a:cubicBezTo>
                    <a:pt x="6656" y="4943"/>
                    <a:pt x="6645" y="5003"/>
                    <a:pt x="6669" y="5053"/>
                  </a:cubicBezTo>
                  <a:cubicBezTo>
                    <a:pt x="6729" y="5178"/>
                    <a:pt x="6775" y="5311"/>
                    <a:pt x="6807" y="5449"/>
                  </a:cubicBezTo>
                  <a:cubicBezTo>
                    <a:pt x="6820" y="5504"/>
                    <a:pt x="6867" y="5544"/>
                    <a:pt x="6924" y="5547"/>
                  </a:cubicBezTo>
                  <a:lnTo>
                    <a:pt x="7177" y="5558"/>
                  </a:lnTo>
                  <a:close/>
                  <a:moveTo>
                    <a:pt x="7177" y="555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83">
              <a:extLst>
                <a:ext uri="{FF2B5EF4-FFF2-40B4-BE49-F238E27FC236}">
                  <a16:creationId xmlns:a16="http://schemas.microsoft.com/office/drawing/2014/main" id="{533C2C2E-EEBC-492D-8868-853A125B11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4" y="3538"/>
              <a:ext cx="50" cy="50"/>
            </a:xfrm>
            <a:custGeom>
              <a:avLst/>
              <a:gdLst>
                <a:gd name="T0" fmla="*/ 287 w 1507"/>
                <a:gd name="T1" fmla="*/ 174 h 1506"/>
                <a:gd name="T2" fmla="*/ 281 w 1507"/>
                <a:gd name="T3" fmla="*/ 179 h 1506"/>
                <a:gd name="T4" fmla="*/ 273 w 1507"/>
                <a:gd name="T5" fmla="*/ 186 h 1506"/>
                <a:gd name="T6" fmla="*/ 253 w 1507"/>
                <a:gd name="T7" fmla="*/ 204 h 1506"/>
                <a:gd name="T8" fmla="*/ 226 w 1507"/>
                <a:gd name="T9" fmla="*/ 230 h 1506"/>
                <a:gd name="T10" fmla="*/ 218 w 1507"/>
                <a:gd name="T11" fmla="*/ 237 h 1506"/>
                <a:gd name="T12" fmla="*/ 200 w 1507"/>
                <a:gd name="T13" fmla="*/ 257 h 1506"/>
                <a:gd name="T14" fmla="*/ 179 w 1507"/>
                <a:gd name="T15" fmla="*/ 281 h 1506"/>
                <a:gd name="T16" fmla="*/ 176 w 1507"/>
                <a:gd name="T17" fmla="*/ 285 h 1506"/>
                <a:gd name="T18" fmla="*/ 156 w 1507"/>
                <a:gd name="T19" fmla="*/ 311 h 1506"/>
                <a:gd name="T20" fmla="*/ 154 w 1507"/>
                <a:gd name="T21" fmla="*/ 314 h 1506"/>
                <a:gd name="T22" fmla="*/ 137 w 1507"/>
                <a:gd name="T23" fmla="*/ 337 h 1506"/>
                <a:gd name="T24" fmla="*/ 133 w 1507"/>
                <a:gd name="T25" fmla="*/ 344 h 1506"/>
                <a:gd name="T26" fmla="*/ 118 w 1507"/>
                <a:gd name="T27" fmla="*/ 366 h 1506"/>
                <a:gd name="T28" fmla="*/ 113 w 1507"/>
                <a:gd name="T29" fmla="*/ 375 h 1506"/>
                <a:gd name="T30" fmla="*/ 42 w 1507"/>
                <a:gd name="T31" fmla="*/ 535 h 1506"/>
                <a:gd name="T32" fmla="*/ 40 w 1507"/>
                <a:gd name="T33" fmla="*/ 541 h 1506"/>
                <a:gd name="T34" fmla="*/ 16 w 1507"/>
                <a:gd name="T35" fmla="*/ 648 h 1506"/>
                <a:gd name="T36" fmla="*/ 16 w 1507"/>
                <a:gd name="T37" fmla="*/ 649 h 1506"/>
                <a:gd name="T38" fmla="*/ 14 w 1507"/>
                <a:gd name="T39" fmla="*/ 665 h 1506"/>
                <a:gd name="T40" fmla="*/ 9 w 1507"/>
                <a:gd name="T41" fmla="*/ 723 h 1506"/>
                <a:gd name="T42" fmla="*/ 204 w 1507"/>
                <a:gd name="T43" fmla="*/ 1262 h 1506"/>
                <a:gd name="T44" fmla="*/ 759 w 1507"/>
                <a:gd name="T45" fmla="*/ 1506 h 1506"/>
                <a:gd name="T46" fmla="*/ 1263 w 1507"/>
                <a:gd name="T47" fmla="*/ 1311 h 1506"/>
                <a:gd name="T48" fmla="*/ 1291 w 1507"/>
                <a:gd name="T49" fmla="*/ 1284 h 1506"/>
                <a:gd name="T50" fmla="*/ 1507 w 1507"/>
                <a:gd name="T51" fmla="*/ 755 h 1506"/>
                <a:gd name="T52" fmla="*/ 1402 w 1507"/>
                <a:gd name="T53" fmla="*/ 374 h 1506"/>
                <a:gd name="T54" fmla="*/ 1311 w 1507"/>
                <a:gd name="T55" fmla="*/ 252 h 1506"/>
                <a:gd name="T56" fmla="*/ 792 w 1507"/>
                <a:gd name="T57" fmla="*/ 9 h 1506"/>
                <a:gd name="T58" fmla="*/ 287 w 1507"/>
                <a:gd name="T59" fmla="*/ 174 h 1506"/>
                <a:gd name="T60" fmla="*/ 1126 w 1507"/>
                <a:gd name="T61" fmla="*/ 421 h 1506"/>
                <a:gd name="T62" fmla="*/ 1094 w 1507"/>
                <a:gd name="T63" fmla="*/ 1125 h 1506"/>
                <a:gd name="T64" fmla="*/ 390 w 1507"/>
                <a:gd name="T65" fmla="*/ 1093 h 1506"/>
                <a:gd name="T66" fmla="*/ 261 w 1507"/>
                <a:gd name="T67" fmla="*/ 784 h 1506"/>
                <a:gd name="T68" fmla="*/ 260 w 1507"/>
                <a:gd name="T69" fmla="*/ 735 h 1506"/>
                <a:gd name="T70" fmla="*/ 422 w 1507"/>
                <a:gd name="T71" fmla="*/ 390 h 1506"/>
                <a:gd name="T72" fmla="*/ 422 w 1507"/>
                <a:gd name="T73" fmla="*/ 390 h 1506"/>
                <a:gd name="T74" fmla="*/ 758 w 1507"/>
                <a:gd name="T75" fmla="*/ 259 h 1506"/>
                <a:gd name="T76" fmla="*/ 781 w 1507"/>
                <a:gd name="T77" fmla="*/ 260 h 1506"/>
                <a:gd name="T78" fmla="*/ 1126 w 1507"/>
                <a:gd name="T79" fmla="*/ 421 h 1506"/>
                <a:gd name="T80" fmla="*/ 1126 w 1507"/>
                <a:gd name="T81" fmla="*/ 421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7" h="1506">
                  <a:moveTo>
                    <a:pt x="287" y="174"/>
                  </a:moveTo>
                  <a:cubicBezTo>
                    <a:pt x="285" y="176"/>
                    <a:pt x="283" y="178"/>
                    <a:pt x="281" y="179"/>
                  </a:cubicBezTo>
                  <a:cubicBezTo>
                    <a:pt x="278" y="182"/>
                    <a:pt x="276" y="184"/>
                    <a:pt x="273" y="186"/>
                  </a:cubicBezTo>
                  <a:cubicBezTo>
                    <a:pt x="266" y="192"/>
                    <a:pt x="260" y="198"/>
                    <a:pt x="253" y="204"/>
                  </a:cubicBezTo>
                  <a:cubicBezTo>
                    <a:pt x="244" y="212"/>
                    <a:pt x="235" y="221"/>
                    <a:pt x="226" y="230"/>
                  </a:cubicBezTo>
                  <a:cubicBezTo>
                    <a:pt x="223" y="232"/>
                    <a:pt x="221" y="235"/>
                    <a:pt x="218" y="237"/>
                  </a:cubicBezTo>
                  <a:cubicBezTo>
                    <a:pt x="212" y="244"/>
                    <a:pt x="206" y="250"/>
                    <a:pt x="200" y="257"/>
                  </a:cubicBezTo>
                  <a:cubicBezTo>
                    <a:pt x="193" y="265"/>
                    <a:pt x="186" y="273"/>
                    <a:pt x="179" y="281"/>
                  </a:cubicBezTo>
                  <a:cubicBezTo>
                    <a:pt x="178" y="282"/>
                    <a:pt x="177" y="283"/>
                    <a:pt x="176" y="285"/>
                  </a:cubicBezTo>
                  <a:cubicBezTo>
                    <a:pt x="169" y="293"/>
                    <a:pt x="162" y="302"/>
                    <a:pt x="156" y="311"/>
                  </a:cubicBezTo>
                  <a:cubicBezTo>
                    <a:pt x="155" y="312"/>
                    <a:pt x="154" y="313"/>
                    <a:pt x="154" y="314"/>
                  </a:cubicBezTo>
                  <a:cubicBezTo>
                    <a:pt x="148" y="322"/>
                    <a:pt x="143" y="329"/>
                    <a:pt x="137" y="337"/>
                  </a:cubicBezTo>
                  <a:cubicBezTo>
                    <a:pt x="136" y="339"/>
                    <a:pt x="134" y="342"/>
                    <a:pt x="133" y="344"/>
                  </a:cubicBezTo>
                  <a:cubicBezTo>
                    <a:pt x="128" y="351"/>
                    <a:pt x="123" y="359"/>
                    <a:pt x="118" y="366"/>
                  </a:cubicBezTo>
                  <a:cubicBezTo>
                    <a:pt x="117" y="369"/>
                    <a:pt x="115" y="372"/>
                    <a:pt x="113" y="375"/>
                  </a:cubicBezTo>
                  <a:cubicBezTo>
                    <a:pt x="83" y="425"/>
                    <a:pt x="59" y="479"/>
                    <a:pt x="42" y="535"/>
                  </a:cubicBezTo>
                  <a:cubicBezTo>
                    <a:pt x="41" y="537"/>
                    <a:pt x="41" y="539"/>
                    <a:pt x="40" y="541"/>
                  </a:cubicBezTo>
                  <a:cubicBezTo>
                    <a:pt x="30" y="576"/>
                    <a:pt x="22" y="612"/>
                    <a:pt x="16" y="648"/>
                  </a:cubicBezTo>
                  <a:cubicBezTo>
                    <a:pt x="16" y="648"/>
                    <a:pt x="16" y="649"/>
                    <a:pt x="16" y="649"/>
                  </a:cubicBezTo>
                  <a:cubicBezTo>
                    <a:pt x="15" y="654"/>
                    <a:pt x="15" y="660"/>
                    <a:pt x="14" y="665"/>
                  </a:cubicBezTo>
                  <a:cubicBezTo>
                    <a:pt x="12" y="684"/>
                    <a:pt x="10" y="704"/>
                    <a:pt x="9" y="723"/>
                  </a:cubicBezTo>
                  <a:cubicBezTo>
                    <a:pt x="0" y="923"/>
                    <a:pt x="69" y="1115"/>
                    <a:pt x="204" y="1262"/>
                  </a:cubicBezTo>
                  <a:cubicBezTo>
                    <a:pt x="352" y="1424"/>
                    <a:pt x="555" y="1506"/>
                    <a:pt x="759" y="1506"/>
                  </a:cubicBezTo>
                  <a:cubicBezTo>
                    <a:pt x="939" y="1506"/>
                    <a:pt x="1120" y="1442"/>
                    <a:pt x="1263" y="1311"/>
                  </a:cubicBezTo>
                  <a:cubicBezTo>
                    <a:pt x="1273" y="1302"/>
                    <a:pt x="1282" y="1293"/>
                    <a:pt x="1291" y="1284"/>
                  </a:cubicBezTo>
                  <a:cubicBezTo>
                    <a:pt x="1435" y="1139"/>
                    <a:pt x="1507" y="947"/>
                    <a:pt x="1507" y="755"/>
                  </a:cubicBezTo>
                  <a:cubicBezTo>
                    <a:pt x="1507" y="623"/>
                    <a:pt x="1472" y="491"/>
                    <a:pt x="1402" y="374"/>
                  </a:cubicBezTo>
                  <a:cubicBezTo>
                    <a:pt x="1376" y="331"/>
                    <a:pt x="1346" y="290"/>
                    <a:pt x="1311" y="252"/>
                  </a:cubicBezTo>
                  <a:cubicBezTo>
                    <a:pt x="1176" y="104"/>
                    <a:pt x="992" y="18"/>
                    <a:pt x="792" y="9"/>
                  </a:cubicBezTo>
                  <a:cubicBezTo>
                    <a:pt x="607" y="0"/>
                    <a:pt x="430" y="59"/>
                    <a:pt x="287" y="174"/>
                  </a:cubicBezTo>
                  <a:close/>
                  <a:moveTo>
                    <a:pt x="1126" y="421"/>
                  </a:moveTo>
                  <a:cubicBezTo>
                    <a:pt x="1311" y="624"/>
                    <a:pt x="1297" y="940"/>
                    <a:pt x="1094" y="1125"/>
                  </a:cubicBezTo>
                  <a:cubicBezTo>
                    <a:pt x="891" y="1310"/>
                    <a:pt x="575" y="1296"/>
                    <a:pt x="390" y="1093"/>
                  </a:cubicBezTo>
                  <a:cubicBezTo>
                    <a:pt x="312" y="1007"/>
                    <a:pt x="267" y="899"/>
                    <a:pt x="261" y="784"/>
                  </a:cubicBezTo>
                  <a:cubicBezTo>
                    <a:pt x="260" y="768"/>
                    <a:pt x="260" y="751"/>
                    <a:pt x="260" y="735"/>
                  </a:cubicBezTo>
                  <a:cubicBezTo>
                    <a:pt x="266" y="602"/>
                    <a:pt x="324" y="479"/>
                    <a:pt x="422" y="390"/>
                  </a:cubicBezTo>
                  <a:cubicBezTo>
                    <a:pt x="422" y="390"/>
                    <a:pt x="422" y="390"/>
                    <a:pt x="422" y="390"/>
                  </a:cubicBezTo>
                  <a:cubicBezTo>
                    <a:pt x="515" y="305"/>
                    <a:pt x="633" y="259"/>
                    <a:pt x="758" y="259"/>
                  </a:cubicBezTo>
                  <a:cubicBezTo>
                    <a:pt x="765" y="259"/>
                    <a:pt x="773" y="259"/>
                    <a:pt x="781" y="260"/>
                  </a:cubicBezTo>
                  <a:cubicBezTo>
                    <a:pt x="914" y="266"/>
                    <a:pt x="1036" y="323"/>
                    <a:pt x="1126" y="421"/>
                  </a:cubicBezTo>
                  <a:close/>
                  <a:moveTo>
                    <a:pt x="1126" y="42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84">
              <a:extLst>
                <a:ext uri="{FF2B5EF4-FFF2-40B4-BE49-F238E27FC236}">
                  <a16:creationId xmlns:a16="http://schemas.microsoft.com/office/drawing/2014/main" id="{B6FE8ACD-AA03-429F-B274-759B57EAD6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10" y="3388"/>
              <a:ext cx="105" cy="105"/>
            </a:xfrm>
            <a:custGeom>
              <a:avLst/>
              <a:gdLst>
                <a:gd name="T0" fmla="*/ 1583 w 3166"/>
                <a:gd name="T1" fmla="*/ 0 h 3166"/>
                <a:gd name="T2" fmla="*/ 0 w 3166"/>
                <a:gd name="T3" fmla="*/ 1583 h 3166"/>
                <a:gd name="T4" fmla="*/ 1583 w 3166"/>
                <a:gd name="T5" fmla="*/ 3166 h 3166"/>
                <a:gd name="T6" fmla="*/ 3166 w 3166"/>
                <a:gd name="T7" fmla="*/ 1583 h 3166"/>
                <a:gd name="T8" fmla="*/ 1583 w 3166"/>
                <a:gd name="T9" fmla="*/ 0 h 3166"/>
                <a:gd name="T10" fmla="*/ 2855 w 3166"/>
                <a:gd name="T11" fmla="*/ 1709 h 3166"/>
                <a:gd name="T12" fmla="*/ 2908 w 3166"/>
                <a:gd name="T13" fmla="*/ 1709 h 3166"/>
                <a:gd name="T14" fmla="*/ 1709 w 3166"/>
                <a:gd name="T15" fmla="*/ 2909 h 3166"/>
                <a:gd name="T16" fmla="*/ 1709 w 3166"/>
                <a:gd name="T17" fmla="*/ 2855 h 3166"/>
                <a:gd name="T18" fmla="*/ 1583 w 3166"/>
                <a:gd name="T19" fmla="*/ 2729 h 3166"/>
                <a:gd name="T20" fmla="*/ 1457 w 3166"/>
                <a:gd name="T21" fmla="*/ 2855 h 3166"/>
                <a:gd name="T22" fmla="*/ 1457 w 3166"/>
                <a:gd name="T23" fmla="*/ 2909 h 3166"/>
                <a:gd name="T24" fmla="*/ 258 w 3166"/>
                <a:gd name="T25" fmla="*/ 1709 h 3166"/>
                <a:gd name="T26" fmla="*/ 311 w 3166"/>
                <a:gd name="T27" fmla="*/ 1709 h 3166"/>
                <a:gd name="T28" fmla="*/ 437 w 3166"/>
                <a:gd name="T29" fmla="*/ 1583 h 3166"/>
                <a:gd name="T30" fmla="*/ 311 w 3166"/>
                <a:gd name="T31" fmla="*/ 1458 h 3166"/>
                <a:gd name="T32" fmla="*/ 258 w 3166"/>
                <a:gd name="T33" fmla="*/ 1458 h 3166"/>
                <a:gd name="T34" fmla="*/ 1457 w 3166"/>
                <a:gd name="T35" fmla="*/ 258 h 3166"/>
                <a:gd name="T36" fmla="*/ 1457 w 3166"/>
                <a:gd name="T37" fmla="*/ 312 h 3166"/>
                <a:gd name="T38" fmla="*/ 1583 w 3166"/>
                <a:gd name="T39" fmla="*/ 437 h 3166"/>
                <a:gd name="T40" fmla="*/ 1709 w 3166"/>
                <a:gd name="T41" fmla="*/ 312 h 3166"/>
                <a:gd name="T42" fmla="*/ 1709 w 3166"/>
                <a:gd name="T43" fmla="*/ 258 h 3166"/>
                <a:gd name="T44" fmla="*/ 2908 w 3166"/>
                <a:gd name="T45" fmla="*/ 1458 h 3166"/>
                <a:gd name="T46" fmla="*/ 2855 w 3166"/>
                <a:gd name="T47" fmla="*/ 1458 h 3166"/>
                <a:gd name="T48" fmla="*/ 2729 w 3166"/>
                <a:gd name="T49" fmla="*/ 1583 h 3166"/>
                <a:gd name="T50" fmla="*/ 2855 w 3166"/>
                <a:gd name="T51" fmla="*/ 1709 h 3166"/>
                <a:gd name="T52" fmla="*/ 2855 w 3166"/>
                <a:gd name="T53" fmla="*/ 1709 h 3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66" h="3166">
                  <a:moveTo>
                    <a:pt x="1583" y="0"/>
                  </a:moveTo>
                  <a:cubicBezTo>
                    <a:pt x="710" y="0"/>
                    <a:pt x="0" y="711"/>
                    <a:pt x="0" y="1583"/>
                  </a:cubicBezTo>
                  <a:cubicBezTo>
                    <a:pt x="0" y="2456"/>
                    <a:pt x="710" y="3166"/>
                    <a:pt x="1583" y="3166"/>
                  </a:cubicBezTo>
                  <a:cubicBezTo>
                    <a:pt x="2456" y="3166"/>
                    <a:pt x="3166" y="2456"/>
                    <a:pt x="3166" y="1583"/>
                  </a:cubicBezTo>
                  <a:cubicBezTo>
                    <a:pt x="3166" y="711"/>
                    <a:pt x="2456" y="0"/>
                    <a:pt x="1583" y="0"/>
                  </a:cubicBezTo>
                  <a:close/>
                  <a:moveTo>
                    <a:pt x="2855" y="1709"/>
                  </a:moveTo>
                  <a:lnTo>
                    <a:pt x="2908" y="1709"/>
                  </a:lnTo>
                  <a:cubicBezTo>
                    <a:pt x="2848" y="2343"/>
                    <a:pt x="2343" y="2849"/>
                    <a:pt x="1709" y="2909"/>
                  </a:cubicBezTo>
                  <a:lnTo>
                    <a:pt x="1709" y="2855"/>
                  </a:lnTo>
                  <a:cubicBezTo>
                    <a:pt x="1709" y="2786"/>
                    <a:pt x="1652" y="2729"/>
                    <a:pt x="1583" y="2729"/>
                  </a:cubicBezTo>
                  <a:cubicBezTo>
                    <a:pt x="1513" y="2729"/>
                    <a:pt x="1457" y="2786"/>
                    <a:pt x="1457" y="2855"/>
                  </a:cubicBezTo>
                  <a:lnTo>
                    <a:pt x="1457" y="2909"/>
                  </a:lnTo>
                  <a:cubicBezTo>
                    <a:pt x="823" y="2849"/>
                    <a:pt x="317" y="2343"/>
                    <a:pt x="258" y="1709"/>
                  </a:cubicBezTo>
                  <a:lnTo>
                    <a:pt x="311" y="1709"/>
                  </a:lnTo>
                  <a:cubicBezTo>
                    <a:pt x="381" y="1709"/>
                    <a:pt x="437" y="1653"/>
                    <a:pt x="437" y="1583"/>
                  </a:cubicBezTo>
                  <a:cubicBezTo>
                    <a:pt x="437" y="1514"/>
                    <a:pt x="381" y="1458"/>
                    <a:pt x="311" y="1458"/>
                  </a:cubicBezTo>
                  <a:lnTo>
                    <a:pt x="258" y="1458"/>
                  </a:lnTo>
                  <a:cubicBezTo>
                    <a:pt x="317" y="824"/>
                    <a:pt x="823" y="317"/>
                    <a:pt x="1457" y="258"/>
                  </a:cubicBezTo>
                  <a:lnTo>
                    <a:pt x="1457" y="312"/>
                  </a:lnTo>
                  <a:cubicBezTo>
                    <a:pt x="1457" y="381"/>
                    <a:pt x="1513" y="437"/>
                    <a:pt x="1583" y="437"/>
                  </a:cubicBezTo>
                  <a:cubicBezTo>
                    <a:pt x="1652" y="437"/>
                    <a:pt x="1709" y="381"/>
                    <a:pt x="1709" y="312"/>
                  </a:cubicBezTo>
                  <a:lnTo>
                    <a:pt x="1709" y="258"/>
                  </a:lnTo>
                  <a:cubicBezTo>
                    <a:pt x="2343" y="317"/>
                    <a:pt x="2848" y="824"/>
                    <a:pt x="2908" y="1458"/>
                  </a:cubicBezTo>
                  <a:lnTo>
                    <a:pt x="2855" y="1458"/>
                  </a:lnTo>
                  <a:cubicBezTo>
                    <a:pt x="2785" y="1458"/>
                    <a:pt x="2729" y="1514"/>
                    <a:pt x="2729" y="1583"/>
                  </a:cubicBezTo>
                  <a:cubicBezTo>
                    <a:pt x="2729" y="1653"/>
                    <a:pt x="2785" y="1709"/>
                    <a:pt x="2855" y="1709"/>
                  </a:cubicBezTo>
                  <a:close/>
                  <a:moveTo>
                    <a:pt x="2855" y="170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85">
              <a:extLst>
                <a:ext uri="{FF2B5EF4-FFF2-40B4-BE49-F238E27FC236}">
                  <a16:creationId xmlns:a16="http://schemas.microsoft.com/office/drawing/2014/main" id="{94F606C3-1779-4E8F-8F55-7857923DFD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4" y="3416"/>
              <a:ext cx="23" cy="36"/>
            </a:xfrm>
            <a:custGeom>
              <a:avLst/>
              <a:gdLst>
                <a:gd name="T0" fmla="*/ 543 w 669"/>
                <a:gd name="T1" fmla="*/ 0 h 1086"/>
                <a:gd name="T2" fmla="*/ 417 w 669"/>
                <a:gd name="T3" fmla="*/ 125 h 1086"/>
                <a:gd name="T4" fmla="*/ 417 w 669"/>
                <a:gd name="T5" fmla="*/ 834 h 1086"/>
                <a:gd name="T6" fmla="*/ 126 w 669"/>
                <a:gd name="T7" fmla="*/ 834 h 1086"/>
                <a:gd name="T8" fmla="*/ 0 w 669"/>
                <a:gd name="T9" fmla="*/ 960 h 1086"/>
                <a:gd name="T10" fmla="*/ 126 w 669"/>
                <a:gd name="T11" fmla="*/ 1086 h 1086"/>
                <a:gd name="T12" fmla="*/ 543 w 669"/>
                <a:gd name="T13" fmla="*/ 1086 h 1086"/>
                <a:gd name="T14" fmla="*/ 669 w 669"/>
                <a:gd name="T15" fmla="*/ 960 h 1086"/>
                <a:gd name="T16" fmla="*/ 669 w 669"/>
                <a:gd name="T17" fmla="*/ 125 h 1086"/>
                <a:gd name="T18" fmla="*/ 543 w 669"/>
                <a:gd name="T19" fmla="*/ 0 h 1086"/>
                <a:gd name="T20" fmla="*/ 543 w 669"/>
                <a:gd name="T21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9" h="1086">
                  <a:moveTo>
                    <a:pt x="543" y="0"/>
                  </a:moveTo>
                  <a:cubicBezTo>
                    <a:pt x="473" y="0"/>
                    <a:pt x="417" y="56"/>
                    <a:pt x="417" y="125"/>
                  </a:cubicBezTo>
                  <a:lnTo>
                    <a:pt x="417" y="834"/>
                  </a:lnTo>
                  <a:lnTo>
                    <a:pt x="126" y="834"/>
                  </a:lnTo>
                  <a:cubicBezTo>
                    <a:pt x="56" y="834"/>
                    <a:pt x="0" y="891"/>
                    <a:pt x="0" y="960"/>
                  </a:cubicBezTo>
                  <a:cubicBezTo>
                    <a:pt x="0" y="1029"/>
                    <a:pt x="56" y="1086"/>
                    <a:pt x="126" y="1086"/>
                  </a:cubicBezTo>
                  <a:lnTo>
                    <a:pt x="543" y="1086"/>
                  </a:lnTo>
                  <a:cubicBezTo>
                    <a:pt x="612" y="1086"/>
                    <a:pt x="669" y="1029"/>
                    <a:pt x="669" y="960"/>
                  </a:cubicBezTo>
                  <a:lnTo>
                    <a:pt x="669" y="125"/>
                  </a:lnTo>
                  <a:cubicBezTo>
                    <a:pt x="669" y="56"/>
                    <a:pt x="612" y="0"/>
                    <a:pt x="543" y="0"/>
                  </a:cubicBezTo>
                  <a:close/>
                  <a:moveTo>
                    <a:pt x="543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" name="Group 248">
            <a:extLst>
              <a:ext uri="{FF2B5EF4-FFF2-40B4-BE49-F238E27FC236}">
                <a16:creationId xmlns:a16="http://schemas.microsoft.com/office/drawing/2014/main" id="{F8BF541F-D450-4F04-85AE-9EF404BE616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6153" y="2142579"/>
            <a:ext cx="584897" cy="530671"/>
            <a:chOff x="1780" y="300"/>
            <a:chExt cx="4088" cy="3709"/>
          </a:xfrm>
          <a:solidFill>
            <a:schemeClr val="bg2">
              <a:lumMod val="25000"/>
            </a:schemeClr>
          </a:solidFill>
        </p:grpSpPr>
        <p:sp>
          <p:nvSpPr>
            <p:cNvPr id="25" name="Freeform 249">
              <a:extLst>
                <a:ext uri="{FF2B5EF4-FFF2-40B4-BE49-F238E27FC236}">
                  <a16:creationId xmlns:a16="http://schemas.microsoft.com/office/drawing/2014/main" id="{BE83EEA2-6D4A-476D-816B-168CBFADEA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0" y="300"/>
              <a:ext cx="4088" cy="3709"/>
            </a:xfrm>
            <a:custGeom>
              <a:avLst/>
              <a:gdLst>
                <a:gd name="T0" fmla="*/ 7231 w 8517"/>
                <a:gd name="T1" fmla="*/ 2632 h 7729"/>
                <a:gd name="T2" fmla="*/ 5932 w 8517"/>
                <a:gd name="T3" fmla="*/ 1311 h 7729"/>
                <a:gd name="T4" fmla="*/ 4661 w 8517"/>
                <a:gd name="T5" fmla="*/ 0 h 7729"/>
                <a:gd name="T6" fmla="*/ 2630 w 8517"/>
                <a:gd name="T7" fmla="*/ 1317 h 7729"/>
                <a:gd name="T8" fmla="*/ 941 w 8517"/>
                <a:gd name="T9" fmla="*/ 2243 h 7729"/>
                <a:gd name="T10" fmla="*/ 480 w 8517"/>
                <a:gd name="T11" fmla="*/ 3397 h 7729"/>
                <a:gd name="T12" fmla="*/ 1042 w 8517"/>
                <a:gd name="T13" fmla="*/ 5238 h 7729"/>
                <a:gd name="T14" fmla="*/ 1532 w 8517"/>
                <a:gd name="T15" fmla="*/ 7555 h 7729"/>
                <a:gd name="T16" fmla="*/ 2332 w 8517"/>
                <a:gd name="T17" fmla="*/ 6226 h 7729"/>
                <a:gd name="T18" fmla="*/ 2776 w 8517"/>
                <a:gd name="T19" fmla="*/ 7229 h 7729"/>
                <a:gd name="T20" fmla="*/ 3633 w 8517"/>
                <a:gd name="T21" fmla="*/ 7233 h 7729"/>
                <a:gd name="T22" fmla="*/ 4081 w 8517"/>
                <a:gd name="T23" fmla="*/ 6226 h 7729"/>
                <a:gd name="T24" fmla="*/ 4546 w 8517"/>
                <a:gd name="T25" fmla="*/ 7605 h 7729"/>
                <a:gd name="T26" fmla="*/ 4747 w 8517"/>
                <a:gd name="T27" fmla="*/ 6576 h 7729"/>
                <a:gd name="T28" fmla="*/ 5191 w 8517"/>
                <a:gd name="T29" fmla="*/ 7198 h 7729"/>
                <a:gd name="T30" fmla="*/ 5661 w 8517"/>
                <a:gd name="T31" fmla="*/ 7610 h 7729"/>
                <a:gd name="T32" fmla="*/ 6076 w 8517"/>
                <a:gd name="T33" fmla="*/ 6435 h 7729"/>
                <a:gd name="T34" fmla="*/ 6658 w 8517"/>
                <a:gd name="T35" fmla="*/ 7599 h 7729"/>
                <a:gd name="T36" fmla="*/ 7540 w 8517"/>
                <a:gd name="T37" fmla="*/ 6322 h 7729"/>
                <a:gd name="T38" fmla="*/ 8029 w 8517"/>
                <a:gd name="T39" fmla="*/ 5179 h 7729"/>
                <a:gd name="T40" fmla="*/ 3016 w 8517"/>
                <a:gd name="T41" fmla="*/ 3937 h 7729"/>
                <a:gd name="T42" fmla="*/ 3475 w 8517"/>
                <a:gd name="T43" fmla="*/ 3641 h 7729"/>
                <a:gd name="T44" fmla="*/ 3784 w 8517"/>
                <a:gd name="T45" fmla="*/ 4446 h 7729"/>
                <a:gd name="T46" fmla="*/ 2750 w 8517"/>
                <a:gd name="T47" fmla="*/ 5038 h 7729"/>
                <a:gd name="T48" fmla="*/ 2972 w 8517"/>
                <a:gd name="T49" fmla="*/ 5611 h 7729"/>
                <a:gd name="T50" fmla="*/ 3491 w 8517"/>
                <a:gd name="T51" fmla="*/ 5842 h 7729"/>
                <a:gd name="T52" fmla="*/ 3403 w 8517"/>
                <a:gd name="T53" fmla="*/ 7111 h 7729"/>
                <a:gd name="T54" fmla="*/ 5141 w 8517"/>
                <a:gd name="T55" fmla="*/ 4717 h 7729"/>
                <a:gd name="T56" fmla="*/ 6031 w 8517"/>
                <a:gd name="T57" fmla="*/ 4794 h 7729"/>
                <a:gd name="T58" fmla="*/ 5944 w 8517"/>
                <a:gd name="T59" fmla="*/ 5500 h 7729"/>
                <a:gd name="T60" fmla="*/ 5141 w 8517"/>
                <a:gd name="T61" fmla="*/ 4998 h 7729"/>
                <a:gd name="T62" fmla="*/ 5586 w 8517"/>
                <a:gd name="T63" fmla="*/ 5937 h 7729"/>
                <a:gd name="T64" fmla="*/ 5577 w 8517"/>
                <a:gd name="T65" fmla="*/ 7340 h 7729"/>
                <a:gd name="T66" fmla="*/ 8268 w 8517"/>
                <a:gd name="T67" fmla="*/ 4661 h 7729"/>
                <a:gd name="T68" fmla="*/ 7017 w 8517"/>
                <a:gd name="T69" fmla="*/ 6095 h 7729"/>
                <a:gd name="T70" fmla="*/ 6368 w 8517"/>
                <a:gd name="T71" fmla="*/ 6270 h 7729"/>
                <a:gd name="T72" fmla="*/ 6011 w 8517"/>
                <a:gd name="T73" fmla="*/ 6049 h 7729"/>
                <a:gd name="T74" fmla="*/ 6281 w 8517"/>
                <a:gd name="T75" fmla="*/ 4967 h 7729"/>
                <a:gd name="T76" fmla="*/ 4891 w 8517"/>
                <a:gd name="T77" fmla="*/ 4636 h 7729"/>
                <a:gd name="T78" fmla="*/ 5169 w 8517"/>
                <a:gd name="T79" fmla="*/ 5756 h 7729"/>
                <a:gd name="T80" fmla="*/ 4635 w 8517"/>
                <a:gd name="T81" fmla="*/ 6351 h 7729"/>
                <a:gd name="T82" fmla="*/ 3690 w 8517"/>
                <a:gd name="T83" fmla="*/ 5313 h 7729"/>
                <a:gd name="T84" fmla="*/ 4033 w 8517"/>
                <a:gd name="T85" fmla="*/ 3950 h 7729"/>
                <a:gd name="T86" fmla="*/ 2380 w 8517"/>
                <a:gd name="T87" fmla="*/ 4301 h 7729"/>
                <a:gd name="T88" fmla="*/ 2625 w 8517"/>
                <a:gd name="T89" fmla="*/ 5835 h 7729"/>
                <a:gd name="T90" fmla="*/ 1181 w 8517"/>
                <a:gd name="T91" fmla="*/ 6850 h 7729"/>
                <a:gd name="T92" fmla="*/ 1021 w 8517"/>
                <a:gd name="T93" fmla="*/ 4962 h 7729"/>
                <a:gd name="T94" fmla="*/ 1010 w 8517"/>
                <a:gd name="T95" fmla="*/ 3607 h 7729"/>
                <a:gd name="T96" fmla="*/ 1140 w 8517"/>
                <a:gd name="T97" fmla="*/ 1708 h 7729"/>
                <a:gd name="T98" fmla="*/ 3399 w 8517"/>
                <a:gd name="T99" fmla="*/ 1266 h 7729"/>
                <a:gd name="T100" fmla="*/ 4930 w 8517"/>
                <a:gd name="T101" fmla="*/ 503 h 7729"/>
                <a:gd name="T102" fmla="*/ 6484 w 8517"/>
                <a:gd name="T103" fmla="*/ 1167 h 7729"/>
                <a:gd name="T104" fmla="*/ 7006 w 8517"/>
                <a:gd name="T105" fmla="*/ 2795 h 7729"/>
                <a:gd name="T106" fmla="*/ 8268 w 8517"/>
                <a:gd name="T107" fmla="*/ 4661 h 7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17" h="7729">
                  <a:moveTo>
                    <a:pt x="8037" y="3397"/>
                  </a:moveTo>
                  <a:lnTo>
                    <a:pt x="7526" y="3358"/>
                  </a:lnTo>
                  <a:cubicBezTo>
                    <a:pt x="7509" y="3357"/>
                    <a:pt x="7495" y="3346"/>
                    <a:pt x="7491" y="3330"/>
                  </a:cubicBezTo>
                  <a:cubicBezTo>
                    <a:pt x="7426" y="3105"/>
                    <a:pt x="7337" y="2885"/>
                    <a:pt x="7226" y="2677"/>
                  </a:cubicBezTo>
                  <a:cubicBezTo>
                    <a:pt x="7218" y="2663"/>
                    <a:pt x="7220" y="2645"/>
                    <a:pt x="7231" y="2632"/>
                  </a:cubicBezTo>
                  <a:lnTo>
                    <a:pt x="7576" y="2243"/>
                  </a:lnTo>
                  <a:cubicBezTo>
                    <a:pt x="7757" y="2038"/>
                    <a:pt x="7748" y="1726"/>
                    <a:pt x="7554" y="1532"/>
                  </a:cubicBezTo>
                  <a:lnTo>
                    <a:pt x="7027" y="1004"/>
                  </a:lnTo>
                  <a:cubicBezTo>
                    <a:pt x="6836" y="814"/>
                    <a:pt x="6526" y="802"/>
                    <a:pt x="6321" y="977"/>
                  </a:cubicBezTo>
                  <a:lnTo>
                    <a:pt x="5932" y="1311"/>
                  </a:lnTo>
                  <a:cubicBezTo>
                    <a:pt x="5920" y="1322"/>
                    <a:pt x="5901" y="1324"/>
                    <a:pt x="5887" y="1316"/>
                  </a:cubicBezTo>
                  <a:cubicBezTo>
                    <a:pt x="5682" y="1202"/>
                    <a:pt x="5463" y="1110"/>
                    <a:pt x="5238" y="1042"/>
                  </a:cubicBezTo>
                  <a:cubicBezTo>
                    <a:pt x="5223" y="1037"/>
                    <a:pt x="5212" y="1022"/>
                    <a:pt x="5211" y="1006"/>
                  </a:cubicBezTo>
                  <a:lnTo>
                    <a:pt x="5179" y="488"/>
                  </a:lnTo>
                  <a:cubicBezTo>
                    <a:pt x="5162" y="214"/>
                    <a:pt x="4935" y="0"/>
                    <a:pt x="4661" y="0"/>
                  </a:cubicBezTo>
                  <a:lnTo>
                    <a:pt x="3915" y="0"/>
                  </a:lnTo>
                  <a:cubicBezTo>
                    <a:pt x="3645" y="0"/>
                    <a:pt x="3418" y="211"/>
                    <a:pt x="3397" y="480"/>
                  </a:cubicBezTo>
                  <a:lnTo>
                    <a:pt x="3358" y="991"/>
                  </a:lnTo>
                  <a:cubicBezTo>
                    <a:pt x="3357" y="1008"/>
                    <a:pt x="3346" y="1022"/>
                    <a:pt x="3330" y="1026"/>
                  </a:cubicBezTo>
                  <a:cubicBezTo>
                    <a:pt x="3087" y="1096"/>
                    <a:pt x="2851" y="1194"/>
                    <a:pt x="2630" y="1317"/>
                  </a:cubicBezTo>
                  <a:cubicBezTo>
                    <a:pt x="2616" y="1324"/>
                    <a:pt x="2598" y="1322"/>
                    <a:pt x="2585" y="1311"/>
                  </a:cubicBezTo>
                  <a:lnTo>
                    <a:pt x="2196" y="977"/>
                  </a:lnTo>
                  <a:cubicBezTo>
                    <a:pt x="1991" y="802"/>
                    <a:pt x="1682" y="814"/>
                    <a:pt x="1491" y="1004"/>
                  </a:cubicBezTo>
                  <a:lnTo>
                    <a:pt x="963" y="1532"/>
                  </a:lnTo>
                  <a:cubicBezTo>
                    <a:pt x="769" y="1726"/>
                    <a:pt x="760" y="2038"/>
                    <a:pt x="941" y="2243"/>
                  </a:cubicBezTo>
                  <a:lnTo>
                    <a:pt x="1286" y="2632"/>
                  </a:lnTo>
                  <a:cubicBezTo>
                    <a:pt x="1297" y="2645"/>
                    <a:pt x="1299" y="2663"/>
                    <a:pt x="1292" y="2677"/>
                  </a:cubicBezTo>
                  <a:cubicBezTo>
                    <a:pt x="1180" y="2885"/>
                    <a:pt x="1091" y="3105"/>
                    <a:pt x="1027" y="3330"/>
                  </a:cubicBezTo>
                  <a:cubicBezTo>
                    <a:pt x="1022" y="3346"/>
                    <a:pt x="1008" y="3357"/>
                    <a:pt x="991" y="3358"/>
                  </a:cubicBezTo>
                  <a:lnTo>
                    <a:pt x="480" y="3397"/>
                  </a:lnTo>
                  <a:cubicBezTo>
                    <a:pt x="211" y="3418"/>
                    <a:pt x="0" y="3645"/>
                    <a:pt x="0" y="3915"/>
                  </a:cubicBezTo>
                  <a:lnTo>
                    <a:pt x="0" y="4661"/>
                  </a:lnTo>
                  <a:cubicBezTo>
                    <a:pt x="0" y="4935"/>
                    <a:pt x="215" y="5163"/>
                    <a:pt x="488" y="5179"/>
                  </a:cubicBezTo>
                  <a:lnTo>
                    <a:pt x="1006" y="5211"/>
                  </a:lnTo>
                  <a:cubicBezTo>
                    <a:pt x="1023" y="5212"/>
                    <a:pt x="1037" y="5223"/>
                    <a:pt x="1042" y="5238"/>
                  </a:cubicBezTo>
                  <a:cubicBezTo>
                    <a:pt x="1110" y="5463"/>
                    <a:pt x="1203" y="5682"/>
                    <a:pt x="1316" y="5887"/>
                  </a:cubicBezTo>
                  <a:cubicBezTo>
                    <a:pt x="1324" y="5902"/>
                    <a:pt x="1322" y="5920"/>
                    <a:pt x="1311" y="5932"/>
                  </a:cubicBezTo>
                  <a:lnTo>
                    <a:pt x="977" y="6322"/>
                  </a:lnTo>
                  <a:cubicBezTo>
                    <a:pt x="802" y="6526"/>
                    <a:pt x="814" y="6836"/>
                    <a:pt x="1004" y="7027"/>
                  </a:cubicBezTo>
                  <a:lnTo>
                    <a:pt x="1532" y="7555"/>
                  </a:lnTo>
                  <a:cubicBezTo>
                    <a:pt x="1579" y="7602"/>
                    <a:pt x="1634" y="7639"/>
                    <a:pt x="1695" y="7665"/>
                  </a:cubicBezTo>
                  <a:cubicBezTo>
                    <a:pt x="1758" y="7692"/>
                    <a:pt x="1831" y="7663"/>
                    <a:pt x="1858" y="7599"/>
                  </a:cubicBezTo>
                  <a:cubicBezTo>
                    <a:pt x="1868" y="7576"/>
                    <a:pt x="1871" y="7552"/>
                    <a:pt x="1867" y="7529"/>
                  </a:cubicBezTo>
                  <a:lnTo>
                    <a:pt x="1867" y="6875"/>
                  </a:lnTo>
                  <a:cubicBezTo>
                    <a:pt x="1867" y="6580"/>
                    <a:pt x="2054" y="6319"/>
                    <a:pt x="2332" y="6226"/>
                  </a:cubicBezTo>
                  <a:lnTo>
                    <a:pt x="2594" y="6137"/>
                  </a:lnTo>
                  <a:cubicBezTo>
                    <a:pt x="2645" y="6121"/>
                    <a:pt x="2692" y="6097"/>
                    <a:pt x="2735" y="6067"/>
                  </a:cubicBezTo>
                  <a:cubicBezTo>
                    <a:pt x="2830" y="6096"/>
                    <a:pt x="2928" y="6116"/>
                    <a:pt x="3027" y="6126"/>
                  </a:cubicBezTo>
                  <a:lnTo>
                    <a:pt x="2749" y="7111"/>
                  </a:lnTo>
                  <a:cubicBezTo>
                    <a:pt x="2737" y="7152"/>
                    <a:pt x="2747" y="7197"/>
                    <a:pt x="2776" y="7229"/>
                  </a:cubicBezTo>
                  <a:lnTo>
                    <a:pt x="3097" y="7586"/>
                  </a:lnTo>
                  <a:cubicBezTo>
                    <a:pt x="3120" y="7612"/>
                    <a:pt x="3152" y="7627"/>
                    <a:pt x="3186" y="7628"/>
                  </a:cubicBezTo>
                  <a:lnTo>
                    <a:pt x="3190" y="7628"/>
                  </a:lnTo>
                  <a:cubicBezTo>
                    <a:pt x="3223" y="7628"/>
                    <a:pt x="3255" y="7615"/>
                    <a:pt x="3278" y="7591"/>
                  </a:cubicBezTo>
                  <a:lnTo>
                    <a:pt x="3633" y="7233"/>
                  </a:lnTo>
                  <a:cubicBezTo>
                    <a:pt x="3666" y="7200"/>
                    <a:pt x="3677" y="7152"/>
                    <a:pt x="3664" y="7108"/>
                  </a:cubicBezTo>
                  <a:lnTo>
                    <a:pt x="3355" y="6122"/>
                  </a:lnTo>
                  <a:cubicBezTo>
                    <a:pt x="3458" y="6109"/>
                    <a:pt x="3560" y="6086"/>
                    <a:pt x="3658" y="6052"/>
                  </a:cubicBezTo>
                  <a:cubicBezTo>
                    <a:pt x="3707" y="6089"/>
                    <a:pt x="3761" y="6118"/>
                    <a:pt x="3819" y="6137"/>
                  </a:cubicBezTo>
                  <a:lnTo>
                    <a:pt x="4081" y="6226"/>
                  </a:lnTo>
                  <a:cubicBezTo>
                    <a:pt x="4259" y="6286"/>
                    <a:pt x="4406" y="6418"/>
                    <a:pt x="4484" y="6589"/>
                  </a:cubicBezTo>
                  <a:cubicBezTo>
                    <a:pt x="4524" y="6676"/>
                    <a:pt x="4545" y="6768"/>
                    <a:pt x="4546" y="6862"/>
                  </a:cubicBezTo>
                  <a:cubicBezTo>
                    <a:pt x="4546" y="6865"/>
                    <a:pt x="4546" y="6867"/>
                    <a:pt x="4546" y="6869"/>
                  </a:cubicBezTo>
                  <a:cubicBezTo>
                    <a:pt x="4546" y="6871"/>
                    <a:pt x="4546" y="6873"/>
                    <a:pt x="4546" y="6875"/>
                  </a:cubicBezTo>
                  <a:lnTo>
                    <a:pt x="4546" y="7605"/>
                  </a:lnTo>
                  <a:cubicBezTo>
                    <a:pt x="4546" y="7673"/>
                    <a:pt x="4602" y="7729"/>
                    <a:pt x="4671" y="7729"/>
                  </a:cubicBezTo>
                  <a:cubicBezTo>
                    <a:pt x="4740" y="7729"/>
                    <a:pt x="4796" y="7673"/>
                    <a:pt x="4796" y="7605"/>
                  </a:cubicBezTo>
                  <a:lnTo>
                    <a:pt x="4796" y="6875"/>
                  </a:lnTo>
                  <a:cubicBezTo>
                    <a:pt x="4796" y="6868"/>
                    <a:pt x="4796" y="6862"/>
                    <a:pt x="4796" y="6856"/>
                  </a:cubicBezTo>
                  <a:cubicBezTo>
                    <a:pt x="4794" y="6760"/>
                    <a:pt x="4777" y="6666"/>
                    <a:pt x="4747" y="6576"/>
                  </a:cubicBezTo>
                  <a:cubicBezTo>
                    <a:pt x="4788" y="6547"/>
                    <a:pt x="4834" y="6523"/>
                    <a:pt x="4883" y="6507"/>
                  </a:cubicBezTo>
                  <a:lnTo>
                    <a:pt x="5096" y="6435"/>
                  </a:lnTo>
                  <a:cubicBezTo>
                    <a:pt x="5136" y="6422"/>
                    <a:pt x="5173" y="6404"/>
                    <a:pt x="5207" y="6381"/>
                  </a:cubicBezTo>
                  <a:cubicBezTo>
                    <a:pt x="5274" y="6401"/>
                    <a:pt x="5341" y="6415"/>
                    <a:pt x="5410" y="6424"/>
                  </a:cubicBezTo>
                  <a:lnTo>
                    <a:pt x="5191" y="7198"/>
                  </a:lnTo>
                  <a:cubicBezTo>
                    <a:pt x="5180" y="7239"/>
                    <a:pt x="5190" y="7283"/>
                    <a:pt x="5218" y="7315"/>
                  </a:cubicBezTo>
                  <a:lnTo>
                    <a:pt x="5479" y="7606"/>
                  </a:lnTo>
                  <a:cubicBezTo>
                    <a:pt x="5502" y="7631"/>
                    <a:pt x="5535" y="7646"/>
                    <a:pt x="5569" y="7647"/>
                  </a:cubicBezTo>
                  <a:cubicBezTo>
                    <a:pt x="5570" y="7647"/>
                    <a:pt x="5571" y="7647"/>
                    <a:pt x="5572" y="7647"/>
                  </a:cubicBezTo>
                  <a:cubicBezTo>
                    <a:pt x="5605" y="7647"/>
                    <a:pt x="5637" y="7634"/>
                    <a:pt x="5661" y="7610"/>
                  </a:cubicBezTo>
                  <a:lnTo>
                    <a:pt x="5949" y="7319"/>
                  </a:lnTo>
                  <a:cubicBezTo>
                    <a:pt x="5982" y="7286"/>
                    <a:pt x="5993" y="7238"/>
                    <a:pt x="5979" y="7194"/>
                  </a:cubicBezTo>
                  <a:lnTo>
                    <a:pt x="5737" y="6420"/>
                  </a:lnTo>
                  <a:cubicBezTo>
                    <a:pt x="5809" y="6409"/>
                    <a:pt x="5879" y="6393"/>
                    <a:pt x="5949" y="6369"/>
                  </a:cubicBezTo>
                  <a:cubicBezTo>
                    <a:pt x="5987" y="6398"/>
                    <a:pt x="6030" y="6420"/>
                    <a:pt x="6076" y="6435"/>
                  </a:cubicBezTo>
                  <a:lnTo>
                    <a:pt x="6288" y="6507"/>
                  </a:lnTo>
                  <a:cubicBezTo>
                    <a:pt x="6505" y="6580"/>
                    <a:pt x="6651" y="6783"/>
                    <a:pt x="6651" y="7012"/>
                  </a:cubicBezTo>
                  <a:lnTo>
                    <a:pt x="6651" y="7522"/>
                  </a:lnTo>
                  <a:cubicBezTo>
                    <a:pt x="6651" y="7523"/>
                    <a:pt x="6651" y="7523"/>
                    <a:pt x="6651" y="7524"/>
                  </a:cubicBezTo>
                  <a:cubicBezTo>
                    <a:pt x="6645" y="7548"/>
                    <a:pt x="6647" y="7574"/>
                    <a:pt x="6658" y="7599"/>
                  </a:cubicBezTo>
                  <a:cubicBezTo>
                    <a:pt x="6678" y="7647"/>
                    <a:pt x="6724" y="7675"/>
                    <a:pt x="6773" y="7675"/>
                  </a:cubicBezTo>
                  <a:cubicBezTo>
                    <a:pt x="6789" y="7675"/>
                    <a:pt x="6805" y="7672"/>
                    <a:pt x="6821" y="7665"/>
                  </a:cubicBezTo>
                  <a:cubicBezTo>
                    <a:pt x="6883" y="7639"/>
                    <a:pt x="6938" y="7602"/>
                    <a:pt x="6985" y="7555"/>
                  </a:cubicBezTo>
                  <a:lnTo>
                    <a:pt x="7513" y="7027"/>
                  </a:lnTo>
                  <a:cubicBezTo>
                    <a:pt x="7704" y="6836"/>
                    <a:pt x="7716" y="6526"/>
                    <a:pt x="7540" y="6322"/>
                  </a:cubicBezTo>
                  <a:lnTo>
                    <a:pt x="7206" y="5932"/>
                  </a:lnTo>
                  <a:cubicBezTo>
                    <a:pt x="7195" y="5920"/>
                    <a:pt x="7193" y="5902"/>
                    <a:pt x="7201" y="5887"/>
                  </a:cubicBezTo>
                  <a:cubicBezTo>
                    <a:pt x="7315" y="5682"/>
                    <a:pt x="7407" y="5463"/>
                    <a:pt x="7476" y="5238"/>
                  </a:cubicBezTo>
                  <a:cubicBezTo>
                    <a:pt x="7480" y="5223"/>
                    <a:pt x="7495" y="5212"/>
                    <a:pt x="7512" y="5211"/>
                  </a:cubicBezTo>
                  <a:lnTo>
                    <a:pt x="8029" y="5179"/>
                  </a:lnTo>
                  <a:cubicBezTo>
                    <a:pt x="8303" y="5163"/>
                    <a:pt x="8517" y="4935"/>
                    <a:pt x="8517" y="4661"/>
                  </a:cubicBezTo>
                  <a:lnTo>
                    <a:pt x="8517" y="3915"/>
                  </a:lnTo>
                  <a:cubicBezTo>
                    <a:pt x="8517" y="3645"/>
                    <a:pt x="8306" y="3418"/>
                    <a:pt x="8037" y="3397"/>
                  </a:cubicBezTo>
                  <a:close/>
                  <a:moveTo>
                    <a:pt x="3784" y="4184"/>
                  </a:moveTo>
                  <a:lnTo>
                    <a:pt x="3016" y="3937"/>
                  </a:lnTo>
                  <a:cubicBezTo>
                    <a:pt x="2984" y="3927"/>
                    <a:pt x="2949" y="3930"/>
                    <a:pt x="2920" y="3945"/>
                  </a:cubicBezTo>
                  <a:lnTo>
                    <a:pt x="2629" y="4097"/>
                  </a:lnTo>
                  <a:lnTo>
                    <a:pt x="2629" y="3950"/>
                  </a:lnTo>
                  <a:cubicBezTo>
                    <a:pt x="2629" y="3780"/>
                    <a:pt x="2768" y="3641"/>
                    <a:pt x="2938" y="3641"/>
                  </a:cubicBezTo>
                  <a:lnTo>
                    <a:pt x="3475" y="3641"/>
                  </a:lnTo>
                  <a:cubicBezTo>
                    <a:pt x="3645" y="3641"/>
                    <a:pt x="3784" y="3780"/>
                    <a:pt x="3784" y="3950"/>
                  </a:cubicBezTo>
                  <a:lnTo>
                    <a:pt x="3784" y="4184"/>
                  </a:lnTo>
                  <a:close/>
                  <a:moveTo>
                    <a:pt x="2629" y="4378"/>
                  </a:moveTo>
                  <a:lnTo>
                    <a:pt x="2989" y="4190"/>
                  </a:lnTo>
                  <a:lnTo>
                    <a:pt x="3784" y="4446"/>
                  </a:lnTo>
                  <a:lnTo>
                    <a:pt x="3784" y="4822"/>
                  </a:lnTo>
                  <a:cubicBezTo>
                    <a:pt x="3784" y="4910"/>
                    <a:pt x="3737" y="4992"/>
                    <a:pt x="3663" y="5038"/>
                  </a:cubicBezTo>
                  <a:lnTo>
                    <a:pt x="3337" y="5236"/>
                  </a:lnTo>
                  <a:cubicBezTo>
                    <a:pt x="3257" y="5285"/>
                    <a:pt x="3156" y="5285"/>
                    <a:pt x="3076" y="5236"/>
                  </a:cubicBezTo>
                  <a:lnTo>
                    <a:pt x="2750" y="5038"/>
                  </a:lnTo>
                  <a:cubicBezTo>
                    <a:pt x="2676" y="4992"/>
                    <a:pt x="2629" y="4910"/>
                    <a:pt x="2629" y="4822"/>
                  </a:cubicBezTo>
                  <a:lnTo>
                    <a:pt x="2629" y="4378"/>
                  </a:lnTo>
                  <a:close/>
                  <a:moveTo>
                    <a:pt x="3201" y="5884"/>
                  </a:moveTo>
                  <a:cubicBezTo>
                    <a:pt x="3104" y="5886"/>
                    <a:pt x="3009" y="5876"/>
                    <a:pt x="2915" y="5856"/>
                  </a:cubicBezTo>
                  <a:cubicBezTo>
                    <a:pt x="2952" y="5781"/>
                    <a:pt x="2972" y="5697"/>
                    <a:pt x="2972" y="5611"/>
                  </a:cubicBezTo>
                  <a:lnTo>
                    <a:pt x="2972" y="5464"/>
                  </a:lnTo>
                  <a:cubicBezTo>
                    <a:pt x="3046" y="5503"/>
                    <a:pt x="3126" y="5523"/>
                    <a:pt x="3206" y="5523"/>
                  </a:cubicBezTo>
                  <a:cubicBezTo>
                    <a:pt x="3287" y="5523"/>
                    <a:pt x="3367" y="5503"/>
                    <a:pt x="3441" y="5464"/>
                  </a:cubicBezTo>
                  <a:lnTo>
                    <a:pt x="3441" y="5611"/>
                  </a:lnTo>
                  <a:cubicBezTo>
                    <a:pt x="3441" y="5692"/>
                    <a:pt x="3458" y="5771"/>
                    <a:pt x="3491" y="5842"/>
                  </a:cubicBezTo>
                  <a:cubicBezTo>
                    <a:pt x="3396" y="5867"/>
                    <a:pt x="3299" y="5881"/>
                    <a:pt x="3201" y="5884"/>
                  </a:cubicBezTo>
                  <a:close/>
                  <a:moveTo>
                    <a:pt x="3194" y="7321"/>
                  </a:moveTo>
                  <a:lnTo>
                    <a:pt x="3007" y="7113"/>
                  </a:lnTo>
                  <a:lnTo>
                    <a:pt x="3196" y="6448"/>
                  </a:lnTo>
                  <a:lnTo>
                    <a:pt x="3403" y="7111"/>
                  </a:lnTo>
                  <a:lnTo>
                    <a:pt x="3194" y="7321"/>
                  </a:lnTo>
                  <a:close/>
                  <a:moveTo>
                    <a:pt x="6031" y="4794"/>
                  </a:moveTo>
                  <a:lnTo>
                    <a:pt x="5438" y="4603"/>
                  </a:lnTo>
                  <a:cubicBezTo>
                    <a:pt x="5406" y="4593"/>
                    <a:pt x="5372" y="4596"/>
                    <a:pt x="5342" y="4611"/>
                  </a:cubicBezTo>
                  <a:lnTo>
                    <a:pt x="5141" y="4717"/>
                  </a:lnTo>
                  <a:lnTo>
                    <a:pt x="5141" y="4636"/>
                  </a:lnTo>
                  <a:cubicBezTo>
                    <a:pt x="5141" y="4511"/>
                    <a:pt x="5242" y="4408"/>
                    <a:pt x="5368" y="4408"/>
                  </a:cubicBezTo>
                  <a:lnTo>
                    <a:pt x="5804" y="4408"/>
                  </a:lnTo>
                  <a:cubicBezTo>
                    <a:pt x="5929" y="4408"/>
                    <a:pt x="6031" y="4511"/>
                    <a:pt x="6031" y="4636"/>
                  </a:cubicBezTo>
                  <a:lnTo>
                    <a:pt x="6031" y="4794"/>
                  </a:lnTo>
                  <a:close/>
                  <a:moveTo>
                    <a:pt x="5141" y="4998"/>
                  </a:moveTo>
                  <a:lnTo>
                    <a:pt x="5411" y="4857"/>
                  </a:lnTo>
                  <a:lnTo>
                    <a:pt x="6031" y="5056"/>
                  </a:lnTo>
                  <a:lnTo>
                    <a:pt x="6031" y="5345"/>
                  </a:lnTo>
                  <a:cubicBezTo>
                    <a:pt x="6031" y="5408"/>
                    <a:pt x="5998" y="5467"/>
                    <a:pt x="5944" y="5500"/>
                  </a:cubicBezTo>
                  <a:lnTo>
                    <a:pt x="5680" y="5661"/>
                  </a:lnTo>
                  <a:cubicBezTo>
                    <a:pt x="5622" y="5696"/>
                    <a:pt x="5550" y="5696"/>
                    <a:pt x="5492" y="5661"/>
                  </a:cubicBezTo>
                  <a:lnTo>
                    <a:pt x="5227" y="5500"/>
                  </a:lnTo>
                  <a:cubicBezTo>
                    <a:pt x="5174" y="5467"/>
                    <a:pt x="5141" y="5408"/>
                    <a:pt x="5141" y="5345"/>
                  </a:cubicBezTo>
                  <a:lnTo>
                    <a:pt x="5141" y="4998"/>
                  </a:lnTo>
                  <a:close/>
                  <a:moveTo>
                    <a:pt x="5581" y="6183"/>
                  </a:moveTo>
                  <a:cubicBezTo>
                    <a:pt x="5514" y="6185"/>
                    <a:pt x="5448" y="6179"/>
                    <a:pt x="5382" y="6167"/>
                  </a:cubicBezTo>
                  <a:cubicBezTo>
                    <a:pt x="5406" y="6110"/>
                    <a:pt x="5419" y="6048"/>
                    <a:pt x="5419" y="5985"/>
                  </a:cubicBezTo>
                  <a:lnTo>
                    <a:pt x="5419" y="5903"/>
                  </a:lnTo>
                  <a:cubicBezTo>
                    <a:pt x="5472" y="5926"/>
                    <a:pt x="5529" y="5937"/>
                    <a:pt x="5586" y="5937"/>
                  </a:cubicBezTo>
                  <a:cubicBezTo>
                    <a:pt x="5643" y="5937"/>
                    <a:pt x="5699" y="5926"/>
                    <a:pt x="5753" y="5903"/>
                  </a:cubicBezTo>
                  <a:lnTo>
                    <a:pt x="5753" y="5985"/>
                  </a:lnTo>
                  <a:cubicBezTo>
                    <a:pt x="5753" y="6045"/>
                    <a:pt x="5764" y="6103"/>
                    <a:pt x="5785" y="6157"/>
                  </a:cubicBezTo>
                  <a:cubicBezTo>
                    <a:pt x="5718" y="6173"/>
                    <a:pt x="5650" y="6182"/>
                    <a:pt x="5581" y="6183"/>
                  </a:cubicBezTo>
                  <a:close/>
                  <a:moveTo>
                    <a:pt x="5577" y="7340"/>
                  </a:moveTo>
                  <a:lnTo>
                    <a:pt x="5450" y="7199"/>
                  </a:lnTo>
                  <a:lnTo>
                    <a:pt x="5578" y="6747"/>
                  </a:lnTo>
                  <a:lnTo>
                    <a:pt x="5719" y="7197"/>
                  </a:lnTo>
                  <a:lnTo>
                    <a:pt x="5577" y="7340"/>
                  </a:lnTo>
                  <a:close/>
                  <a:moveTo>
                    <a:pt x="8268" y="4661"/>
                  </a:moveTo>
                  <a:cubicBezTo>
                    <a:pt x="8268" y="4803"/>
                    <a:pt x="8156" y="4922"/>
                    <a:pt x="8014" y="4930"/>
                  </a:cubicBezTo>
                  <a:lnTo>
                    <a:pt x="7496" y="4962"/>
                  </a:lnTo>
                  <a:cubicBezTo>
                    <a:pt x="7376" y="4969"/>
                    <a:pt x="7272" y="5051"/>
                    <a:pt x="7237" y="5166"/>
                  </a:cubicBezTo>
                  <a:cubicBezTo>
                    <a:pt x="7174" y="5374"/>
                    <a:pt x="7088" y="5576"/>
                    <a:pt x="6983" y="5766"/>
                  </a:cubicBezTo>
                  <a:cubicBezTo>
                    <a:pt x="6924" y="5871"/>
                    <a:pt x="6938" y="6003"/>
                    <a:pt x="7017" y="6095"/>
                  </a:cubicBezTo>
                  <a:lnTo>
                    <a:pt x="7351" y="6484"/>
                  </a:lnTo>
                  <a:cubicBezTo>
                    <a:pt x="7442" y="6591"/>
                    <a:pt x="7436" y="6751"/>
                    <a:pt x="7337" y="6850"/>
                  </a:cubicBezTo>
                  <a:lnTo>
                    <a:pt x="6900" y="7287"/>
                  </a:lnTo>
                  <a:lnTo>
                    <a:pt x="6900" y="7012"/>
                  </a:lnTo>
                  <a:cubicBezTo>
                    <a:pt x="6900" y="6675"/>
                    <a:pt x="6686" y="6377"/>
                    <a:pt x="6368" y="6270"/>
                  </a:cubicBezTo>
                  <a:lnTo>
                    <a:pt x="6200" y="6214"/>
                  </a:lnTo>
                  <a:cubicBezTo>
                    <a:pt x="6685" y="5731"/>
                    <a:pt x="6979" y="5080"/>
                    <a:pt x="7013" y="4402"/>
                  </a:cubicBezTo>
                  <a:cubicBezTo>
                    <a:pt x="7017" y="4333"/>
                    <a:pt x="6964" y="4275"/>
                    <a:pt x="6895" y="4271"/>
                  </a:cubicBezTo>
                  <a:cubicBezTo>
                    <a:pt x="6826" y="4268"/>
                    <a:pt x="6768" y="4321"/>
                    <a:pt x="6764" y="4390"/>
                  </a:cubicBezTo>
                  <a:cubicBezTo>
                    <a:pt x="6733" y="5012"/>
                    <a:pt x="6460" y="5609"/>
                    <a:pt x="6011" y="6049"/>
                  </a:cubicBezTo>
                  <a:cubicBezTo>
                    <a:pt x="6005" y="6029"/>
                    <a:pt x="6002" y="6007"/>
                    <a:pt x="6002" y="5985"/>
                  </a:cubicBezTo>
                  <a:lnTo>
                    <a:pt x="6002" y="5756"/>
                  </a:lnTo>
                  <a:lnTo>
                    <a:pt x="6074" y="5713"/>
                  </a:lnTo>
                  <a:cubicBezTo>
                    <a:pt x="6202" y="5635"/>
                    <a:pt x="6281" y="5494"/>
                    <a:pt x="6281" y="5345"/>
                  </a:cubicBezTo>
                  <a:lnTo>
                    <a:pt x="6281" y="4967"/>
                  </a:lnTo>
                  <a:lnTo>
                    <a:pt x="6281" y="4966"/>
                  </a:lnTo>
                  <a:lnTo>
                    <a:pt x="6281" y="4636"/>
                  </a:lnTo>
                  <a:cubicBezTo>
                    <a:pt x="6281" y="4373"/>
                    <a:pt x="6067" y="4159"/>
                    <a:pt x="5804" y="4159"/>
                  </a:cubicBezTo>
                  <a:lnTo>
                    <a:pt x="5368" y="4159"/>
                  </a:lnTo>
                  <a:cubicBezTo>
                    <a:pt x="5105" y="4159"/>
                    <a:pt x="4891" y="4373"/>
                    <a:pt x="4891" y="4636"/>
                  </a:cubicBezTo>
                  <a:lnTo>
                    <a:pt x="4891" y="4920"/>
                  </a:lnTo>
                  <a:lnTo>
                    <a:pt x="4891" y="4921"/>
                  </a:lnTo>
                  <a:lnTo>
                    <a:pt x="4891" y="5345"/>
                  </a:lnTo>
                  <a:cubicBezTo>
                    <a:pt x="4891" y="5494"/>
                    <a:pt x="4970" y="5635"/>
                    <a:pt x="5097" y="5713"/>
                  </a:cubicBezTo>
                  <a:lnTo>
                    <a:pt x="5169" y="5756"/>
                  </a:lnTo>
                  <a:lnTo>
                    <a:pt x="5169" y="5985"/>
                  </a:lnTo>
                  <a:cubicBezTo>
                    <a:pt x="5169" y="6048"/>
                    <a:pt x="5143" y="6108"/>
                    <a:pt x="5098" y="6150"/>
                  </a:cubicBezTo>
                  <a:cubicBezTo>
                    <a:pt x="5074" y="6172"/>
                    <a:pt x="5047" y="6188"/>
                    <a:pt x="5017" y="6199"/>
                  </a:cubicBezTo>
                  <a:lnTo>
                    <a:pt x="4804" y="6270"/>
                  </a:lnTo>
                  <a:cubicBezTo>
                    <a:pt x="4744" y="6291"/>
                    <a:pt x="4687" y="6318"/>
                    <a:pt x="4635" y="6351"/>
                  </a:cubicBezTo>
                  <a:cubicBezTo>
                    <a:pt x="4521" y="6183"/>
                    <a:pt x="4354" y="6054"/>
                    <a:pt x="4160" y="5989"/>
                  </a:cubicBezTo>
                  <a:lnTo>
                    <a:pt x="3898" y="5901"/>
                  </a:lnTo>
                  <a:cubicBezTo>
                    <a:pt x="3851" y="5885"/>
                    <a:pt x="3810" y="5859"/>
                    <a:pt x="3775" y="5823"/>
                  </a:cubicBezTo>
                  <a:cubicBezTo>
                    <a:pt x="3720" y="5766"/>
                    <a:pt x="3690" y="5690"/>
                    <a:pt x="3690" y="5611"/>
                  </a:cubicBezTo>
                  <a:lnTo>
                    <a:pt x="3690" y="5313"/>
                  </a:lnTo>
                  <a:lnTo>
                    <a:pt x="3793" y="5251"/>
                  </a:lnTo>
                  <a:cubicBezTo>
                    <a:pt x="3941" y="5160"/>
                    <a:pt x="4033" y="4996"/>
                    <a:pt x="4033" y="4822"/>
                  </a:cubicBezTo>
                  <a:lnTo>
                    <a:pt x="4033" y="4357"/>
                  </a:lnTo>
                  <a:lnTo>
                    <a:pt x="4033" y="4356"/>
                  </a:lnTo>
                  <a:lnTo>
                    <a:pt x="4033" y="3950"/>
                  </a:lnTo>
                  <a:cubicBezTo>
                    <a:pt x="4033" y="3642"/>
                    <a:pt x="3783" y="3391"/>
                    <a:pt x="3475" y="3391"/>
                  </a:cubicBezTo>
                  <a:lnTo>
                    <a:pt x="2938" y="3391"/>
                  </a:lnTo>
                  <a:cubicBezTo>
                    <a:pt x="2630" y="3391"/>
                    <a:pt x="2380" y="3642"/>
                    <a:pt x="2380" y="3950"/>
                  </a:cubicBezTo>
                  <a:lnTo>
                    <a:pt x="2380" y="4301"/>
                  </a:lnTo>
                  <a:lnTo>
                    <a:pt x="2380" y="4301"/>
                  </a:lnTo>
                  <a:lnTo>
                    <a:pt x="2380" y="4822"/>
                  </a:lnTo>
                  <a:cubicBezTo>
                    <a:pt x="2380" y="4996"/>
                    <a:pt x="2472" y="5160"/>
                    <a:pt x="2620" y="5251"/>
                  </a:cubicBezTo>
                  <a:lnTo>
                    <a:pt x="2723" y="5313"/>
                  </a:lnTo>
                  <a:lnTo>
                    <a:pt x="2723" y="5611"/>
                  </a:lnTo>
                  <a:cubicBezTo>
                    <a:pt x="2723" y="5696"/>
                    <a:pt x="2687" y="5778"/>
                    <a:pt x="2625" y="5835"/>
                  </a:cubicBezTo>
                  <a:cubicBezTo>
                    <a:pt x="2593" y="5865"/>
                    <a:pt x="2556" y="5887"/>
                    <a:pt x="2515" y="5901"/>
                  </a:cubicBezTo>
                  <a:lnTo>
                    <a:pt x="2253" y="5989"/>
                  </a:lnTo>
                  <a:cubicBezTo>
                    <a:pt x="1873" y="6117"/>
                    <a:pt x="1617" y="6473"/>
                    <a:pt x="1617" y="6875"/>
                  </a:cubicBezTo>
                  <a:lnTo>
                    <a:pt x="1617" y="7287"/>
                  </a:lnTo>
                  <a:lnTo>
                    <a:pt x="1181" y="6850"/>
                  </a:lnTo>
                  <a:cubicBezTo>
                    <a:pt x="1082" y="6751"/>
                    <a:pt x="1076" y="6591"/>
                    <a:pt x="1167" y="6484"/>
                  </a:cubicBezTo>
                  <a:lnTo>
                    <a:pt x="1501" y="6095"/>
                  </a:lnTo>
                  <a:cubicBezTo>
                    <a:pt x="1579" y="6003"/>
                    <a:pt x="1593" y="5871"/>
                    <a:pt x="1535" y="5766"/>
                  </a:cubicBezTo>
                  <a:cubicBezTo>
                    <a:pt x="1429" y="5576"/>
                    <a:pt x="1344" y="5374"/>
                    <a:pt x="1280" y="5166"/>
                  </a:cubicBezTo>
                  <a:cubicBezTo>
                    <a:pt x="1246" y="5051"/>
                    <a:pt x="1141" y="4969"/>
                    <a:pt x="1021" y="4962"/>
                  </a:cubicBezTo>
                  <a:lnTo>
                    <a:pt x="503" y="4930"/>
                  </a:lnTo>
                  <a:cubicBezTo>
                    <a:pt x="361" y="4922"/>
                    <a:pt x="250" y="4803"/>
                    <a:pt x="250" y="4661"/>
                  </a:cubicBezTo>
                  <a:lnTo>
                    <a:pt x="250" y="3915"/>
                  </a:lnTo>
                  <a:cubicBezTo>
                    <a:pt x="250" y="3775"/>
                    <a:pt x="359" y="3657"/>
                    <a:pt x="499" y="3646"/>
                  </a:cubicBezTo>
                  <a:lnTo>
                    <a:pt x="1010" y="3607"/>
                  </a:lnTo>
                  <a:cubicBezTo>
                    <a:pt x="1130" y="3598"/>
                    <a:pt x="1233" y="3514"/>
                    <a:pt x="1266" y="3399"/>
                  </a:cubicBezTo>
                  <a:cubicBezTo>
                    <a:pt x="1326" y="3190"/>
                    <a:pt x="1409" y="2987"/>
                    <a:pt x="1512" y="2795"/>
                  </a:cubicBezTo>
                  <a:cubicBezTo>
                    <a:pt x="1568" y="2689"/>
                    <a:pt x="1553" y="2557"/>
                    <a:pt x="1473" y="2467"/>
                  </a:cubicBezTo>
                  <a:lnTo>
                    <a:pt x="1128" y="2078"/>
                  </a:lnTo>
                  <a:cubicBezTo>
                    <a:pt x="1034" y="1971"/>
                    <a:pt x="1039" y="1809"/>
                    <a:pt x="1140" y="1708"/>
                  </a:cubicBezTo>
                  <a:lnTo>
                    <a:pt x="1667" y="1181"/>
                  </a:lnTo>
                  <a:cubicBezTo>
                    <a:pt x="1766" y="1082"/>
                    <a:pt x="1927" y="1075"/>
                    <a:pt x="2033" y="1167"/>
                  </a:cubicBezTo>
                  <a:lnTo>
                    <a:pt x="2423" y="1501"/>
                  </a:lnTo>
                  <a:cubicBezTo>
                    <a:pt x="2514" y="1579"/>
                    <a:pt x="2646" y="1593"/>
                    <a:pt x="2751" y="1535"/>
                  </a:cubicBezTo>
                  <a:cubicBezTo>
                    <a:pt x="2956" y="1421"/>
                    <a:pt x="3174" y="1331"/>
                    <a:pt x="3399" y="1266"/>
                  </a:cubicBezTo>
                  <a:cubicBezTo>
                    <a:pt x="3514" y="1233"/>
                    <a:pt x="3598" y="1130"/>
                    <a:pt x="3607" y="1010"/>
                  </a:cubicBezTo>
                  <a:lnTo>
                    <a:pt x="3646" y="499"/>
                  </a:lnTo>
                  <a:cubicBezTo>
                    <a:pt x="3657" y="359"/>
                    <a:pt x="3775" y="250"/>
                    <a:pt x="3915" y="250"/>
                  </a:cubicBezTo>
                  <a:lnTo>
                    <a:pt x="4661" y="250"/>
                  </a:lnTo>
                  <a:cubicBezTo>
                    <a:pt x="4803" y="250"/>
                    <a:pt x="4921" y="361"/>
                    <a:pt x="4930" y="503"/>
                  </a:cubicBezTo>
                  <a:lnTo>
                    <a:pt x="4962" y="1021"/>
                  </a:lnTo>
                  <a:cubicBezTo>
                    <a:pt x="4969" y="1141"/>
                    <a:pt x="5051" y="1245"/>
                    <a:pt x="5166" y="1280"/>
                  </a:cubicBezTo>
                  <a:cubicBezTo>
                    <a:pt x="5374" y="1344"/>
                    <a:pt x="5576" y="1429"/>
                    <a:pt x="5766" y="1535"/>
                  </a:cubicBezTo>
                  <a:cubicBezTo>
                    <a:pt x="5871" y="1593"/>
                    <a:pt x="6003" y="1579"/>
                    <a:pt x="6095" y="1501"/>
                  </a:cubicBezTo>
                  <a:lnTo>
                    <a:pt x="6484" y="1167"/>
                  </a:lnTo>
                  <a:cubicBezTo>
                    <a:pt x="6590" y="1076"/>
                    <a:pt x="6751" y="1082"/>
                    <a:pt x="6850" y="1181"/>
                  </a:cubicBezTo>
                  <a:lnTo>
                    <a:pt x="7378" y="1708"/>
                  </a:lnTo>
                  <a:cubicBezTo>
                    <a:pt x="7478" y="1809"/>
                    <a:pt x="7483" y="1971"/>
                    <a:pt x="7389" y="2078"/>
                  </a:cubicBezTo>
                  <a:lnTo>
                    <a:pt x="7045" y="2467"/>
                  </a:lnTo>
                  <a:cubicBezTo>
                    <a:pt x="6965" y="2557"/>
                    <a:pt x="6949" y="2689"/>
                    <a:pt x="7006" y="2795"/>
                  </a:cubicBezTo>
                  <a:cubicBezTo>
                    <a:pt x="7109" y="2987"/>
                    <a:pt x="7191" y="3190"/>
                    <a:pt x="7251" y="3399"/>
                  </a:cubicBezTo>
                  <a:cubicBezTo>
                    <a:pt x="7284" y="3514"/>
                    <a:pt x="7387" y="3598"/>
                    <a:pt x="7507" y="3607"/>
                  </a:cubicBezTo>
                  <a:lnTo>
                    <a:pt x="8018" y="3646"/>
                  </a:lnTo>
                  <a:cubicBezTo>
                    <a:pt x="8158" y="3657"/>
                    <a:pt x="8268" y="3775"/>
                    <a:pt x="8268" y="3915"/>
                  </a:cubicBezTo>
                  <a:lnTo>
                    <a:pt x="8268" y="4661"/>
                  </a:lnTo>
                  <a:close/>
                  <a:moveTo>
                    <a:pt x="8268" y="4661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0">
              <a:extLst>
                <a:ext uri="{FF2B5EF4-FFF2-40B4-BE49-F238E27FC236}">
                  <a16:creationId xmlns:a16="http://schemas.microsoft.com/office/drawing/2014/main" id="{DA75BA41-69D4-4121-BE78-64B38EA428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7" y="987"/>
              <a:ext cx="2648" cy="2103"/>
            </a:xfrm>
            <a:custGeom>
              <a:avLst/>
              <a:gdLst>
                <a:gd name="T0" fmla="*/ 2641 w 5517"/>
                <a:gd name="T1" fmla="*/ 71 h 4381"/>
                <a:gd name="T2" fmla="*/ 837 w 5517"/>
                <a:gd name="T3" fmla="*/ 877 h 4381"/>
                <a:gd name="T4" fmla="*/ 30 w 5517"/>
                <a:gd name="T5" fmla="*/ 2682 h 4381"/>
                <a:gd name="T6" fmla="*/ 468 w 5517"/>
                <a:gd name="T7" fmla="*/ 4324 h 4381"/>
                <a:gd name="T8" fmla="*/ 573 w 5517"/>
                <a:gd name="T9" fmla="*/ 4381 h 4381"/>
                <a:gd name="T10" fmla="*/ 641 w 5517"/>
                <a:gd name="T11" fmla="*/ 4361 h 4381"/>
                <a:gd name="T12" fmla="*/ 678 w 5517"/>
                <a:gd name="T13" fmla="*/ 4188 h 4381"/>
                <a:gd name="T14" fmla="*/ 279 w 5517"/>
                <a:gd name="T15" fmla="*/ 2695 h 4381"/>
                <a:gd name="T16" fmla="*/ 1013 w 5517"/>
                <a:gd name="T17" fmla="*/ 1054 h 4381"/>
                <a:gd name="T18" fmla="*/ 2654 w 5517"/>
                <a:gd name="T19" fmla="*/ 320 h 4381"/>
                <a:gd name="T20" fmla="*/ 5260 w 5517"/>
                <a:gd name="T21" fmla="*/ 2412 h 4381"/>
                <a:gd name="T22" fmla="*/ 5403 w 5517"/>
                <a:gd name="T23" fmla="*/ 2515 h 4381"/>
                <a:gd name="T24" fmla="*/ 5506 w 5517"/>
                <a:gd name="T25" fmla="*/ 2372 h 4381"/>
                <a:gd name="T26" fmla="*/ 2641 w 5517"/>
                <a:gd name="T27" fmla="*/ 71 h 4381"/>
                <a:gd name="T28" fmla="*/ 2641 w 5517"/>
                <a:gd name="T29" fmla="*/ 71 h 4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17" h="4381">
                  <a:moveTo>
                    <a:pt x="2641" y="71"/>
                  </a:moveTo>
                  <a:cubicBezTo>
                    <a:pt x="1963" y="105"/>
                    <a:pt x="1322" y="392"/>
                    <a:pt x="837" y="877"/>
                  </a:cubicBezTo>
                  <a:cubicBezTo>
                    <a:pt x="351" y="1363"/>
                    <a:pt x="64" y="2004"/>
                    <a:pt x="30" y="2682"/>
                  </a:cubicBezTo>
                  <a:cubicBezTo>
                    <a:pt x="0" y="3268"/>
                    <a:pt x="152" y="3836"/>
                    <a:pt x="468" y="4324"/>
                  </a:cubicBezTo>
                  <a:cubicBezTo>
                    <a:pt x="492" y="4361"/>
                    <a:pt x="532" y="4381"/>
                    <a:pt x="573" y="4381"/>
                  </a:cubicBezTo>
                  <a:cubicBezTo>
                    <a:pt x="596" y="4381"/>
                    <a:pt x="620" y="4374"/>
                    <a:pt x="641" y="4361"/>
                  </a:cubicBezTo>
                  <a:cubicBezTo>
                    <a:pt x="699" y="4323"/>
                    <a:pt x="715" y="4246"/>
                    <a:pt x="678" y="4188"/>
                  </a:cubicBezTo>
                  <a:cubicBezTo>
                    <a:pt x="390" y="3744"/>
                    <a:pt x="252" y="3228"/>
                    <a:pt x="279" y="2695"/>
                  </a:cubicBezTo>
                  <a:cubicBezTo>
                    <a:pt x="310" y="2079"/>
                    <a:pt x="571" y="1496"/>
                    <a:pt x="1013" y="1054"/>
                  </a:cubicBezTo>
                  <a:cubicBezTo>
                    <a:pt x="1455" y="612"/>
                    <a:pt x="2038" y="351"/>
                    <a:pt x="2654" y="320"/>
                  </a:cubicBezTo>
                  <a:cubicBezTo>
                    <a:pt x="3932" y="255"/>
                    <a:pt x="5051" y="1155"/>
                    <a:pt x="5260" y="2412"/>
                  </a:cubicBezTo>
                  <a:cubicBezTo>
                    <a:pt x="5271" y="2480"/>
                    <a:pt x="5335" y="2526"/>
                    <a:pt x="5403" y="2515"/>
                  </a:cubicBezTo>
                  <a:cubicBezTo>
                    <a:pt x="5471" y="2504"/>
                    <a:pt x="5517" y="2440"/>
                    <a:pt x="5506" y="2372"/>
                  </a:cubicBezTo>
                  <a:cubicBezTo>
                    <a:pt x="5277" y="989"/>
                    <a:pt x="4045" y="0"/>
                    <a:pt x="2641" y="71"/>
                  </a:cubicBezTo>
                  <a:close/>
                  <a:moveTo>
                    <a:pt x="2641" y="71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7" name="object 15">
            <a:extLst>
              <a:ext uri="{FF2B5EF4-FFF2-40B4-BE49-F238E27FC236}">
                <a16:creationId xmlns:a16="http://schemas.microsoft.com/office/drawing/2014/main" id="{627BAC4D-F082-484B-A823-6D77CEF4CC92}"/>
              </a:ext>
            </a:extLst>
          </p:cNvPr>
          <p:cNvSpPr txBox="1"/>
          <p:nvPr/>
        </p:nvSpPr>
        <p:spPr>
          <a:xfrm>
            <a:off x="4470241" y="2119292"/>
            <a:ext cx="7366103" cy="2310529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300"/>
              </a:spcAft>
            </a:pP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Мониторинг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предмети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иллий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орижий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АВ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шу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умлад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урналлар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газеталар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Интернет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рмоғи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ошқ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ммавий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хборот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оситалари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чоп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этилади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ашр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влат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рганлар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у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ркибий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инмалар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/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ёк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улар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одимлари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ндай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оқонуний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атти-ҳаракатлар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шу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умлад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лоқадорлиг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ўғрисидаг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ълумотлар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л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учу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: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</a:rPr>
              <a:t>Kun.uz: </a:t>
            </a: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  <a:hlinkClick r:id="rId2"/>
              </a:rPr>
              <a:t>https://kun.uz/ru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endParaRPr lang="en-US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533400" indent="-26670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</a:rPr>
              <a:t>Газета.uz: </a:t>
            </a: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  <a:hlinkClick r:id="rId3"/>
              </a:rPr>
              <a:t>https://www.gazeta.uz/ru/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</a:p>
          <a:p>
            <a:pPr marL="533400" indent="-26670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</a:rPr>
              <a:t>CNN International: </a:t>
            </a: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  <a:hlinkClick r:id="rId4"/>
              </a:rPr>
              <a:t>https://edition.cnn.com/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endParaRPr lang="en-US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533400" indent="-26670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</a:rPr>
              <a:t>The Guardian: </a:t>
            </a: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  <a:hlinkClick r:id="rId5"/>
              </a:rPr>
              <a:t>https://www.theguardian.com/international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endParaRPr lang="en-US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533400" indent="-26670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</a:rPr>
              <a:t>The New York Times: </a:t>
            </a: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  <a:hlinkClick r:id="rId6"/>
              </a:rPr>
              <a:t>https://www.nytimes.com/section/world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endParaRPr lang="en-US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28" name="object 12">
            <a:extLst>
              <a:ext uri="{FF2B5EF4-FFF2-40B4-BE49-F238E27FC236}">
                <a16:creationId xmlns:a16="http://schemas.microsoft.com/office/drawing/2014/main" id="{91D7EE7E-6562-407E-B928-874CAAE20F15}"/>
              </a:ext>
            </a:extLst>
          </p:cNvPr>
          <p:cNvSpPr/>
          <p:nvPr/>
        </p:nvSpPr>
        <p:spPr>
          <a:xfrm>
            <a:off x="3655082" y="207111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29" name="Group 1419">
            <a:extLst>
              <a:ext uri="{FF2B5EF4-FFF2-40B4-BE49-F238E27FC236}">
                <a16:creationId xmlns:a16="http://schemas.microsoft.com/office/drawing/2014/main" id="{C0F1124F-AB4F-4BED-B9D1-422FB6FD4E6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42500" y="2209297"/>
            <a:ext cx="598963" cy="414400"/>
            <a:chOff x="1472" y="2215"/>
            <a:chExt cx="172" cy="119"/>
          </a:xfrm>
          <a:solidFill>
            <a:schemeClr val="bg2">
              <a:lumMod val="25000"/>
            </a:schemeClr>
          </a:solidFill>
        </p:grpSpPr>
        <p:sp>
          <p:nvSpPr>
            <p:cNvPr id="30" name="Freeform 1420">
              <a:extLst>
                <a:ext uri="{FF2B5EF4-FFF2-40B4-BE49-F238E27FC236}">
                  <a16:creationId xmlns:a16="http://schemas.microsoft.com/office/drawing/2014/main" id="{AB079CF8-0DA2-41CA-A614-7E080C8A88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72" y="2215"/>
              <a:ext cx="172" cy="119"/>
            </a:xfrm>
            <a:custGeom>
              <a:avLst/>
              <a:gdLst>
                <a:gd name="T0" fmla="*/ 5246 w 6400"/>
                <a:gd name="T1" fmla="*/ 652 h 4424"/>
                <a:gd name="T2" fmla="*/ 4295 w 6400"/>
                <a:gd name="T3" fmla="*/ 209 h 4424"/>
                <a:gd name="T4" fmla="*/ 3922 w 6400"/>
                <a:gd name="T5" fmla="*/ 0 h 4424"/>
                <a:gd name="T6" fmla="*/ 3483 w 6400"/>
                <a:gd name="T7" fmla="*/ 1205 h 4424"/>
                <a:gd name="T8" fmla="*/ 2917 w 6400"/>
                <a:gd name="T9" fmla="*/ 438 h 4424"/>
                <a:gd name="T10" fmla="*/ 2105 w 6400"/>
                <a:gd name="T11" fmla="*/ 209 h 4424"/>
                <a:gd name="T12" fmla="*/ 1154 w 6400"/>
                <a:gd name="T13" fmla="*/ 652 h 4424"/>
                <a:gd name="T14" fmla="*/ 1005 w 6400"/>
                <a:gd name="T15" fmla="*/ 1110 h 4424"/>
                <a:gd name="T16" fmla="*/ 1336 w 6400"/>
                <a:gd name="T17" fmla="*/ 764 h 4424"/>
                <a:gd name="T18" fmla="*/ 2703 w 6400"/>
                <a:gd name="T19" fmla="*/ 1150 h 4424"/>
                <a:gd name="T20" fmla="*/ 2703 w 6400"/>
                <a:gd name="T21" fmla="*/ 2206 h 4424"/>
                <a:gd name="T22" fmla="*/ 798 w 6400"/>
                <a:gd name="T23" fmla="*/ 1666 h 4424"/>
                <a:gd name="T24" fmla="*/ 920 w 6400"/>
                <a:gd name="T25" fmla="*/ 1253 h 4424"/>
                <a:gd name="T26" fmla="*/ 142 w 6400"/>
                <a:gd name="T27" fmla="*/ 2339 h 4424"/>
                <a:gd name="T28" fmla="*/ 1458 w 6400"/>
                <a:gd name="T29" fmla="*/ 4424 h 4424"/>
                <a:gd name="T30" fmla="*/ 2917 w 6400"/>
                <a:gd name="T31" fmla="*/ 2681 h 4424"/>
                <a:gd name="T32" fmla="*/ 3483 w 6400"/>
                <a:gd name="T33" fmla="*/ 2966 h 4424"/>
                <a:gd name="T34" fmla="*/ 6400 w 6400"/>
                <a:gd name="T35" fmla="*/ 2966 h 4424"/>
                <a:gd name="T36" fmla="*/ 2703 w 6400"/>
                <a:gd name="T37" fmla="*/ 550 h 4424"/>
                <a:gd name="T38" fmla="*/ 2478 w 6400"/>
                <a:gd name="T39" fmla="*/ 214 h 4424"/>
                <a:gd name="T40" fmla="*/ 2703 w 6400"/>
                <a:gd name="T41" fmla="*/ 550 h 4424"/>
                <a:gd name="T42" fmla="*/ 214 w 6400"/>
                <a:gd name="T43" fmla="*/ 2966 h 4424"/>
                <a:gd name="T44" fmla="*/ 2703 w 6400"/>
                <a:gd name="T45" fmla="*/ 2966 h 4424"/>
                <a:gd name="T46" fmla="*/ 2917 w 6400"/>
                <a:gd name="T47" fmla="*/ 2056 h 4424"/>
                <a:gd name="T48" fmla="*/ 3483 w 6400"/>
                <a:gd name="T49" fmla="*/ 1419 h 4424"/>
                <a:gd name="T50" fmla="*/ 2917 w 6400"/>
                <a:gd name="T51" fmla="*/ 2056 h 4424"/>
                <a:gd name="T52" fmla="*/ 2917 w 6400"/>
                <a:gd name="T53" fmla="*/ 2467 h 4424"/>
                <a:gd name="T54" fmla="*/ 3483 w 6400"/>
                <a:gd name="T55" fmla="*/ 2270 h 4424"/>
                <a:gd name="T56" fmla="*/ 3697 w 6400"/>
                <a:gd name="T57" fmla="*/ 438 h 4424"/>
                <a:gd name="T58" fmla="*/ 4071 w 6400"/>
                <a:gd name="T59" fmla="*/ 271 h 4424"/>
                <a:gd name="T60" fmla="*/ 3697 w 6400"/>
                <a:gd name="T61" fmla="*/ 438 h 4424"/>
                <a:gd name="T62" fmla="*/ 3697 w 6400"/>
                <a:gd name="T63" fmla="*/ 1150 h 4424"/>
                <a:gd name="T64" fmla="*/ 5064 w 6400"/>
                <a:gd name="T65" fmla="*/ 764 h 4424"/>
                <a:gd name="T66" fmla="*/ 4942 w 6400"/>
                <a:gd name="T67" fmla="*/ 1508 h 4424"/>
                <a:gd name="T68" fmla="*/ 3697 w 6400"/>
                <a:gd name="T69" fmla="*/ 1150 h 4424"/>
                <a:gd name="T70" fmla="*/ 3697 w 6400"/>
                <a:gd name="T71" fmla="*/ 2966 h 4424"/>
                <a:gd name="T72" fmla="*/ 6186 w 6400"/>
                <a:gd name="T73" fmla="*/ 2966 h 4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400" h="4424">
                  <a:moveTo>
                    <a:pt x="6250" y="2323"/>
                  </a:moveTo>
                  <a:cubicBezTo>
                    <a:pt x="6207" y="2234"/>
                    <a:pt x="5270" y="690"/>
                    <a:pt x="5246" y="652"/>
                  </a:cubicBezTo>
                  <a:cubicBezTo>
                    <a:pt x="5071" y="368"/>
                    <a:pt x="4768" y="198"/>
                    <a:pt x="4435" y="198"/>
                  </a:cubicBezTo>
                  <a:cubicBezTo>
                    <a:pt x="4388" y="198"/>
                    <a:pt x="4341" y="202"/>
                    <a:pt x="4295" y="209"/>
                  </a:cubicBezTo>
                  <a:cubicBezTo>
                    <a:pt x="4295" y="209"/>
                    <a:pt x="4295" y="208"/>
                    <a:pt x="4295" y="208"/>
                  </a:cubicBezTo>
                  <a:cubicBezTo>
                    <a:pt x="4215" y="78"/>
                    <a:pt x="4075" y="0"/>
                    <a:pt x="3922" y="0"/>
                  </a:cubicBezTo>
                  <a:cubicBezTo>
                    <a:pt x="3680" y="0"/>
                    <a:pt x="3483" y="196"/>
                    <a:pt x="3483" y="438"/>
                  </a:cubicBezTo>
                  <a:lnTo>
                    <a:pt x="3483" y="1205"/>
                  </a:lnTo>
                  <a:lnTo>
                    <a:pt x="2917" y="1205"/>
                  </a:lnTo>
                  <a:lnTo>
                    <a:pt x="2917" y="438"/>
                  </a:lnTo>
                  <a:cubicBezTo>
                    <a:pt x="2917" y="196"/>
                    <a:pt x="2720" y="0"/>
                    <a:pt x="2478" y="0"/>
                  </a:cubicBezTo>
                  <a:cubicBezTo>
                    <a:pt x="2325" y="0"/>
                    <a:pt x="2186" y="77"/>
                    <a:pt x="2105" y="209"/>
                  </a:cubicBezTo>
                  <a:cubicBezTo>
                    <a:pt x="2059" y="202"/>
                    <a:pt x="2012" y="198"/>
                    <a:pt x="1965" y="198"/>
                  </a:cubicBezTo>
                  <a:cubicBezTo>
                    <a:pt x="1632" y="198"/>
                    <a:pt x="1329" y="368"/>
                    <a:pt x="1154" y="652"/>
                  </a:cubicBezTo>
                  <a:cubicBezTo>
                    <a:pt x="1152" y="655"/>
                    <a:pt x="1144" y="667"/>
                    <a:pt x="968" y="963"/>
                  </a:cubicBezTo>
                  <a:cubicBezTo>
                    <a:pt x="938" y="1014"/>
                    <a:pt x="954" y="1079"/>
                    <a:pt x="1005" y="1110"/>
                  </a:cubicBezTo>
                  <a:cubicBezTo>
                    <a:pt x="1056" y="1140"/>
                    <a:pt x="1122" y="1123"/>
                    <a:pt x="1152" y="1073"/>
                  </a:cubicBezTo>
                  <a:cubicBezTo>
                    <a:pt x="1297" y="829"/>
                    <a:pt x="1332" y="771"/>
                    <a:pt x="1336" y="764"/>
                  </a:cubicBezTo>
                  <a:cubicBezTo>
                    <a:pt x="1472" y="544"/>
                    <a:pt x="1707" y="413"/>
                    <a:pt x="1965" y="413"/>
                  </a:cubicBezTo>
                  <a:cubicBezTo>
                    <a:pt x="2372" y="413"/>
                    <a:pt x="2703" y="743"/>
                    <a:pt x="2703" y="1150"/>
                  </a:cubicBezTo>
                  <a:lnTo>
                    <a:pt x="2703" y="1150"/>
                  </a:lnTo>
                  <a:lnTo>
                    <a:pt x="2703" y="2206"/>
                  </a:lnTo>
                  <a:cubicBezTo>
                    <a:pt x="2446" y="1787"/>
                    <a:pt x="1984" y="1508"/>
                    <a:pt x="1458" y="1508"/>
                  </a:cubicBezTo>
                  <a:cubicBezTo>
                    <a:pt x="1221" y="1508"/>
                    <a:pt x="997" y="1565"/>
                    <a:pt x="798" y="1666"/>
                  </a:cubicBezTo>
                  <a:cubicBezTo>
                    <a:pt x="849" y="1580"/>
                    <a:pt x="903" y="1490"/>
                    <a:pt x="957" y="1399"/>
                  </a:cubicBezTo>
                  <a:cubicBezTo>
                    <a:pt x="987" y="1349"/>
                    <a:pt x="971" y="1283"/>
                    <a:pt x="920" y="1253"/>
                  </a:cubicBezTo>
                  <a:cubicBezTo>
                    <a:pt x="869" y="1222"/>
                    <a:pt x="803" y="1239"/>
                    <a:pt x="773" y="1290"/>
                  </a:cubicBezTo>
                  <a:cubicBezTo>
                    <a:pt x="545" y="1671"/>
                    <a:pt x="187" y="2244"/>
                    <a:pt x="142" y="2339"/>
                  </a:cubicBezTo>
                  <a:cubicBezTo>
                    <a:pt x="51" y="2529"/>
                    <a:pt x="0" y="2742"/>
                    <a:pt x="0" y="2966"/>
                  </a:cubicBezTo>
                  <a:cubicBezTo>
                    <a:pt x="0" y="3770"/>
                    <a:pt x="654" y="4424"/>
                    <a:pt x="1458" y="4424"/>
                  </a:cubicBezTo>
                  <a:cubicBezTo>
                    <a:pt x="2263" y="4424"/>
                    <a:pt x="2917" y="3770"/>
                    <a:pt x="2917" y="2966"/>
                  </a:cubicBezTo>
                  <a:lnTo>
                    <a:pt x="2917" y="2681"/>
                  </a:lnTo>
                  <a:lnTo>
                    <a:pt x="3483" y="2681"/>
                  </a:lnTo>
                  <a:lnTo>
                    <a:pt x="3483" y="2966"/>
                  </a:lnTo>
                  <a:cubicBezTo>
                    <a:pt x="3483" y="3770"/>
                    <a:pt x="4137" y="4424"/>
                    <a:pt x="4942" y="4424"/>
                  </a:cubicBezTo>
                  <a:cubicBezTo>
                    <a:pt x="5746" y="4424"/>
                    <a:pt x="6400" y="3770"/>
                    <a:pt x="6400" y="2966"/>
                  </a:cubicBezTo>
                  <a:cubicBezTo>
                    <a:pt x="6400" y="2735"/>
                    <a:pt x="6346" y="2517"/>
                    <a:pt x="6250" y="2323"/>
                  </a:cubicBezTo>
                  <a:close/>
                  <a:moveTo>
                    <a:pt x="2703" y="550"/>
                  </a:moveTo>
                  <a:cubicBezTo>
                    <a:pt x="2604" y="428"/>
                    <a:pt x="2476" y="332"/>
                    <a:pt x="2329" y="271"/>
                  </a:cubicBezTo>
                  <a:cubicBezTo>
                    <a:pt x="2369" y="234"/>
                    <a:pt x="2422" y="214"/>
                    <a:pt x="2478" y="214"/>
                  </a:cubicBezTo>
                  <a:cubicBezTo>
                    <a:pt x="2602" y="214"/>
                    <a:pt x="2703" y="314"/>
                    <a:pt x="2703" y="438"/>
                  </a:cubicBezTo>
                  <a:lnTo>
                    <a:pt x="2703" y="550"/>
                  </a:lnTo>
                  <a:close/>
                  <a:moveTo>
                    <a:pt x="1458" y="4210"/>
                  </a:moveTo>
                  <a:cubicBezTo>
                    <a:pt x="772" y="4210"/>
                    <a:pt x="214" y="3652"/>
                    <a:pt x="214" y="2966"/>
                  </a:cubicBezTo>
                  <a:cubicBezTo>
                    <a:pt x="214" y="2280"/>
                    <a:pt x="772" y="1722"/>
                    <a:pt x="1458" y="1722"/>
                  </a:cubicBezTo>
                  <a:cubicBezTo>
                    <a:pt x="2144" y="1722"/>
                    <a:pt x="2703" y="2280"/>
                    <a:pt x="2703" y="2966"/>
                  </a:cubicBezTo>
                  <a:cubicBezTo>
                    <a:pt x="2703" y="3652"/>
                    <a:pt x="2144" y="4210"/>
                    <a:pt x="1458" y="4210"/>
                  </a:cubicBezTo>
                  <a:close/>
                  <a:moveTo>
                    <a:pt x="2917" y="2056"/>
                  </a:moveTo>
                  <a:lnTo>
                    <a:pt x="2917" y="1419"/>
                  </a:lnTo>
                  <a:lnTo>
                    <a:pt x="3483" y="1419"/>
                  </a:lnTo>
                  <a:lnTo>
                    <a:pt x="3483" y="2056"/>
                  </a:lnTo>
                  <a:lnTo>
                    <a:pt x="2917" y="2056"/>
                  </a:lnTo>
                  <a:close/>
                  <a:moveTo>
                    <a:pt x="3483" y="2467"/>
                  </a:moveTo>
                  <a:lnTo>
                    <a:pt x="2917" y="2467"/>
                  </a:lnTo>
                  <a:lnTo>
                    <a:pt x="2917" y="2270"/>
                  </a:lnTo>
                  <a:lnTo>
                    <a:pt x="3483" y="2270"/>
                  </a:lnTo>
                  <a:lnTo>
                    <a:pt x="3483" y="2467"/>
                  </a:lnTo>
                  <a:close/>
                  <a:moveTo>
                    <a:pt x="3697" y="438"/>
                  </a:moveTo>
                  <a:cubicBezTo>
                    <a:pt x="3697" y="314"/>
                    <a:pt x="3798" y="214"/>
                    <a:pt x="3922" y="214"/>
                  </a:cubicBezTo>
                  <a:cubicBezTo>
                    <a:pt x="3978" y="214"/>
                    <a:pt x="4031" y="235"/>
                    <a:pt x="4071" y="271"/>
                  </a:cubicBezTo>
                  <a:cubicBezTo>
                    <a:pt x="3925" y="332"/>
                    <a:pt x="3796" y="428"/>
                    <a:pt x="3697" y="550"/>
                  </a:cubicBezTo>
                  <a:lnTo>
                    <a:pt x="3697" y="438"/>
                  </a:lnTo>
                  <a:close/>
                  <a:moveTo>
                    <a:pt x="3697" y="1150"/>
                  </a:moveTo>
                  <a:lnTo>
                    <a:pt x="3697" y="1150"/>
                  </a:lnTo>
                  <a:cubicBezTo>
                    <a:pt x="3697" y="743"/>
                    <a:pt x="4028" y="413"/>
                    <a:pt x="4435" y="413"/>
                  </a:cubicBezTo>
                  <a:cubicBezTo>
                    <a:pt x="4693" y="413"/>
                    <a:pt x="4928" y="544"/>
                    <a:pt x="5064" y="764"/>
                  </a:cubicBezTo>
                  <a:cubicBezTo>
                    <a:pt x="5077" y="785"/>
                    <a:pt x="5344" y="1234"/>
                    <a:pt x="5602" y="1666"/>
                  </a:cubicBezTo>
                  <a:cubicBezTo>
                    <a:pt x="5403" y="1565"/>
                    <a:pt x="5179" y="1508"/>
                    <a:pt x="4942" y="1508"/>
                  </a:cubicBezTo>
                  <a:cubicBezTo>
                    <a:pt x="4416" y="1508"/>
                    <a:pt x="3954" y="1787"/>
                    <a:pt x="3697" y="2206"/>
                  </a:cubicBezTo>
                  <a:lnTo>
                    <a:pt x="3697" y="1150"/>
                  </a:lnTo>
                  <a:close/>
                  <a:moveTo>
                    <a:pt x="4942" y="4210"/>
                  </a:moveTo>
                  <a:cubicBezTo>
                    <a:pt x="4256" y="4210"/>
                    <a:pt x="3697" y="3652"/>
                    <a:pt x="3697" y="2966"/>
                  </a:cubicBezTo>
                  <a:cubicBezTo>
                    <a:pt x="3697" y="2280"/>
                    <a:pt x="4256" y="1722"/>
                    <a:pt x="4942" y="1722"/>
                  </a:cubicBezTo>
                  <a:cubicBezTo>
                    <a:pt x="5628" y="1722"/>
                    <a:pt x="6186" y="2280"/>
                    <a:pt x="6186" y="2966"/>
                  </a:cubicBezTo>
                  <a:cubicBezTo>
                    <a:pt x="6186" y="3652"/>
                    <a:pt x="5628" y="4210"/>
                    <a:pt x="4942" y="421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421">
              <a:extLst>
                <a:ext uri="{FF2B5EF4-FFF2-40B4-BE49-F238E27FC236}">
                  <a16:creationId xmlns:a16="http://schemas.microsoft.com/office/drawing/2014/main" id="{E0F71A2D-7C1F-4933-8EAC-188FF2B0C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8" y="2268"/>
              <a:ext cx="54" cy="53"/>
            </a:xfrm>
            <a:custGeom>
              <a:avLst/>
              <a:gdLst>
                <a:gd name="T0" fmla="*/ 1937 w 1995"/>
                <a:gd name="T1" fmla="*/ 661 h 1996"/>
                <a:gd name="T2" fmla="*/ 1800 w 1995"/>
                <a:gd name="T3" fmla="*/ 596 h 1996"/>
                <a:gd name="T4" fmla="*/ 1735 w 1995"/>
                <a:gd name="T5" fmla="*/ 733 h 1996"/>
                <a:gd name="T6" fmla="*/ 1781 w 1995"/>
                <a:gd name="T7" fmla="*/ 998 h 1996"/>
                <a:gd name="T8" fmla="*/ 998 w 1995"/>
                <a:gd name="T9" fmla="*/ 1781 h 1996"/>
                <a:gd name="T10" fmla="*/ 214 w 1995"/>
                <a:gd name="T11" fmla="*/ 998 h 1996"/>
                <a:gd name="T12" fmla="*/ 998 w 1995"/>
                <a:gd name="T13" fmla="*/ 215 h 1996"/>
                <a:gd name="T14" fmla="*/ 1571 w 1995"/>
                <a:gd name="T15" fmla="*/ 464 h 1996"/>
                <a:gd name="T16" fmla="*/ 1723 w 1995"/>
                <a:gd name="T17" fmla="*/ 470 h 1996"/>
                <a:gd name="T18" fmla="*/ 1728 w 1995"/>
                <a:gd name="T19" fmla="*/ 319 h 1996"/>
                <a:gd name="T20" fmla="*/ 998 w 1995"/>
                <a:gd name="T21" fmla="*/ 0 h 1996"/>
                <a:gd name="T22" fmla="*/ 0 w 1995"/>
                <a:gd name="T23" fmla="*/ 998 h 1996"/>
                <a:gd name="T24" fmla="*/ 998 w 1995"/>
                <a:gd name="T25" fmla="*/ 1996 h 1996"/>
                <a:gd name="T26" fmla="*/ 1995 w 1995"/>
                <a:gd name="T27" fmla="*/ 998 h 1996"/>
                <a:gd name="T28" fmla="*/ 1937 w 1995"/>
                <a:gd name="T29" fmla="*/ 661 h 1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95" h="1996">
                  <a:moveTo>
                    <a:pt x="1937" y="661"/>
                  </a:moveTo>
                  <a:cubicBezTo>
                    <a:pt x="1917" y="605"/>
                    <a:pt x="1855" y="576"/>
                    <a:pt x="1800" y="596"/>
                  </a:cubicBezTo>
                  <a:cubicBezTo>
                    <a:pt x="1744" y="616"/>
                    <a:pt x="1715" y="677"/>
                    <a:pt x="1735" y="733"/>
                  </a:cubicBezTo>
                  <a:cubicBezTo>
                    <a:pt x="1766" y="818"/>
                    <a:pt x="1781" y="907"/>
                    <a:pt x="1781" y="998"/>
                  </a:cubicBezTo>
                  <a:cubicBezTo>
                    <a:pt x="1781" y="1430"/>
                    <a:pt x="1430" y="1781"/>
                    <a:pt x="998" y="1781"/>
                  </a:cubicBezTo>
                  <a:cubicBezTo>
                    <a:pt x="566" y="1781"/>
                    <a:pt x="214" y="1430"/>
                    <a:pt x="214" y="998"/>
                  </a:cubicBezTo>
                  <a:cubicBezTo>
                    <a:pt x="214" y="566"/>
                    <a:pt x="566" y="215"/>
                    <a:pt x="998" y="215"/>
                  </a:cubicBezTo>
                  <a:cubicBezTo>
                    <a:pt x="1214" y="215"/>
                    <a:pt x="1423" y="306"/>
                    <a:pt x="1571" y="464"/>
                  </a:cubicBezTo>
                  <a:cubicBezTo>
                    <a:pt x="1612" y="508"/>
                    <a:pt x="1679" y="510"/>
                    <a:pt x="1723" y="470"/>
                  </a:cubicBezTo>
                  <a:cubicBezTo>
                    <a:pt x="1766" y="430"/>
                    <a:pt x="1768" y="362"/>
                    <a:pt x="1728" y="319"/>
                  </a:cubicBezTo>
                  <a:cubicBezTo>
                    <a:pt x="1540" y="116"/>
                    <a:pt x="1274" y="0"/>
                    <a:pt x="998" y="0"/>
                  </a:cubicBezTo>
                  <a:cubicBezTo>
                    <a:pt x="447" y="0"/>
                    <a:pt x="0" y="448"/>
                    <a:pt x="0" y="998"/>
                  </a:cubicBezTo>
                  <a:cubicBezTo>
                    <a:pt x="0" y="1548"/>
                    <a:pt x="447" y="1996"/>
                    <a:pt x="998" y="1996"/>
                  </a:cubicBezTo>
                  <a:cubicBezTo>
                    <a:pt x="1548" y="1996"/>
                    <a:pt x="1995" y="1548"/>
                    <a:pt x="1995" y="998"/>
                  </a:cubicBezTo>
                  <a:cubicBezTo>
                    <a:pt x="1995" y="882"/>
                    <a:pt x="1975" y="769"/>
                    <a:pt x="1937" y="66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422">
              <a:extLst>
                <a:ext uri="{FF2B5EF4-FFF2-40B4-BE49-F238E27FC236}">
                  <a16:creationId xmlns:a16="http://schemas.microsoft.com/office/drawing/2014/main" id="{BDFAF808-D977-47C9-AD41-A981EA92BD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4" y="2268"/>
              <a:ext cx="54" cy="53"/>
            </a:xfrm>
            <a:custGeom>
              <a:avLst/>
              <a:gdLst>
                <a:gd name="T0" fmla="*/ 997 w 1995"/>
                <a:gd name="T1" fmla="*/ 0 h 1996"/>
                <a:gd name="T2" fmla="*/ 0 w 1995"/>
                <a:gd name="T3" fmla="*/ 998 h 1996"/>
                <a:gd name="T4" fmla="*/ 997 w 1995"/>
                <a:gd name="T5" fmla="*/ 1996 h 1996"/>
                <a:gd name="T6" fmla="*/ 1995 w 1995"/>
                <a:gd name="T7" fmla="*/ 998 h 1996"/>
                <a:gd name="T8" fmla="*/ 997 w 1995"/>
                <a:gd name="T9" fmla="*/ 0 h 1996"/>
                <a:gd name="T10" fmla="*/ 997 w 1995"/>
                <a:gd name="T11" fmla="*/ 1781 h 1996"/>
                <a:gd name="T12" fmla="*/ 214 w 1995"/>
                <a:gd name="T13" fmla="*/ 998 h 1996"/>
                <a:gd name="T14" fmla="*/ 997 w 1995"/>
                <a:gd name="T15" fmla="*/ 215 h 1996"/>
                <a:gd name="T16" fmla="*/ 1781 w 1995"/>
                <a:gd name="T17" fmla="*/ 998 h 1996"/>
                <a:gd name="T18" fmla="*/ 997 w 1995"/>
                <a:gd name="T19" fmla="*/ 1781 h 1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95" h="1996">
                  <a:moveTo>
                    <a:pt x="997" y="0"/>
                  </a:moveTo>
                  <a:cubicBezTo>
                    <a:pt x="447" y="0"/>
                    <a:pt x="0" y="448"/>
                    <a:pt x="0" y="998"/>
                  </a:cubicBezTo>
                  <a:cubicBezTo>
                    <a:pt x="0" y="1548"/>
                    <a:pt x="447" y="1996"/>
                    <a:pt x="997" y="1996"/>
                  </a:cubicBezTo>
                  <a:cubicBezTo>
                    <a:pt x="1548" y="1996"/>
                    <a:pt x="1995" y="1548"/>
                    <a:pt x="1995" y="998"/>
                  </a:cubicBezTo>
                  <a:cubicBezTo>
                    <a:pt x="1995" y="448"/>
                    <a:pt x="1548" y="0"/>
                    <a:pt x="997" y="0"/>
                  </a:cubicBezTo>
                  <a:close/>
                  <a:moveTo>
                    <a:pt x="997" y="1781"/>
                  </a:moveTo>
                  <a:cubicBezTo>
                    <a:pt x="565" y="1781"/>
                    <a:pt x="214" y="1430"/>
                    <a:pt x="214" y="998"/>
                  </a:cubicBezTo>
                  <a:cubicBezTo>
                    <a:pt x="214" y="566"/>
                    <a:pt x="565" y="215"/>
                    <a:pt x="997" y="215"/>
                  </a:cubicBezTo>
                  <a:cubicBezTo>
                    <a:pt x="1429" y="215"/>
                    <a:pt x="1781" y="566"/>
                    <a:pt x="1781" y="998"/>
                  </a:cubicBezTo>
                  <a:cubicBezTo>
                    <a:pt x="1781" y="1430"/>
                    <a:pt x="1429" y="1781"/>
                    <a:pt x="997" y="178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8D2226BA-DE3F-4F2C-9D5E-096772F08929}"/>
              </a:ext>
            </a:extLst>
          </p:cNvPr>
          <p:cNvSpPr/>
          <p:nvPr/>
        </p:nvSpPr>
        <p:spPr>
          <a:xfrm>
            <a:off x="431998" y="4722286"/>
            <a:ext cx="2981723" cy="1745548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/>
          <a:lstStyle/>
          <a:p>
            <a:pPr>
              <a:spcAft>
                <a:spcPts val="600"/>
              </a:spcAft>
            </a:pPr>
            <a:r>
              <a:rPr lang="ru-RU" sz="1200" dirty="0" err="1">
                <a:solidFill>
                  <a:schemeClr val="tx2"/>
                </a:solidFill>
              </a:rPr>
              <a:t>Хизм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екширув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ўтказ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шаббуси</a:t>
            </a:r>
            <a:endParaRPr lang="ru-RU" sz="1200" dirty="0">
              <a:solidFill>
                <a:schemeClr val="tx2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F8A5780-F38F-4834-A610-B3C6708615FD}"/>
              </a:ext>
            </a:extLst>
          </p:cNvPr>
          <p:cNvGrpSpPr/>
          <p:nvPr/>
        </p:nvGrpSpPr>
        <p:grpSpPr>
          <a:xfrm>
            <a:off x="-2" y="4092359"/>
            <a:ext cx="3413724" cy="573322"/>
            <a:chOff x="-3" y="1138806"/>
            <a:chExt cx="9575803" cy="146304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33E95ACD-854A-4728-8152-397C6BB68CCF}"/>
                </a:ext>
              </a:extLst>
            </p:cNvPr>
            <p:cNvSpPr/>
            <p:nvPr/>
          </p:nvSpPr>
          <p:spPr>
            <a:xfrm>
              <a:off x="-3" y="1138806"/>
              <a:ext cx="1282562" cy="1463040"/>
            </a:xfrm>
            <a:prstGeom prst="rect">
              <a:avLst/>
            </a:prstGeom>
            <a:solidFill>
              <a:srgbClr val="CDF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DD31FB46-580C-4728-9D56-ABE9BA5E6E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Blur radius="3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" t="25090" r="277" b="26127"/>
            <a:stretch/>
          </p:blipFill>
          <p:spPr>
            <a:xfrm>
              <a:off x="0" y="1138806"/>
              <a:ext cx="9575800" cy="1458253"/>
            </a:xfrm>
            <a:prstGeom prst="roundRect">
              <a:avLst>
                <a:gd name="adj" fmla="val 50000"/>
              </a:avLst>
            </a:prstGeom>
          </p:spPr>
        </p:pic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CA6E3F5F-E595-45FF-89BA-5CE8B874F697}"/>
              </a:ext>
            </a:extLst>
          </p:cNvPr>
          <p:cNvSpPr txBox="1"/>
          <p:nvPr/>
        </p:nvSpPr>
        <p:spPr>
          <a:xfrm>
            <a:off x="416561" y="4098929"/>
            <a:ext cx="1327179" cy="55475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Натижа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: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DB3FC8A-B558-49AF-A34A-92487A239E49}"/>
              </a:ext>
            </a:extLst>
          </p:cNvPr>
          <p:cNvGrpSpPr/>
          <p:nvPr/>
        </p:nvGrpSpPr>
        <p:grpSpPr>
          <a:xfrm rot="5400000">
            <a:off x="2870031" y="4202967"/>
            <a:ext cx="238043" cy="377590"/>
            <a:chOff x="3841139" y="1940745"/>
            <a:chExt cx="238043" cy="442712"/>
          </a:xfrm>
          <a:solidFill>
            <a:srgbClr val="1BD7D3"/>
          </a:solidFill>
        </p:grpSpPr>
        <p:sp>
          <p:nvSpPr>
            <p:cNvPr id="39" name="Arrow: Chevron 38">
              <a:extLst>
                <a:ext uri="{FF2B5EF4-FFF2-40B4-BE49-F238E27FC236}">
                  <a16:creationId xmlns:a16="http://schemas.microsoft.com/office/drawing/2014/main" id="{91017701-0320-400B-B8DA-A8791EF22F98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40" name="Arrow: Chevron 39">
              <a:extLst>
                <a:ext uri="{FF2B5EF4-FFF2-40B4-BE49-F238E27FC236}">
                  <a16:creationId xmlns:a16="http://schemas.microsoft.com/office/drawing/2014/main" id="{A2E65C32-1C98-4626-91E0-9978A9BED3F3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41" name="Picture 2" descr="https://w7.pngwing.com/pngs/564/452/png-transparent-flag-of-uzbekistan-emoji-flag-of-albania-emoji-flag-text-logo.png">
            <a:extLst>
              <a:ext uri="{FF2B5EF4-FFF2-40B4-BE49-F238E27FC236}">
                <a16:creationId xmlns:a16="http://schemas.microsoft.com/office/drawing/2014/main" id="{BA450123-5001-4355-A60A-33E21C9AE7C1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93" t="2618" r="24782" b="2590"/>
          <a:stretch/>
        </p:blipFill>
        <p:spPr bwMode="auto">
          <a:xfrm>
            <a:off x="10811994" y="624763"/>
            <a:ext cx="612000" cy="612000"/>
          </a:xfrm>
          <a:prstGeom prst="flowChartConnector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28374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2CDD2-3A07-4C5C-BDFC-BED61692E9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</a:t>
            </a:r>
            <a:r>
              <a:rPr lang="ru-RU" dirty="0"/>
              <a:t> </a:t>
            </a:r>
            <a:r>
              <a:rPr lang="ru-RU" dirty="0" err="1"/>
              <a:t>тизимини</a:t>
            </a:r>
            <a:r>
              <a:rPr lang="ru-RU" dirty="0"/>
              <a:t> мониторинг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назорат</a:t>
            </a:r>
            <a:r>
              <a:rPr lang="ru-RU" dirty="0"/>
              <a:t> </a:t>
            </a:r>
            <a:r>
              <a:rPr lang="ru-RU" dirty="0" err="1"/>
              <a:t>қилиш</a:t>
            </a:r>
            <a:r>
              <a:rPr lang="ru-RU" dirty="0"/>
              <a:t>: Ўзбекистон </a:t>
            </a:r>
            <a:r>
              <a:rPr lang="ru-RU" dirty="0" err="1"/>
              <a:t>Республикасида</a:t>
            </a:r>
            <a:r>
              <a:rPr lang="ru-RU" dirty="0"/>
              <a:t> </a:t>
            </a:r>
            <a:r>
              <a:rPr lang="ru-RU" dirty="0" err="1"/>
              <a:t>амалга</a:t>
            </a:r>
            <a:r>
              <a:rPr lang="ru-RU" dirty="0"/>
              <a:t> </a:t>
            </a:r>
            <a:r>
              <a:rPr lang="ru-RU" dirty="0" err="1"/>
              <a:t>ошириш</a:t>
            </a:r>
            <a:r>
              <a:rPr lang="ru-RU" dirty="0"/>
              <a:t> </a:t>
            </a:r>
            <a:r>
              <a:rPr lang="ru-RU" dirty="0" err="1"/>
              <a:t>амалиёти</a:t>
            </a:r>
            <a:r>
              <a:rPr lang="ru-RU" dirty="0"/>
              <a:t> (5/8)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8C1C1D7-BF9B-45ED-B44C-5583A7D9CFDE}"/>
              </a:ext>
            </a:extLst>
          </p:cNvPr>
          <p:cNvGrpSpPr/>
          <p:nvPr/>
        </p:nvGrpSpPr>
        <p:grpSpPr>
          <a:xfrm>
            <a:off x="443080" y="1282696"/>
            <a:ext cx="11306008" cy="736607"/>
            <a:chOff x="3784798" y="1289128"/>
            <a:chExt cx="7964290" cy="440386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41BBA4E1-FFEF-45E6-A6DC-76F112E71FF0}"/>
                </a:ext>
              </a:extLst>
            </p:cNvPr>
            <p:cNvSpPr/>
            <p:nvPr/>
          </p:nvSpPr>
          <p:spPr>
            <a:xfrm>
              <a:off x="3921193" y="1348907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FCBE51DE-36BA-4257-890F-76F1821320FA}"/>
                </a:ext>
              </a:extLst>
            </p:cNvPr>
            <p:cNvSpPr/>
            <p:nvPr/>
          </p:nvSpPr>
          <p:spPr>
            <a:xfrm>
              <a:off x="3784798" y="1289128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Давлат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орга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ходимларининг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коррупцияга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арш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ураши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асослар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алаблар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ўғрисид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хабардорлиги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екшириш</a:t>
              </a:r>
              <a:endParaRPr lang="ru-RU" sz="14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13" name="object 15">
            <a:extLst>
              <a:ext uri="{FF2B5EF4-FFF2-40B4-BE49-F238E27FC236}">
                <a16:creationId xmlns:a16="http://schemas.microsoft.com/office/drawing/2014/main" id="{F8E6824E-2472-4BA4-A9F7-45BA9C8CA4C2}"/>
              </a:ext>
            </a:extLst>
          </p:cNvPr>
          <p:cNvSpPr txBox="1"/>
          <p:nvPr/>
        </p:nvSpPr>
        <p:spPr>
          <a:xfrm>
            <a:off x="1271993" y="2119292"/>
            <a:ext cx="2141729" cy="48695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Масъул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шахс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 </a:t>
            </a:r>
          </a:p>
          <a:p>
            <a:pPr marL="10319">
              <a:spcAft>
                <a:spcPts val="600"/>
              </a:spcAft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Комплаенс-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инмас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4" name="object 12">
            <a:extLst>
              <a:ext uri="{FF2B5EF4-FFF2-40B4-BE49-F238E27FC236}">
                <a16:creationId xmlns:a16="http://schemas.microsoft.com/office/drawing/2014/main" id="{A08DF861-22A0-4C1D-A7F7-53C2DE3F8970}"/>
              </a:ext>
            </a:extLst>
          </p:cNvPr>
          <p:cNvSpPr/>
          <p:nvPr/>
        </p:nvSpPr>
        <p:spPr>
          <a:xfrm>
            <a:off x="456832" y="207111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>
            <a:extLst>
              <a:ext uri="{FF2B5EF4-FFF2-40B4-BE49-F238E27FC236}">
                <a16:creationId xmlns:a16="http://schemas.microsoft.com/office/drawing/2014/main" id="{3D6C4169-46A6-49C6-9B58-665C09C66F68}"/>
              </a:ext>
            </a:extLst>
          </p:cNvPr>
          <p:cNvSpPr txBox="1"/>
          <p:nvPr/>
        </p:nvSpPr>
        <p:spPr>
          <a:xfrm>
            <a:off x="1271993" y="3056941"/>
            <a:ext cx="2141730" cy="671618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Даврийлик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 </a:t>
            </a:r>
          </a:p>
          <a:p>
            <a:pPr marL="10319">
              <a:spcAft>
                <a:spcPts val="600"/>
              </a:spcAft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ярим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йил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и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ротаба</a:t>
            </a:r>
            <a:endParaRPr lang="ru-RU"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6" name="object 12">
            <a:extLst>
              <a:ext uri="{FF2B5EF4-FFF2-40B4-BE49-F238E27FC236}">
                <a16:creationId xmlns:a16="http://schemas.microsoft.com/office/drawing/2014/main" id="{27F91F54-5DEA-48E2-9B18-6CDCE901FF9E}"/>
              </a:ext>
            </a:extLst>
          </p:cNvPr>
          <p:cNvSpPr/>
          <p:nvPr/>
        </p:nvSpPr>
        <p:spPr>
          <a:xfrm>
            <a:off x="456832" y="298810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7" name="Group 379">
            <a:extLst>
              <a:ext uri="{FF2B5EF4-FFF2-40B4-BE49-F238E27FC236}">
                <a16:creationId xmlns:a16="http://schemas.microsoft.com/office/drawing/2014/main" id="{2FAE79EB-C555-4877-A18C-2D97A34062C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3080" y="3070945"/>
            <a:ext cx="590071" cy="596415"/>
            <a:chOff x="1156" y="3368"/>
            <a:chExt cx="279" cy="282"/>
          </a:xfrm>
          <a:solidFill>
            <a:schemeClr val="bg2">
              <a:lumMod val="25000"/>
            </a:schemeClr>
          </a:solidFill>
        </p:grpSpPr>
        <p:sp>
          <p:nvSpPr>
            <p:cNvPr id="18" name="Freeform 380">
              <a:extLst>
                <a:ext uri="{FF2B5EF4-FFF2-40B4-BE49-F238E27FC236}">
                  <a16:creationId xmlns:a16="http://schemas.microsoft.com/office/drawing/2014/main" id="{D8F703D5-E50A-4E36-A7C2-4BE941AF2C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69" y="3516"/>
              <a:ext cx="96" cy="93"/>
            </a:xfrm>
            <a:custGeom>
              <a:avLst/>
              <a:gdLst>
                <a:gd name="T0" fmla="*/ 2440 w 2899"/>
                <a:gd name="T1" fmla="*/ 437 h 2811"/>
                <a:gd name="T2" fmla="*/ 2262 w 2899"/>
                <a:gd name="T3" fmla="*/ 444 h 2811"/>
                <a:gd name="T4" fmla="*/ 2269 w 2899"/>
                <a:gd name="T5" fmla="*/ 621 h 2811"/>
                <a:gd name="T6" fmla="*/ 2341 w 2899"/>
                <a:gd name="T7" fmla="*/ 693 h 2811"/>
                <a:gd name="T8" fmla="*/ 2631 w 2899"/>
                <a:gd name="T9" fmla="*/ 1496 h 2811"/>
                <a:gd name="T10" fmla="*/ 2269 w 2899"/>
                <a:gd name="T11" fmla="*/ 2269 h 2811"/>
                <a:gd name="T12" fmla="*/ 694 w 2899"/>
                <a:gd name="T13" fmla="*/ 2197 h 2811"/>
                <a:gd name="T14" fmla="*/ 765 w 2899"/>
                <a:gd name="T15" fmla="*/ 622 h 2811"/>
                <a:gd name="T16" fmla="*/ 1835 w 2899"/>
                <a:gd name="T17" fmla="*/ 376 h 2811"/>
                <a:gd name="T18" fmla="*/ 1991 w 2899"/>
                <a:gd name="T19" fmla="*/ 292 h 2811"/>
                <a:gd name="T20" fmla="*/ 1906 w 2899"/>
                <a:gd name="T21" fmla="*/ 135 h 2811"/>
                <a:gd name="T22" fmla="*/ 596 w 2899"/>
                <a:gd name="T23" fmla="*/ 436 h 2811"/>
                <a:gd name="T24" fmla="*/ 508 w 2899"/>
                <a:gd name="T25" fmla="*/ 2366 h 2811"/>
                <a:gd name="T26" fmla="*/ 1518 w 2899"/>
                <a:gd name="T27" fmla="*/ 2811 h 2811"/>
                <a:gd name="T28" fmla="*/ 2439 w 2899"/>
                <a:gd name="T29" fmla="*/ 2454 h 2811"/>
                <a:gd name="T30" fmla="*/ 2882 w 2899"/>
                <a:gd name="T31" fmla="*/ 1507 h 2811"/>
                <a:gd name="T32" fmla="*/ 2526 w 2899"/>
                <a:gd name="T33" fmla="*/ 523 h 2811"/>
                <a:gd name="T34" fmla="*/ 2440 w 2899"/>
                <a:gd name="T35" fmla="*/ 437 h 2811"/>
                <a:gd name="T36" fmla="*/ 2440 w 2899"/>
                <a:gd name="T37" fmla="*/ 437 h 2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99" h="2811">
                  <a:moveTo>
                    <a:pt x="2440" y="437"/>
                  </a:moveTo>
                  <a:cubicBezTo>
                    <a:pt x="2389" y="390"/>
                    <a:pt x="2310" y="393"/>
                    <a:pt x="2262" y="444"/>
                  </a:cubicBezTo>
                  <a:cubicBezTo>
                    <a:pt x="2215" y="494"/>
                    <a:pt x="2218" y="574"/>
                    <a:pt x="2269" y="621"/>
                  </a:cubicBezTo>
                  <a:cubicBezTo>
                    <a:pt x="2294" y="645"/>
                    <a:pt x="2318" y="669"/>
                    <a:pt x="2341" y="693"/>
                  </a:cubicBezTo>
                  <a:cubicBezTo>
                    <a:pt x="2541" y="913"/>
                    <a:pt x="2645" y="1198"/>
                    <a:pt x="2631" y="1496"/>
                  </a:cubicBezTo>
                  <a:cubicBezTo>
                    <a:pt x="2618" y="1793"/>
                    <a:pt x="2489" y="2068"/>
                    <a:pt x="2269" y="2269"/>
                  </a:cubicBezTo>
                  <a:cubicBezTo>
                    <a:pt x="1815" y="2683"/>
                    <a:pt x="1108" y="2651"/>
                    <a:pt x="694" y="2197"/>
                  </a:cubicBezTo>
                  <a:cubicBezTo>
                    <a:pt x="279" y="1743"/>
                    <a:pt x="311" y="1037"/>
                    <a:pt x="765" y="622"/>
                  </a:cubicBezTo>
                  <a:cubicBezTo>
                    <a:pt x="1057" y="356"/>
                    <a:pt x="1456" y="264"/>
                    <a:pt x="1835" y="376"/>
                  </a:cubicBezTo>
                  <a:cubicBezTo>
                    <a:pt x="1901" y="396"/>
                    <a:pt x="1971" y="358"/>
                    <a:pt x="1991" y="292"/>
                  </a:cubicBezTo>
                  <a:cubicBezTo>
                    <a:pt x="2011" y="225"/>
                    <a:pt x="1973" y="155"/>
                    <a:pt x="1906" y="135"/>
                  </a:cubicBezTo>
                  <a:cubicBezTo>
                    <a:pt x="1450" y="0"/>
                    <a:pt x="947" y="115"/>
                    <a:pt x="596" y="436"/>
                  </a:cubicBezTo>
                  <a:cubicBezTo>
                    <a:pt x="39" y="944"/>
                    <a:pt x="0" y="1811"/>
                    <a:pt x="508" y="2366"/>
                  </a:cubicBezTo>
                  <a:cubicBezTo>
                    <a:pt x="777" y="2661"/>
                    <a:pt x="1147" y="2811"/>
                    <a:pt x="1518" y="2811"/>
                  </a:cubicBezTo>
                  <a:cubicBezTo>
                    <a:pt x="1847" y="2811"/>
                    <a:pt x="2177" y="2693"/>
                    <a:pt x="2439" y="2454"/>
                  </a:cubicBezTo>
                  <a:cubicBezTo>
                    <a:pt x="2708" y="2208"/>
                    <a:pt x="2866" y="1872"/>
                    <a:pt x="2882" y="1507"/>
                  </a:cubicBezTo>
                  <a:cubicBezTo>
                    <a:pt x="2899" y="1143"/>
                    <a:pt x="2772" y="793"/>
                    <a:pt x="2526" y="523"/>
                  </a:cubicBezTo>
                  <a:cubicBezTo>
                    <a:pt x="2498" y="493"/>
                    <a:pt x="2470" y="465"/>
                    <a:pt x="2440" y="437"/>
                  </a:cubicBezTo>
                  <a:close/>
                  <a:moveTo>
                    <a:pt x="2440" y="437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381">
              <a:extLst>
                <a:ext uri="{FF2B5EF4-FFF2-40B4-BE49-F238E27FC236}">
                  <a16:creationId xmlns:a16="http://schemas.microsoft.com/office/drawing/2014/main" id="{2BBF74F4-2C64-4954-A47C-987F70FF6B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5" y="3452"/>
              <a:ext cx="49" cy="49"/>
            </a:xfrm>
            <a:custGeom>
              <a:avLst/>
              <a:gdLst>
                <a:gd name="T0" fmla="*/ 882 w 1469"/>
                <a:gd name="T1" fmla="*/ 15 h 1469"/>
                <a:gd name="T2" fmla="*/ 734 w 1469"/>
                <a:gd name="T3" fmla="*/ 0 h 1469"/>
                <a:gd name="T4" fmla="*/ 586 w 1469"/>
                <a:gd name="T5" fmla="*/ 15 h 1469"/>
                <a:gd name="T6" fmla="*/ 0 w 1469"/>
                <a:gd name="T7" fmla="*/ 735 h 1469"/>
                <a:gd name="T8" fmla="*/ 734 w 1469"/>
                <a:gd name="T9" fmla="*/ 1469 h 1469"/>
                <a:gd name="T10" fmla="*/ 1469 w 1469"/>
                <a:gd name="T11" fmla="*/ 735 h 1469"/>
                <a:gd name="T12" fmla="*/ 882 w 1469"/>
                <a:gd name="T13" fmla="*/ 15 h 1469"/>
                <a:gd name="T14" fmla="*/ 734 w 1469"/>
                <a:gd name="T15" fmla="*/ 1218 h 1469"/>
                <a:gd name="T16" fmla="*/ 252 w 1469"/>
                <a:gd name="T17" fmla="*/ 735 h 1469"/>
                <a:gd name="T18" fmla="*/ 734 w 1469"/>
                <a:gd name="T19" fmla="*/ 252 h 1469"/>
                <a:gd name="T20" fmla="*/ 1217 w 1469"/>
                <a:gd name="T21" fmla="*/ 735 h 1469"/>
                <a:gd name="T22" fmla="*/ 734 w 1469"/>
                <a:gd name="T23" fmla="*/ 1218 h 1469"/>
                <a:gd name="T24" fmla="*/ 734 w 1469"/>
                <a:gd name="T25" fmla="*/ 1218 h 1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69" h="1469">
                  <a:moveTo>
                    <a:pt x="882" y="15"/>
                  </a:moveTo>
                  <a:cubicBezTo>
                    <a:pt x="834" y="6"/>
                    <a:pt x="785" y="0"/>
                    <a:pt x="734" y="0"/>
                  </a:cubicBezTo>
                  <a:cubicBezTo>
                    <a:pt x="684" y="0"/>
                    <a:pt x="634" y="6"/>
                    <a:pt x="586" y="15"/>
                  </a:cubicBezTo>
                  <a:cubicBezTo>
                    <a:pt x="252" y="84"/>
                    <a:pt x="0" y="380"/>
                    <a:pt x="0" y="735"/>
                  </a:cubicBezTo>
                  <a:cubicBezTo>
                    <a:pt x="0" y="1140"/>
                    <a:pt x="329" y="1469"/>
                    <a:pt x="734" y="1469"/>
                  </a:cubicBezTo>
                  <a:cubicBezTo>
                    <a:pt x="1139" y="1469"/>
                    <a:pt x="1469" y="1140"/>
                    <a:pt x="1469" y="735"/>
                  </a:cubicBezTo>
                  <a:cubicBezTo>
                    <a:pt x="1469" y="380"/>
                    <a:pt x="1217" y="84"/>
                    <a:pt x="882" y="15"/>
                  </a:cubicBezTo>
                  <a:close/>
                  <a:moveTo>
                    <a:pt x="734" y="1218"/>
                  </a:moveTo>
                  <a:cubicBezTo>
                    <a:pt x="468" y="1218"/>
                    <a:pt x="252" y="1001"/>
                    <a:pt x="252" y="735"/>
                  </a:cubicBezTo>
                  <a:cubicBezTo>
                    <a:pt x="252" y="468"/>
                    <a:pt x="468" y="252"/>
                    <a:pt x="734" y="252"/>
                  </a:cubicBezTo>
                  <a:cubicBezTo>
                    <a:pt x="1001" y="252"/>
                    <a:pt x="1217" y="468"/>
                    <a:pt x="1217" y="735"/>
                  </a:cubicBezTo>
                  <a:cubicBezTo>
                    <a:pt x="1217" y="1001"/>
                    <a:pt x="1001" y="1218"/>
                    <a:pt x="734" y="1218"/>
                  </a:cubicBezTo>
                  <a:close/>
                  <a:moveTo>
                    <a:pt x="734" y="121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382">
              <a:extLst>
                <a:ext uri="{FF2B5EF4-FFF2-40B4-BE49-F238E27FC236}">
                  <a16:creationId xmlns:a16="http://schemas.microsoft.com/office/drawing/2014/main" id="{AEB80983-006F-495B-92BF-3D6034B7F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6" y="3368"/>
              <a:ext cx="279" cy="282"/>
            </a:xfrm>
            <a:custGeom>
              <a:avLst/>
              <a:gdLst>
                <a:gd name="T0" fmla="*/ 7982 w 8433"/>
                <a:gd name="T1" fmla="*/ 1329 h 8517"/>
                <a:gd name="T2" fmla="*/ 6247 w 8433"/>
                <a:gd name="T3" fmla="*/ 251 h 8517"/>
                <a:gd name="T4" fmla="*/ 6247 w 8433"/>
                <a:gd name="T5" fmla="*/ 0 h 8517"/>
                <a:gd name="T6" fmla="*/ 3586 w 8433"/>
                <a:gd name="T7" fmla="*/ 1250 h 8517"/>
                <a:gd name="T8" fmla="*/ 2858 w 8433"/>
                <a:gd name="T9" fmla="*/ 733 h 8517"/>
                <a:gd name="T10" fmla="*/ 1598 w 8433"/>
                <a:gd name="T11" fmla="*/ 1359 h 8517"/>
                <a:gd name="T12" fmla="*/ 409 w 8433"/>
                <a:gd name="T13" fmla="*/ 1962 h 8517"/>
                <a:gd name="T14" fmla="*/ 367 w 8433"/>
                <a:gd name="T15" fmla="*/ 2583 h 8517"/>
                <a:gd name="T16" fmla="*/ 551 w 8433"/>
                <a:gd name="T17" fmla="*/ 3958 h 8517"/>
                <a:gd name="T18" fmla="*/ 516 w 8433"/>
                <a:gd name="T19" fmla="*/ 4839 h 8517"/>
                <a:gd name="T20" fmla="*/ 1850 w 8433"/>
                <a:gd name="T21" fmla="*/ 5256 h 8517"/>
                <a:gd name="T22" fmla="*/ 2324 w 8433"/>
                <a:gd name="T23" fmla="*/ 6117 h 8517"/>
                <a:gd name="T24" fmla="*/ 2951 w 8433"/>
                <a:gd name="T25" fmla="*/ 6767 h 8517"/>
                <a:gd name="T26" fmla="*/ 3237 w 8433"/>
                <a:gd name="T27" fmla="*/ 7901 h 8517"/>
                <a:gd name="T28" fmla="*/ 4132 w 8433"/>
                <a:gd name="T29" fmla="*/ 8097 h 8517"/>
                <a:gd name="T30" fmla="*/ 5413 w 8433"/>
                <a:gd name="T31" fmla="*/ 8419 h 8517"/>
                <a:gd name="T32" fmla="*/ 5916 w 8433"/>
                <a:gd name="T33" fmla="*/ 8022 h 8517"/>
                <a:gd name="T34" fmla="*/ 7049 w 8433"/>
                <a:gd name="T35" fmla="*/ 7345 h 8517"/>
                <a:gd name="T36" fmla="*/ 7124 w 8433"/>
                <a:gd name="T37" fmla="*/ 6708 h 8517"/>
                <a:gd name="T38" fmla="*/ 7188 w 8433"/>
                <a:gd name="T39" fmla="*/ 5307 h 8517"/>
                <a:gd name="T40" fmla="*/ 7074 w 8433"/>
                <a:gd name="T41" fmla="*/ 4397 h 8517"/>
                <a:gd name="T42" fmla="*/ 2350 w 8433"/>
                <a:gd name="T43" fmla="*/ 5557 h 8517"/>
                <a:gd name="T44" fmla="*/ 2012 w 8433"/>
                <a:gd name="T45" fmla="*/ 5045 h 8517"/>
                <a:gd name="T46" fmla="*/ 1147 w 8433"/>
                <a:gd name="T47" fmla="*/ 5114 h 8517"/>
                <a:gd name="T48" fmla="*/ 890 w 8433"/>
                <a:gd name="T49" fmla="*/ 4300 h 8517"/>
                <a:gd name="T50" fmla="*/ 367 w 8433"/>
                <a:gd name="T51" fmla="*/ 3707 h 8517"/>
                <a:gd name="T52" fmla="*/ 633 w 8433"/>
                <a:gd name="T53" fmla="*/ 2835 h 8517"/>
                <a:gd name="T54" fmla="*/ 694 w 8433"/>
                <a:gd name="T55" fmla="*/ 2044 h 8517"/>
                <a:gd name="T56" fmla="*/ 1311 w 8433"/>
                <a:gd name="T57" fmla="*/ 1427 h 8517"/>
                <a:gd name="T58" fmla="*/ 2101 w 8433"/>
                <a:gd name="T59" fmla="*/ 1342 h 8517"/>
                <a:gd name="T60" fmla="*/ 2974 w 8433"/>
                <a:gd name="T61" fmla="*/ 1100 h 8517"/>
                <a:gd name="T62" fmla="*/ 3602 w 8433"/>
                <a:gd name="T63" fmla="*/ 1590 h 8517"/>
                <a:gd name="T64" fmla="*/ 4132 w 8433"/>
                <a:gd name="T65" fmla="*/ 1632 h 8517"/>
                <a:gd name="T66" fmla="*/ 4328 w 8433"/>
                <a:gd name="T67" fmla="*/ 3795 h 8517"/>
                <a:gd name="T68" fmla="*/ 3874 w 8433"/>
                <a:gd name="T69" fmla="*/ 3271 h 8517"/>
                <a:gd name="T70" fmla="*/ 2830 w 8433"/>
                <a:gd name="T71" fmla="*/ 4575 h 8517"/>
                <a:gd name="T72" fmla="*/ 2743 w 8433"/>
                <a:gd name="T73" fmla="*/ 5104 h 8517"/>
                <a:gd name="T74" fmla="*/ 3535 w 8433"/>
                <a:gd name="T75" fmla="*/ 3697 h 8517"/>
                <a:gd name="T76" fmla="*/ 2537 w 8433"/>
                <a:gd name="T77" fmla="*/ 4356 h 8517"/>
                <a:gd name="T78" fmla="*/ 7177 w 8433"/>
                <a:gd name="T79" fmla="*/ 5558 h 8517"/>
                <a:gd name="T80" fmla="*/ 7136 w 8433"/>
                <a:gd name="T81" fmla="*/ 6457 h 8517"/>
                <a:gd name="T82" fmla="*/ 6583 w 8433"/>
                <a:gd name="T83" fmla="*/ 7045 h 8517"/>
                <a:gd name="T84" fmla="*/ 6273 w 8433"/>
                <a:gd name="T85" fmla="*/ 7861 h 8517"/>
                <a:gd name="T86" fmla="*/ 5764 w 8433"/>
                <a:gd name="T87" fmla="*/ 7615 h 8517"/>
                <a:gd name="T88" fmla="*/ 5243 w 8433"/>
                <a:gd name="T89" fmla="*/ 8233 h 8517"/>
                <a:gd name="T90" fmla="*/ 4396 w 8433"/>
                <a:gd name="T91" fmla="*/ 7824 h 8517"/>
                <a:gd name="T92" fmla="*/ 3595 w 8433"/>
                <a:gd name="T93" fmla="*/ 7739 h 8517"/>
                <a:gd name="T94" fmla="*/ 2987 w 8433"/>
                <a:gd name="T95" fmla="*/ 7074 h 8517"/>
                <a:gd name="T96" fmla="*/ 2959 w 8433"/>
                <a:gd name="T97" fmla="*/ 6267 h 8517"/>
                <a:gd name="T98" fmla="*/ 2605 w 8433"/>
                <a:gd name="T99" fmla="*/ 5472 h 8517"/>
                <a:gd name="T100" fmla="*/ 3110 w 8433"/>
                <a:gd name="T101" fmla="*/ 5281 h 8517"/>
                <a:gd name="T102" fmla="*/ 3070 w 8433"/>
                <a:gd name="T103" fmla="*/ 4479 h 8517"/>
                <a:gd name="T104" fmla="*/ 3766 w 8433"/>
                <a:gd name="T105" fmla="*/ 3960 h 8517"/>
                <a:gd name="T106" fmla="*/ 4575 w 8433"/>
                <a:gd name="T107" fmla="*/ 3899 h 8517"/>
                <a:gd name="T108" fmla="*/ 6646 w 8433"/>
                <a:gd name="T109" fmla="*/ 4336 h 8517"/>
                <a:gd name="T110" fmla="*/ 6697 w 8433"/>
                <a:gd name="T111" fmla="*/ 4906 h 8517"/>
                <a:gd name="T112" fmla="*/ 7177 w 8433"/>
                <a:gd name="T113" fmla="*/ 5558 h 8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433" h="8517">
                  <a:moveTo>
                    <a:pt x="8433" y="2186"/>
                  </a:moveTo>
                  <a:cubicBezTo>
                    <a:pt x="8433" y="1847"/>
                    <a:pt x="8357" y="1521"/>
                    <a:pt x="8207" y="1217"/>
                  </a:cubicBezTo>
                  <a:cubicBezTo>
                    <a:pt x="8177" y="1155"/>
                    <a:pt x="8101" y="1130"/>
                    <a:pt x="8039" y="1160"/>
                  </a:cubicBezTo>
                  <a:cubicBezTo>
                    <a:pt x="7977" y="1191"/>
                    <a:pt x="7951" y="1267"/>
                    <a:pt x="7982" y="1329"/>
                  </a:cubicBezTo>
                  <a:cubicBezTo>
                    <a:pt x="8115" y="1597"/>
                    <a:pt x="8182" y="1886"/>
                    <a:pt x="8182" y="2186"/>
                  </a:cubicBezTo>
                  <a:cubicBezTo>
                    <a:pt x="8182" y="3253"/>
                    <a:pt x="7314" y="4121"/>
                    <a:pt x="6247" y="4121"/>
                  </a:cubicBezTo>
                  <a:cubicBezTo>
                    <a:pt x="5180" y="4121"/>
                    <a:pt x="4312" y="3253"/>
                    <a:pt x="4312" y="2186"/>
                  </a:cubicBezTo>
                  <a:cubicBezTo>
                    <a:pt x="4312" y="1119"/>
                    <a:pt x="5180" y="251"/>
                    <a:pt x="6247" y="251"/>
                  </a:cubicBezTo>
                  <a:cubicBezTo>
                    <a:pt x="6781" y="251"/>
                    <a:pt x="7297" y="475"/>
                    <a:pt x="7661" y="866"/>
                  </a:cubicBezTo>
                  <a:cubicBezTo>
                    <a:pt x="7709" y="917"/>
                    <a:pt x="7788" y="919"/>
                    <a:pt x="7839" y="872"/>
                  </a:cubicBezTo>
                  <a:cubicBezTo>
                    <a:pt x="7890" y="825"/>
                    <a:pt x="7892" y="745"/>
                    <a:pt x="7845" y="694"/>
                  </a:cubicBezTo>
                  <a:cubicBezTo>
                    <a:pt x="7433" y="253"/>
                    <a:pt x="6851" y="0"/>
                    <a:pt x="6247" y="0"/>
                  </a:cubicBezTo>
                  <a:cubicBezTo>
                    <a:pt x="5332" y="0"/>
                    <a:pt x="4546" y="565"/>
                    <a:pt x="4221" y="1365"/>
                  </a:cubicBezTo>
                  <a:lnTo>
                    <a:pt x="4105" y="1249"/>
                  </a:lnTo>
                  <a:cubicBezTo>
                    <a:pt x="4036" y="1180"/>
                    <a:pt x="3944" y="1142"/>
                    <a:pt x="3846" y="1142"/>
                  </a:cubicBezTo>
                  <a:cubicBezTo>
                    <a:pt x="3747" y="1142"/>
                    <a:pt x="3655" y="1180"/>
                    <a:pt x="3586" y="1250"/>
                  </a:cubicBezTo>
                  <a:lnTo>
                    <a:pt x="3489" y="1347"/>
                  </a:lnTo>
                  <a:cubicBezTo>
                    <a:pt x="3404" y="1305"/>
                    <a:pt x="3316" y="1269"/>
                    <a:pt x="3225" y="1239"/>
                  </a:cubicBezTo>
                  <a:lnTo>
                    <a:pt x="3225" y="1100"/>
                  </a:lnTo>
                  <a:cubicBezTo>
                    <a:pt x="3225" y="898"/>
                    <a:pt x="3060" y="733"/>
                    <a:pt x="2858" y="733"/>
                  </a:cubicBezTo>
                  <a:lnTo>
                    <a:pt x="2217" y="733"/>
                  </a:lnTo>
                  <a:cubicBezTo>
                    <a:pt x="2015" y="733"/>
                    <a:pt x="1850" y="898"/>
                    <a:pt x="1850" y="1100"/>
                  </a:cubicBezTo>
                  <a:lnTo>
                    <a:pt x="1850" y="1251"/>
                  </a:lnTo>
                  <a:cubicBezTo>
                    <a:pt x="1764" y="1281"/>
                    <a:pt x="1680" y="1317"/>
                    <a:pt x="1598" y="1359"/>
                  </a:cubicBezTo>
                  <a:lnTo>
                    <a:pt x="1489" y="1249"/>
                  </a:lnTo>
                  <a:cubicBezTo>
                    <a:pt x="1346" y="1106"/>
                    <a:pt x="1113" y="1106"/>
                    <a:pt x="970" y="1249"/>
                  </a:cubicBezTo>
                  <a:lnTo>
                    <a:pt x="516" y="1703"/>
                  </a:lnTo>
                  <a:cubicBezTo>
                    <a:pt x="447" y="1772"/>
                    <a:pt x="409" y="1864"/>
                    <a:pt x="409" y="1962"/>
                  </a:cubicBezTo>
                  <a:cubicBezTo>
                    <a:pt x="409" y="2061"/>
                    <a:pt x="447" y="2153"/>
                    <a:pt x="516" y="2222"/>
                  </a:cubicBezTo>
                  <a:lnTo>
                    <a:pt x="637" y="2342"/>
                  </a:lnTo>
                  <a:cubicBezTo>
                    <a:pt x="599" y="2421"/>
                    <a:pt x="567" y="2501"/>
                    <a:pt x="540" y="2583"/>
                  </a:cubicBezTo>
                  <a:lnTo>
                    <a:pt x="367" y="2583"/>
                  </a:lnTo>
                  <a:cubicBezTo>
                    <a:pt x="164" y="2583"/>
                    <a:pt x="0" y="2748"/>
                    <a:pt x="0" y="2950"/>
                  </a:cubicBezTo>
                  <a:lnTo>
                    <a:pt x="0" y="3591"/>
                  </a:lnTo>
                  <a:cubicBezTo>
                    <a:pt x="0" y="3794"/>
                    <a:pt x="164" y="3958"/>
                    <a:pt x="367" y="3958"/>
                  </a:cubicBezTo>
                  <a:lnTo>
                    <a:pt x="551" y="3958"/>
                  </a:lnTo>
                  <a:cubicBezTo>
                    <a:pt x="579" y="4037"/>
                    <a:pt x="611" y="4113"/>
                    <a:pt x="648" y="4188"/>
                  </a:cubicBezTo>
                  <a:lnTo>
                    <a:pt x="516" y="4319"/>
                  </a:lnTo>
                  <a:cubicBezTo>
                    <a:pt x="447" y="4388"/>
                    <a:pt x="409" y="4481"/>
                    <a:pt x="409" y="4579"/>
                  </a:cubicBezTo>
                  <a:cubicBezTo>
                    <a:pt x="409" y="4677"/>
                    <a:pt x="447" y="4769"/>
                    <a:pt x="516" y="4839"/>
                  </a:cubicBezTo>
                  <a:lnTo>
                    <a:pt x="970" y="5292"/>
                  </a:lnTo>
                  <a:cubicBezTo>
                    <a:pt x="1113" y="5435"/>
                    <a:pt x="1346" y="5435"/>
                    <a:pt x="1489" y="5292"/>
                  </a:cubicBezTo>
                  <a:lnTo>
                    <a:pt x="1620" y="5160"/>
                  </a:lnTo>
                  <a:cubicBezTo>
                    <a:pt x="1695" y="5197"/>
                    <a:pt x="1771" y="5229"/>
                    <a:pt x="1850" y="5256"/>
                  </a:cubicBezTo>
                  <a:lnTo>
                    <a:pt x="1850" y="5442"/>
                  </a:lnTo>
                  <a:cubicBezTo>
                    <a:pt x="1850" y="5644"/>
                    <a:pt x="2015" y="5808"/>
                    <a:pt x="2217" y="5808"/>
                  </a:cubicBezTo>
                  <a:lnTo>
                    <a:pt x="2338" y="5808"/>
                  </a:lnTo>
                  <a:lnTo>
                    <a:pt x="2324" y="6117"/>
                  </a:lnTo>
                  <a:cubicBezTo>
                    <a:pt x="2320" y="6216"/>
                    <a:pt x="2354" y="6311"/>
                    <a:pt x="2421" y="6385"/>
                  </a:cubicBezTo>
                  <a:cubicBezTo>
                    <a:pt x="2489" y="6459"/>
                    <a:pt x="2581" y="6502"/>
                    <a:pt x="2680" y="6506"/>
                  </a:cubicBezTo>
                  <a:lnTo>
                    <a:pt x="2856" y="6514"/>
                  </a:lnTo>
                  <a:cubicBezTo>
                    <a:pt x="2883" y="6600"/>
                    <a:pt x="2914" y="6685"/>
                    <a:pt x="2951" y="6767"/>
                  </a:cubicBezTo>
                  <a:lnTo>
                    <a:pt x="2818" y="6888"/>
                  </a:lnTo>
                  <a:cubicBezTo>
                    <a:pt x="2744" y="6955"/>
                    <a:pt x="2702" y="7047"/>
                    <a:pt x="2697" y="7147"/>
                  </a:cubicBezTo>
                  <a:cubicBezTo>
                    <a:pt x="2693" y="7247"/>
                    <a:pt x="2727" y="7342"/>
                    <a:pt x="2794" y="7415"/>
                  </a:cubicBezTo>
                  <a:lnTo>
                    <a:pt x="3237" y="7901"/>
                  </a:lnTo>
                  <a:cubicBezTo>
                    <a:pt x="3376" y="8052"/>
                    <a:pt x="3612" y="8063"/>
                    <a:pt x="3764" y="7924"/>
                  </a:cubicBezTo>
                  <a:lnTo>
                    <a:pt x="3906" y="7795"/>
                  </a:lnTo>
                  <a:cubicBezTo>
                    <a:pt x="3981" y="7836"/>
                    <a:pt x="4060" y="7872"/>
                    <a:pt x="4141" y="7904"/>
                  </a:cubicBezTo>
                  <a:lnTo>
                    <a:pt x="4132" y="8097"/>
                  </a:lnTo>
                  <a:cubicBezTo>
                    <a:pt x="4123" y="8302"/>
                    <a:pt x="4283" y="8477"/>
                    <a:pt x="4488" y="8486"/>
                  </a:cubicBezTo>
                  <a:lnTo>
                    <a:pt x="5145" y="8516"/>
                  </a:lnTo>
                  <a:cubicBezTo>
                    <a:pt x="5150" y="8517"/>
                    <a:pt x="5156" y="8517"/>
                    <a:pt x="5162" y="8517"/>
                  </a:cubicBezTo>
                  <a:cubicBezTo>
                    <a:pt x="5255" y="8517"/>
                    <a:pt x="5343" y="8482"/>
                    <a:pt x="5413" y="8419"/>
                  </a:cubicBezTo>
                  <a:cubicBezTo>
                    <a:pt x="5486" y="8351"/>
                    <a:pt x="5529" y="8260"/>
                    <a:pt x="5534" y="8161"/>
                  </a:cubicBezTo>
                  <a:lnTo>
                    <a:pt x="5543" y="7968"/>
                  </a:lnTo>
                  <a:cubicBezTo>
                    <a:pt x="5626" y="7944"/>
                    <a:pt x="5707" y="7915"/>
                    <a:pt x="5787" y="7881"/>
                  </a:cubicBezTo>
                  <a:lnTo>
                    <a:pt x="5916" y="8022"/>
                  </a:lnTo>
                  <a:cubicBezTo>
                    <a:pt x="5983" y="8096"/>
                    <a:pt x="6075" y="8139"/>
                    <a:pt x="6175" y="8143"/>
                  </a:cubicBezTo>
                  <a:cubicBezTo>
                    <a:pt x="6274" y="8148"/>
                    <a:pt x="6369" y="8113"/>
                    <a:pt x="6443" y="8046"/>
                  </a:cubicBezTo>
                  <a:lnTo>
                    <a:pt x="6928" y="7603"/>
                  </a:lnTo>
                  <a:cubicBezTo>
                    <a:pt x="7002" y="7536"/>
                    <a:pt x="7045" y="7444"/>
                    <a:pt x="7049" y="7345"/>
                  </a:cubicBezTo>
                  <a:cubicBezTo>
                    <a:pt x="7054" y="7245"/>
                    <a:pt x="7019" y="7150"/>
                    <a:pt x="6952" y="7076"/>
                  </a:cubicBezTo>
                  <a:lnTo>
                    <a:pt x="6831" y="6944"/>
                  </a:lnTo>
                  <a:cubicBezTo>
                    <a:pt x="6875" y="6865"/>
                    <a:pt x="6914" y="6783"/>
                    <a:pt x="6948" y="6700"/>
                  </a:cubicBezTo>
                  <a:lnTo>
                    <a:pt x="7124" y="6708"/>
                  </a:lnTo>
                  <a:cubicBezTo>
                    <a:pt x="7223" y="6713"/>
                    <a:pt x="7319" y="6678"/>
                    <a:pt x="7392" y="6611"/>
                  </a:cubicBezTo>
                  <a:cubicBezTo>
                    <a:pt x="7466" y="6544"/>
                    <a:pt x="7509" y="6452"/>
                    <a:pt x="7514" y="6353"/>
                  </a:cubicBezTo>
                  <a:lnTo>
                    <a:pt x="7544" y="5696"/>
                  </a:lnTo>
                  <a:cubicBezTo>
                    <a:pt x="7553" y="5490"/>
                    <a:pt x="7394" y="5316"/>
                    <a:pt x="7188" y="5307"/>
                  </a:cubicBezTo>
                  <a:lnTo>
                    <a:pt x="7028" y="5299"/>
                  </a:lnTo>
                  <a:cubicBezTo>
                    <a:pt x="7003" y="5207"/>
                    <a:pt x="6971" y="5117"/>
                    <a:pt x="6934" y="5030"/>
                  </a:cubicBezTo>
                  <a:lnTo>
                    <a:pt x="7050" y="4924"/>
                  </a:lnTo>
                  <a:cubicBezTo>
                    <a:pt x="7202" y="4786"/>
                    <a:pt x="7212" y="4549"/>
                    <a:pt x="7074" y="4397"/>
                  </a:cubicBezTo>
                  <a:lnTo>
                    <a:pt x="6946" y="4258"/>
                  </a:lnTo>
                  <a:cubicBezTo>
                    <a:pt x="7810" y="3965"/>
                    <a:pt x="8433" y="3147"/>
                    <a:pt x="8433" y="2186"/>
                  </a:cubicBezTo>
                  <a:close/>
                  <a:moveTo>
                    <a:pt x="2354" y="5460"/>
                  </a:moveTo>
                  <a:lnTo>
                    <a:pt x="2350" y="5557"/>
                  </a:lnTo>
                  <a:lnTo>
                    <a:pt x="2217" y="5557"/>
                  </a:lnTo>
                  <a:cubicBezTo>
                    <a:pt x="2154" y="5557"/>
                    <a:pt x="2101" y="5504"/>
                    <a:pt x="2101" y="5442"/>
                  </a:cubicBezTo>
                  <a:lnTo>
                    <a:pt x="2101" y="5165"/>
                  </a:lnTo>
                  <a:cubicBezTo>
                    <a:pt x="2101" y="5110"/>
                    <a:pt x="2065" y="5061"/>
                    <a:pt x="2012" y="5045"/>
                  </a:cubicBezTo>
                  <a:cubicBezTo>
                    <a:pt x="1889" y="5008"/>
                    <a:pt x="1769" y="4958"/>
                    <a:pt x="1657" y="4896"/>
                  </a:cubicBezTo>
                  <a:cubicBezTo>
                    <a:pt x="1608" y="4869"/>
                    <a:pt x="1547" y="4878"/>
                    <a:pt x="1507" y="4917"/>
                  </a:cubicBezTo>
                  <a:lnTo>
                    <a:pt x="1311" y="5114"/>
                  </a:lnTo>
                  <a:cubicBezTo>
                    <a:pt x="1266" y="5159"/>
                    <a:pt x="1193" y="5159"/>
                    <a:pt x="1147" y="5114"/>
                  </a:cubicBezTo>
                  <a:lnTo>
                    <a:pt x="694" y="4661"/>
                  </a:lnTo>
                  <a:cubicBezTo>
                    <a:pt x="672" y="4639"/>
                    <a:pt x="660" y="4610"/>
                    <a:pt x="660" y="4579"/>
                  </a:cubicBezTo>
                  <a:cubicBezTo>
                    <a:pt x="660" y="4548"/>
                    <a:pt x="672" y="4519"/>
                    <a:pt x="694" y="4497"/>
                  </a:cubicBezTo>
                  <a:lnTo>
                    <a:pt x="890" y="4300"/>
                  </a:lnTo>
                  <a:cubicBezTo>
                    <a:pt x="930" y="4261"/>
                    <a:pt x="939" y="4200"/>
                    <a:pt x="912" y="4151"/>
                  </a:cubicBezTo>
                  <a:cubicBezTo>
                    <a:pt x="851" y="4039"/>
                    <a:pt x="800" y="3920"/>
                    <a:pt x="763" y="3796"/>
                  </a:cubicBezTo>
                  <a:cubicBezTo>
                    <a:pt x="747" y="3743"/>
                    <a:pt x="698" y="3707"/>
                    <a:pt x="643" y="3707"/>
                  </a:cubicBezTo>
                  <a:lnTo>
                    <a:pt x="367" y="3707"/>
                  </a:lnTo>
                  <a:cubicBezTo>
                    <a:pt x="303" y="3707"/>
                    <a:pt x="251" y="3655"/>
                    <a:pt x="251" y="3591"/>
                  </a:cubicBezTo>
                  <a:lnTo>
                    <a:pt x="251" y="2950"/>
                  </a:lnTo>
                  <a:cubicBezTo>
                    <a:pt x="251" y="2886"/>
                    <a:pt x="303" y="2835"/>
                    <a:pt x="367" y="2835"/>
                  </a:cubicBezTo>
                  <a:lnTo>
                    <a:pt x="633" y="2835"/>
                  </a:lnTo>
                  <a:cubicBezTo>
                    <a:pt x="689" y="2835"/>
                    <a:pt x="738" y="2797"/>
                    <a:pt x="754" y="2743"/>
                  </a:cubicBezTo>
                  <a:cubicBezTo>
                    <a:pt x="789" y="2617"/>
                    <a:pt x="839" y="2494"/>
                    <a:pt x="901" y="2377"/>
                  </a:cubicBezTo>
                  <a:cubicBezTo>
                    <a:pt x="927" y="2328"/>
                    <a:pt x="918" y="2268"/>
                    <a:pt x="879" y="2229"/>
                  </a:cubicBezTo>
                  <a:lnTo>
                    <a:pt x="694" y="2044"/>
                  </a:lnTo>
                  <a:cubicBezTo>
                    <a:pt x="672" y="2022"/>
                    <a:pt x="660" y="1993"/>
                    <a:pt x="660" y="1962"/>
                  </a:cubicBezTo>
                  <a:cubicBezTo>
                    <a:pt x="660" y="1931"/>
                    <a:pt x="672" y="1902"/>
                    <a:pt x="694" y="1881"/>
                  </a:cubicBezTo>
                  <a:lnTo>
                    <a:pt x="1148" y="1427"/>
                  </a:lnTo>
                  <a:cubicBezTo>
                    <a:pt x="1192" y="1382"/>
                    <a:pt x="1266" y="1382"/>
                    <a:pt x="1311" y="1427"/>
                  </a:cubicBezTo>
                  <a:lnTo>
                    <a:pt x="1486" y="1602"/>
                  </a:lnTo>
                  <a:cubicBezTo>
                    <a:pt x="1526" y="1642"/>
                    <a:pt x="1587" y="1650"/>
                    <a:pt x="1636" y="1623"/>
                  </a:cubicBezTo>
                  <a:cubicBezTo>
                    <a:pt x="1757" y="1555"/>
                    <a:pt x="1883" y="1501"/>
                    <a:pt x="2012" y="1463"/>
                  </a:cubicBezTo>
                  <a:cubicBezTo>
                    <a:pt x="2065" y="1447"/>
                    <a:pt x="2101" y="1398"/>
                    <a:pt x="2101" y="1342"/>
                  </a:cubicBezTo>
                  <a:lnTo>
                    <a:pt x="2101" y="1100"/>
                  </a:lnTo>
                  <a:cubicBezTo>
                    <a:pt x="2101" y="1036"/>
                    <a:pt x="2153" y="985"/>
                    <a:pt x="2217" y="985"/>
                  </a:cubicBezTo>
                  <a:lnTo>
                    <a:pt x="2858" y="985"/>
                  </a:lnTo>
                  <a:cubicBezTo>
                    <a:pt x="2921" y="985"/>
                    <a:pt x="2974" y="1037"/>
                    <a:pt x="2974" y="1100"/>
                  </a:cubicBezTo>
                  <a:lnTo>
                    <a:pt x="2974" y="1332"/>
                  </a:lnTo>
                  <a:cubicBezTo>
                    <a:pt x="2974" y="1388"/>
                    <a:pt x="3011" y="1437"/>
                    <a:pt x="3065" y="1453"/>
                  </a:cubicBezTo>
                  <a:cubicBezTo>
                    <a:pt x="3201" y="1491"/>
                    <a:pt x="3331" y="1545"/>
                    <a:pt x="3452" y="1611"/>
                  </a:cubicBezTo>
                  <a:cubicBezTo>
                    <a:pt x="3501" y="1638"/>
                    <a:pt x="3562" y="1630"/>
                    <a:pt x="3602" y="1590"/>
                  </a:cubicBezTo>
                  <a:lnTo>
                    <a:pt x="3764" y="1427"/>
                  </a:lnTo>
                  <a:cubicBezTo>
                    <a:pt x="3785" y="1406"/>
                    <a:pt x="3814" y="1394"/>
                    <a:pt x="3846" y="1394"/>
                  </a:cubicBezTo>
                  <a:cubicBezTo>
                    <a:pt x="3877" y="1394"/>
                    <a:pt x="3906" y="1406"/>
                    <a:pt x="3927" y="1427"/>
                  </a:cubicBezTo>
                  <a:lnTo>
                    <a:pt x="4132" y="1632"/>
                  </a:lnTo>
                  <a:cubicBezTo>
                    <a:pt x="4085" y="1809"/>
                    <a:pt x="4060" y="1995"/>
                    <a:pt x="4060" y="2186"/>
                  </a:cubicBezTo>
                  <a:cubicBezTo>
                    <a:pt x="4060" y="2640"/>
                    <a:pt x="4200" y="3062"/>
                    <a:pt x="4437" y="3412"/>
                  </a:cubicBezTo>
                  <a:cubicBezTo>
                    <a:pt x="4376" y="3476"/>
                    <a:pt x="4338" y="3561"/>
                    <a:pt x="4334" y="3653"/>
                  </a:cubicBezTo>
                  <a:lnTo>
                    <a:pt x="4328" y="3795"/>
                  </a:lnTo>
                  <a:cubicBezTo>
                    <a:pt x="4232" y="3823"/>
                    <a:pt x="4139" y="3857"/>
                    <a:pt x="4049" y="3897"/>
                  </a:cubicBezTo>
                  <a:lnTo>
                    <a:pt x="3952" y="3791"/>
                  </a:lnTo>
                  <a:cubicBezTo>
                    <a:pt x="3911" y="3746"/>
                    <a:pt x="3861" y="3713"/>
                    <a:pt x="3806" y="3692"/>
                  </a:cubicBezTo>
                  <a:cubicBezTo>
                    <a:pt x="3851" y="3557"/>
                    <a:pt x="3874" y="3416"/>
                    <a:pt x="3874" y="3271"/>
                  </a:cubicBezTo>
                  <a:cubicBezTo>
                    <a:pt x="3874" y="2534"/>
                    <a:pt x="3274" y="1934"/>
                    <a:pt x="2537" y="1934"/>
                  </a:cubicBezTo>
                  <a:cubicBezTo>
                    <a:pt x="1800" y="1934"/>
                    <a:pt x="1201" y="2534"/>
                    <a:pt x="1201" y="3271"/>
                  </a:cubicBezTo>
                  <a:cubicBezTo>
                    <a:pt x="1201" y="4007"/>
                    <a:pt x="1800" y="4607"/>
                    <a:pt x="2537" y="4607"/>
                  </a:cubicBezTo>
                  <a:cubicBezTo>
                    <a:pt x="2636" y="4607"/>
                    <a:pt x="2734" y="4596"/>
                    <a:pt x="2830" y="4575"/>
                  </a:cubicBezTo>
                  <a:cubicBezTo>
                    <a:pt x="2844" y="4635"/>
                    <a:pt x="2874" y="4690"/>
                    <a:pt x="2916" y="4736"/>
                  </a:cubicBezTo>
                  <a:lnTo>
                    <a:pt x="3022" y="4852"/>
                  </a:lnTo>
                  <a:cubicBezTo>
                    <a:pt x="2976" y="4936"/>
                    <a:pt x="2937" y="5023"/>
                    <a:pt x="2903" y="5112"/>
                  </a:cubicBezTo>
                  <a:lnTo>
                    <a:pt x="2743" y="5104"/>
                  </a:lnTo>
                  <a:cubicBezTo>
                    <a:pt x="2644" y="5100"/>
                    <a:pt x="2549" y="5135"/>
                    <a:pt x="2475" y="5202"/>
                  </a:cubicBezTo>
                  <a:cubicBezTo>
                    <a:pt x="2401" y="5269"/>
                    <a:pt x="2358" y="5361"/>
                    <a:pt x="2354" y="5460"/>
                  </a:cubicBezTo>
                  <a:close/>
                  <a:moveTo>
                    <a:pt x="3622" y="3271"/>
                  </a:moveTo>
                  <a:cubicBezTo>
                    <a:pt x="3622" y="3419"/>
                    <a:pt x="3593" y="3563"/>
                    <a:pt x="3535" y="3697"/>
                  </a:cubicBezTo>
                  <a:cubicBezTo>
                    <a:pt x="3495" y="3714"/>
                    <a:pt x="3458" y="3737"/>
                    <a:pt x="3425" y="3766"/>
                  </a:cubicBezTo>
                  <a:lnTo>
                    <a:pt x="2940" y="4210"/>
                  </a:lnTo>
                  <a:cubicBezTo>
                    <a:pt x="2909" y="4238"/>
                    <a:pt x="2884" y="4270"/>
                    <a:pt x="2865" y="4305"/>
                  </a:cubicBezTo>
                  <a:cubicBezTo>
                    <a:pt x="2759" y="4339"/>
                    <a:pt x="2649" y="4356"/>
                    <a:pt x="2537" y="4356"/>
                  </a:cubicBezTo>
                  <a:cubicBezTo>
                    <a:pt x="1939" y="4356"/>
                    <a:pt x="1452" y="3869"/>
                    <a:pt x="1452" y="3271"/>
                  </a:cubicBezTo>
                  <a:cubicBezTo>
                    <a:pt x="1452" y="2672"/>
                    <a:pt x="1939" y="2186"/>
                    <a:pt x="2537" y="2186"/>
                  </a:cubicBezTo>
                  <a:cubicBezTo>
                    <a:pt x="3136" y="2186"/>
                    <a:pt x="3622" y="2672"/>
                    <a:pt x="3622" y="3271"/>
                  </a:cubicBezTo>
                  <a:close/>
                  <a:moveTo>
                    <a:pt x="7177" y="5558"/>
                  </a:moveTo>
                  <a:cubicBezTo>
                    <a:pt x="7243" y="5561"/>
                    <a:pt x="7296" y="5619"/>
                    <a:pt x="7293" y="5684"/>
                  </a:cubicBezTo>
                  <a:lnTo>
                    <a:pt x="7263" y="6341"/>
                  </a:lnTo>
                  <a:cubicBezTo>
                    <a:pt x="7261" y="6373"/>
                    <a:pt x="7247" y="6403"/>
                    <a:pt x="7223" y="6425"/>
                  </a:cubicBezTo>
                  <a:cubicBezTo>
                    <a:pt x="7199" y="6447"/>
                    <a:pt x="7168" y="6458"/>
                    <a:pt x="7136" y="6457"/>
                  </a:cubicBezTo>
                  <a:lnTo>
                    <a:pt x="6869" y="6445"/>
                  </a:lnTo>
                  <a:cubicBezTo>
                    <a:pt x="6813" y="6442"/>
                    <a:pt x="6763" y="6476"/>
                    <a:pt x="6744" y="6528"/>
                  </a:cubicBezTo>
                  <a:cubicBezTo>
                    <a:pt x="6699" y="6655"/>
                    <a:pt x="6640" y="6778"/>
                    <a:pt x="6569" y="6894"/>
                  </a:cubicBezTo>
                  <a:cubicBezTo>
                    <a:pt x="6539" y="6942"/>
                    <a:pt x="6545" y="7003"/>
                    <a:pt x="6583" y="7045"/>
                  </a:cubicBezTo>
                  <a:lnTo>
                    <a:pt x="6766" y="7245"/>
                  </a:lnTo>
                  <a:cubicBezTo>
                    <a:pt x="6788" y="7269"/>
                    <a:pt x="6799" y="7301"/>
                    <a:pt x="6798" y="7333"/>
                  </a:cubicBezTo>
                  <a:cubicBezTo>
                    <a:pt x="6796" y="7366"/>
                    <a:pt x="6783" y="7396"/>
                    <a:pt x="6759" y="7417"/>
                  </a:cubicBezTo>
                  <a:lnTo>
                    <a:pt x="6273" y="7861"/>
                  </a:lnTo>
                  <a:cubicBezTo>
                    <a:pt x="6250" y="7882"/>
                    <a:pt x="6218" y="7893"/>
                    <a:pt x="6186" y="7892"/>
                  </a:cubicBezTo>
                  <a:cubicBezTo>
                    <a:pt x="6153" y="7890"/>
                    <a:pt x="6124" y="7877"/>
                    <a:pt x="6102" y="7853"/>
                  </a:cubicBezTo>
                  <a:lnTo>
                    <a:pt x="5911" y="7644"/>
                  </a:lnTo>
                  <a:cubicBezTo>
                    <a:pt x="5874" y="7603"/>
                    <a:pt x="5814" y="7591"/>
                    <a:pt x="5764" y="7615"/>
                  </a:cubicBezTo>
                  <a:cubicBezTo>
                    <a:pt x="5645" y="7672"/>
                    <a:pt x="5519" y="7717"/>
                    <a:pt x="5392" y="7748"/>
                  </a:cubicBezTo>
                  <a:cubicBezTo>
                    <a:pt x="5337" y="7761"/>
                    <a:pt x="5298" y="7808"/>
                    <a:pt x="5296" y="7864"/>
                  </a:cubicBezTo>
                  <a:lnTo>
                    <a:pt x="5283" y="8149"/>
                  </a:lnTo>
                  <a:cubicBezTo>
                    <a:pt x="5281" y="8181"/>
                    <a:pt x="5267" y="8211"/>
                    <a:pt x="5243" y="8233"/>
                  </a:cubicBezTo>
                  <a:cubicBezTo>
                    <a:pt x="5219" y="8255"/>
                    <a:pt x="5188" y="8267"/>
                    <a:pt x="5156" y="8265"/>
                  </a:cubicBezTo>
                  <a:lnTo>
                    <a:pt x="4499" y="8235"/>
                  </a:lnTo>
                  <a:cubicBezTo>
                    <a:pt x="4433" y="8232"/>
                    <a:pt x="4381" y="8174"/>
                    <a:pt x="4383" y="8108"/>
                  </a:cubicBezTo>
                  <a:lnTo>
                    <a:pt x="4396" y="7824"/>
                  </a:lnTo>
                  <a:cubicBezTo>
                    <a:pt x="4399" y="7768"/>
                    <a:pt x="4364" y="7717"/>
                    <a:pt x="4312" y="7699"/>
                  </a:cubicBezTo>
                  <a:cubicBezTo>
                    <a:pt x="4184" y="7655"/>
                    <a:pt x="4064" y="7599"/>
                    <a:pt x="3953" y="7533"/>
                  </a:cubicBezTo>
                  <a:cubicBezTo>
                    <a:pt x="3905" y="7504"/>
                    <a:pt x="3844" y="7510"/>
                    <a:pt x="3803" y="7548"/>
                  </a:cubicBezTo>
                  <a:lnTo>
                    <a:pt x="3595" y="7739"/>
                  </a:lnTo>
                  <a:cubicBezTo>
                    <a:pt x="3545" y="7784"/>
                    <a:pt x="3468" y="7780"/>
                    <a:pt x="3423" y="7731"/>
                  </a:cubicBezTo>
                  <a:lnTo>
                    <a:pt x="2980" y="7246"/>
                  </a:lnTo>
                  <a:cubicBezTo>
                    <a:pt x="2958" y="7222"/>
                    <a:pt x="2947" y="7191"/>
                    <a:pt x="2948" y="7158"/>
                  </a:cubicBezTo>
                  <a:cubicBezTo>
                    <a:pt x="2950" y="7126"/>
                    <a:pt x="2964" y="7096"/>
                    <a:pt x="2987" y="7074"/>
                  </a:cubicBezTo>
                  <a:lnTo>
                    <a:pt x="3189" y="6891"/>
                  </a:lnTo>
                  <a:cubicBezTo>
                    <a:pt x="3230" y="6853"/>
                    <a:pt x="3241" y="6792"/>
                    <a:pt x="3216" y="6742"/>
                  </a:cubicBezTo>
                  <a:cubicBezTo>
                    <a:pt x="3156" y="6621"/>
                    <a:pt x="3108" y="6493"/>
                    <a:pt x="3075" y="6361"/>
                  </a:cubicBezTo>
                  <a:cubicBezTo>
                    <a:pt x="3061" y="6308"/>
                    <a:pt x="3014" y="6270"/>
                    <a:pt x="2959" y="6267"/>
                  </a:cubicBezTo>
                  <a:lnTo>
                    <a:pt x="2691" y="6255"/>
                  </a:lnTo>
                  <a:cubicBezTo>
                    <a:pt x="2659" y="6254"/>
                    <a:pt x="2629" y="6240"/>
                    <a:pt x="2607" y="6215"/>
                  </a:cubicBezTo>
                  <a:cubicBezTo>
                    <a:pt x="2585" y="6191"/>
                    <a:pt x="2574" y="6160"/>
                    <a:pt x="2575" y="6128"/>
                  </a:cubicBezTo>
                  <a:lnTo>
                    <a:pt x="2605" y="5472"/>
                  </a:lnTo>
                  <a:cubicBezTo>
                    <a:pt x="2607" y="5439"/>
                    <a:pt x="2621" y="5409"/>
                    <a:pt x="2645" y="5387"/>
                  </a:cubicBezTo>
                  <a:cubicBezTo>
                    <a:pt x="2669" y="5365"/>
                    <a:pt x="2700" y="5354"/>
                    <a:pt x="2732" y="5355"/>
                  </a:cubicBezTo>
                  <a:lnTo>
                    <a:pt x="2985" y="5367"/>
                  </a:lnTo>
                  <a:cubicBezTo>
                    <a:pt x="3041" y="5370"/>
                    <a:pt x="3093" y="5334"/>
                    <a:pt x="3110" y="5281"/>
                  </a:cubicBezTo>
                  <a:cubicBezTo>
                    <a:pt x="3154" y="5148"/>
                    <a:pt x="3212" y="5020"/>
                    <a:pt x="3284" y="4899"/>
                  </a:cubicBezTo>
                  <a:cubicBezTo>
                    <a:pt x="3312" y="4852"/>
                    <a:pt x="3306" y="4791"/>
                    <a:pt x="3269" y="4750"/>
                  </a:cubicBezTo>
                  <a:lnTo>
                    <a:pt x="3102" y="4567"/>
                  </a:lnTo>
                  <a:cubicBezTo>
                    <a:pt x="3080" y="4543"/>
                    <a:pt x="3069" y="4512"/>
                    <a:pt x="3070" y="4479"/>
                  </a:cubicBezTo>
                  <a:cubicBezTo>
                    <a:pt x="3072" y="4447"/>
                    <a:pt x="3086" y="4417"/>
                    <a:pt x="3109" y="4395"/>
                  </a:cubicBezTo>
                  <a:lnTo>
                    <a:pt x="3595" y="3952"/>
                  </a:lnTo>
                  <a:cubicBezTo>
                    <a:pt x="3619" y="3930"/>
                    <a:pt x="3650" y="3919"/>
                    <a:pt x="3682" y="3921"/>
                  </a:cubicBezTo>
                  <a:cubicBezTo>
                    <a:pt x="3715" y="3922"/>
                    <a:pt x="3745" y="3936"/>
                    <a:pt x="3766" y="3960"/>
                  </a:cubicBezTo>
                  <a:lnTo>
                    <a:pt x="3926" y="4135"/>
                  </a:lnTo>
                  <a:cubicBezTo>
                    <a:pt x="3964" y="4177"/>
                    <a:pt x="4025" y="4188"/>
                    <a:pt x="4076" y="4163"/>
                  </a:cubicBezTo>
                  <a:cubicBezTo>
                    <a:pt x="4202" y="4100"/>
                    <a:pt x="4338" y="4050"/>
                    <a:pt x="4479" y="4015"/>
                  </a:cubicBezTo>
                  <a:cubicBezTo>
                    <a:pt x="4533" y="4002"/>
                    <a:pt x="4572" y="3954"/>
                    <a:pt x="4575" y="3899"/>
                  </a:cubicBezTo>
                  <a:lnTo>
                    <a:pt x="4585" y="3664"/>
                  </a:lnTo>
                  <a:cubicBezTo>
                    <a:pt x="4586" y="3648"/>
                    <a:pt x="4590" y="3633"/>
                    <a:pt x="4597" y="3619"/>
                  </a:cubicBezTo>
                  <a:cubicBezTo>
                    <a:pt x="4998" y="4080"/>
                    <a:pt x="5589" y="4372"/>
                    <a:pt x="6247" y="4372"/>
                  </a:cubicBezTo>
                  <a:cubicBezTo>
                    <a:pt x="6383" y="4372"/>
                    <a:pt x="6517" y="4360"/>
                    <a:pt x="6646" y="4336"/>
                  </a:cubicBezTo>
                  <a:cubicBezTo>
                    <a:pt x="6655" y="4334"/>
                    <a:pt x="6664" y="4333"/>
                    <a:pt x="6673" y="4331"/>
                  </a:cubicBezTo>
                  <a:lnTo>
                    <a:pt x="6888" y="4567"/>
                  </a:lnTo>
                  <a:cubicBezTo>
                    <a:pt x="6933" y="4616"/>
                    <a:pt x="6930" y="4694"/>
                    <a:pt x="6880" y="4739"/>
                  </a:cubicBezTo>
                  <a:lnTo>
                    <a:pt x="6697" y="4906"/>
                  </a:lnTo>
                  <a:cubicBezTo>
                    <a:pt x="6656" y="4943"/>
                    <a:pt x="6645" y="5003"/>
                    <a:pt x="6669" y="5053"/>
                  </a:cubicBezTo>
                  <a:cubicBezTo>
                    <a:pt x="6729" y="5178"/>
                    <a:pt x="6775" y="5311"/>
                    <a:pt x="6807" y="5449"/>
                  </a:cubicBezTo>
                  <a:cubicBezTo>
                    <a:pt x="6820" y="5504"/>
                    <a:pt x="6867" y="5544"/>
                    <a:pt x="6924" y="5547"/>
                  </a:cubicBezTo>
                  <a:lnTo>
                    <a:pt x="7177" y="5558"/>
                  </a:lnTo>
                  <a:close/>
                  <a:moveTo>
                    <a:pt x="7177" y="555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83">
              <a:extLst>
                <a:ext uri="{FF2B5EF4-FFF2-40B4-BE49-F238E27FC236}">
                  <a16:creationId xmlns:a16="http://schemas.microsoft.com/office/drawing/2014/main" id="{1986E794-C437-4FD9-B765-BA169A811B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4" y="3538"/>
              <a:ext cx="50" cy="50"/>
            </a:xfrm>
            <a:custGeom>
              <a:avLst/>
              <a:gdLst>
                <a:gd name="T0" fmla="*/ 287 w 1507"/>
                <a:gd name="T1" fmla="*/ 174 h 1506"/>
                <a:gd name="T2" fmla="*/ 281 w 1507"/>
                <a:gd name="T3" fmla="*/ 179 h 1506"/>
                <a:gd name="T4" fmla="*/ 273 w 1507"/>
                <a:gd name="T5" fmla="*/ 186 h 1506"/>
                <a:gd name="T6" fmla="*/ 253 w 1507"/>
                <a:gd name="T7" fmla="*/ 204 h 1506"/>
                <a:gd name="T8" fmla="*/ 226 w 1507"/>
                <a:gd name="T9" fmla="*/ 230 h 1506"/>
                <a:gd name="T10" fmla="*/ 218 w 1507"/>
                <a:gd name="T11" fmla="*/ 237 h 1506"/>
                <a:gd name="T12" fmla="*/ 200 w 1507"/>
                <a:gd name="T13" fmla="*/ 257 h 1506"/>
                <a:gd name="T14" fmla="*/ 179 w 1507"/>
                <a:gd name="T15" fmla="*/ 281 h 1506"/>
                <a:gd name="T16" fmla="*/ 176 w 1507"/>
                <a:gd name="T17" fmla="*/ 285 h 1506"/>
                <a:gd name="T18" fmla="*/ 156 w 1507"/>
                <a:gd name="T19" fmla="*/ 311 h 1506"/>
                <a:gd name="T20" fmla="*/ 154 w 1507"/>
                <a:gd name="T21" fmla="*/ 314 h 1506"/>
                <a:gd name="T22" fmla="*/ 137 w 1507"/>
                <a:gd name="T23" fmla="*/ 337 h 1506"/>
                <a:gd name="T24" fmla="*/ 133 w 1507"/>
                <a:gd name="T25" fmla="*/ 344 h 1506"/>
                <a:gd name="T26" fmla="*/ 118 w 1507"/>
                <a:gd name="T27" fmla="*/ 366 h 1506"/>
                <a:gd name="T28" fmla="*/ 113 w 1507"/>
                <a:gd name="T29" fmla="*/ 375 h 1506"/>
                <a:gd name="T30" fmla="*/ 42 w 1507"/>
                <a:gd name="T31" fmla="*/ 535 h 1506"/>
                <a:gd name="T32" fmla="*/ 40 w 1507"/>
                <a:gd name="T33" fmla="*/ 541 h 1506"/>
                <a:gd name="T34" fmla="*/ 16 w 1507"/>
                <a:gd name="T35" fmla="*/ 648 h 1506"/>
                <a:gd name="T36" fmla="*/ 16 w 1507"/>
                <a:gd name="T37" fmla="*/ 649 h 1506"/>
                <a:gd name="T38" fmla="*/ 14 w 1507"/>
                <a:gd name="T39" fmla="*/ 665 h 1506"/>
                <a:gd name="T40" fmla="*/ 9 w 1507"/>
                <a:gd name="T41" fmla="*/ 723 h 1506"/>
                <a:gd name="T42" fmla="*/ 204 w 1507"/>
                <a:gd name="T43" fmla="*/ 1262 h 1506"/>
                <a:gd name="T44" fmla="*/ 759 w 1507"/>
                <a:gd name="T45" fmla="*/ 1506 h 1506"/>
                <a:gd name="T46" fmla="*/ 1263 w 1507"/>
                <a:gd name="T47" fmla="*/ 1311 h 1506"/>
                <a:gd name="T48" fmla="*/ 1291 w 1507"/>
                <a:gd name="T49" fmla="*/ 1284 h 1506"/>
                <a:gd name="T50" fmla="*/ 1507 w 1507"/>
                <a:gd name="T51" fmla="*/ 755 h 1506"/>
                <a:gd name="T52" fmla="*/ 1402 w 1507"/>
                <a:gd name="T53" fmla="*/ 374 h 1506"/>
                <a:gd name="T54" fmla="*/ 1311 w 1507"/>
                <a:gd name="T55" fmla="*/ 252 h 1506"/>
                <a:gd name="T56" fmla="*/ 792 w 1507"/>
                <a:gd name="T57" fmla="*/ 9 h 1506"/>
                <a:gd name="T58" fmla="*/ 287 w 1507"/>
                <a:gd name="T59" fmla="*/ 174 h 1506"/>
                <a:gd name="T60" fmla="*/ 1126 w 1507"/>
                <a:gd name="T61" fmla="*/ 421 h 1506"/>
                <a:gd name="T62" fmla="*/ 1094 w 1507"/>
                <a:gd name="T63" fmla="*/ 1125 h 1506"/>
                <a:gd name="T64" fmla="*/ 390 w 1507"/>
                <a:gd name="T65" fmla="*/ 1093 h 1506"/>
                <a:gd name="T66" fmla="*/ 261 w 1507"/>
                <a:gd name="T67" fmla="*/ 784 h 1506"/>
                <a:gd name="T68" fmla="*/ 260 w 1507"/>
                <a:gd name="T69" fmla="*/ 735 h 1506"/>
                <a:gd name="T70" fmla="*/ 422 w 1507"/>
                <a:gd name="T71" fmla="*/ 390 h 1506"/>
                <a:gd name="T72" fmla="*/ 422 w 1507"/>
                <a:gd name="T73" fmla="*/ 390 h 1506"/>
                <a:gd name="T74" fmla="*/ 758 w 1507"/>
                <a:gd name="T75" fmla="*/ 259 h 1506"/>
                <a:gd name="T76" fmla="*/ 781 w 1507"/>
                <a:gd name="T77" fmla="*/ 260 h 1506"/>
                <a:gd name="T78" fmla="*/ 1126 w 1507"/>
                <a:gd name="T79" fmla="*/ 421 h 1506"/>
                <a:gd name="T80" fmla="*/ 1126 w 1507"/>
                <a:gd name="T81" fmla="*/ 421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7" h="1506">
                  <a:moveTo>
                    <a:pt x="287" y="174"/>
                  </a:moveTo>
                  <a:cubicBezTo>
                    <a:pt x="285" y="176"/>
                    <a:pt x="283" y="178"/>
                    <a:pt x="281" y="179"/>
                  </a:cubicBezTo>
                  <a:cubicBezTo>
                    <a:pt x="278" y="182"/>
                    <a:pt x="276" y="184"/>
                    <a:pt x="273" y="186"/>
                  </a:cubicBezTo>
                  <a:cubicBezTo>
                    <a:pt x="266" y="192"/>
                    <a:pt x="260" y="198"/>
                    <a:pt x="253" y="204"/>
                  </a:cubicBezTo>
                  <a:cubicBezTo>
                    <a:pt x="244" y="212"/>
                    <a:pt x="235" y="221"/>
                    <a:pt x="226" y="230"/>
                  </a:cubicBezTo>
                  <a:cubicBezTo>
                    <a:pt x="223" y="232"/>
                    <a:pt x="221" y="235"/>
                    <a:pt x="218" y="237"/>
                  </a:cubicBezTo>
                  <a:cubicBezTo>
                    <a:pt x="212" y="244"/>
                    <a:pt x="206" y="250"/>
                    <a:pt x="200" y="257"/>
                  </a:cubicBezTo>
                  <a:cubicBezTo>
                    <a:pt x="193" y="265"/>
                    <a:pt x="186" y="273"/>
                    <a:pt x="179" y="281"/>
                  </a:cubicBezTo>
                  <a:cubicBezTo>
                    <a:pt x="178" y="282"/>
                    <a:pt x="177" y="283"/>
                    <a:pt x="176" y="285"/>
                  </a:cubicBezTo>
                  <a:cubicBezTo>
                    <a:pt x="169" y="293"/>
                    <a:pt x="162" y="302"/>
                    <a:pt x="156" y="311"/>
                  </a:cubicBezTo>
                  <a:cubicBezTo>
                    <a:pt x="155" y="312"/>
                    <a:pt x="154" y="313"/>
                    <a:pt x="154" y="314"/>
                  </a:cubicBezTo>
                  <a:cubicBezTo>
                    <a:pt x="148" y="322"/>
                    <a:pt x="143" y="329"/>
                    <a:pt x="137" y="337"/>
                  </a:cubicBezTo>
                  <a:cubicBezTo>
                    <a:pt x="136" y="339"/>
                    <a:pt x="134" y="342"/>
                    <a:pt x="133" y="344"/>
                  </a:cubicBezTo>
                  <a:cubicBezTo>
                    <a:pt x="128" y="351"/>
                    <a:pt x="123" y="359"/>
                    <a:pt x="118" y="366"/>
                  </a:cubicBezTo>
                  <a:cubicBezTo>
                    <a:pt x="117" y="369"/>
                    <a:pt x="115" y="372"/>
                    <a:pt x="113" y="375"/>
                  </a:cubicBezTo>
                  <a:cubicBezTo>
                    <a:pt x="83" y="425"/>
                    <a:pt x="59" y="479"/>
                    <a:pt x="42" y="535"/>
                  </a:cubicBezTo>
                  <a:cubicBezTo>
                    <a:pt x="41" y="537"/>
                    <a:pt x="41" y="539"/>
                    <a:pt x="40" y="541"/>
                  </a:cubicBezTo>
                  <a:cubicBezTo>
                    <a:pt x="30" y="576"/>
                    <a:pt x="22" y="612"/>
                    <a:pt x="16" y="648"/>
                  </a:cubicBezTo>
                  <a:cubicBezTo>
                    <a:pt x="16" y="648"/>
                    <a:pt x="16" y="649"/>
                    <a:pt x="16" y="649"/>
                  </a:cubicBezTo>
                  <a:cubicBezTo>
                    <a:pt x="15" y="654"/>
                    <a:pt x="15" y="660"/>
                    <a:pt x="14" y="665"/>
                  </a:cubicBezTo>
                  <a:cubicBezTo>
                    <a:pt x="12" y="684"/>
                    <a:pt x="10" y="704"/>
                    <a:pt x="9" y="723"/>
                  </a:cubicBezTo>
                  <a:cubicBezTo>
                    <a:pt x="0" y="923"/>
                    <a:pt x="69" y="1115"/>
                    <a:pt x="204" y="1262"/>
                  </a:cubicBezTo>
                  <a:cubicBezTo>
                    <a:pt x="352" y="1424"/>
                    <a:pt x="555" y="1506"/>
                    <a:pt x="759" y="1506"/>
                  </a:cubicBezTo>
                  <a:cubicBezTo>
                    <a:pt x="939" y="1506"/>
                    <a:pt x="1120" y="1442"/>
                    <a:pt x="1263" y="1311"/>
                  </a:cubicBezTo>
                  <a:cubicBezTo>
                    <a:pt x="1273" y="1302"/>
                    <a:pt x="1282" y="1293"/>
                    <a:pt x="1291" y="1284"/>
                  </a:cubicBezTo>
                  <a:cubicBezTo>
                    <a:pt x="1435" y="1139"/>
                    <a:pt x="1507" y="947"/>
                    <a:pt x="1507" y="755"/>
                  </a:cubicBezTo>
                  <a:cubicBezTo>
                    <a:pt x="1507" y="623"/>
                    <a:pt x="1472" y="491"/>
                    <a:pt x="1402" y="374"/>
                  </a:cubicBezTo>
                  <a:cubicBezTo>
                    <a:pt x="1376" y="331"/>
                    <a:pt x="1346" y="290"/>
                    <a:pt x="1311" y="252"/>
                  </a:cubicBezTo>
                  <a:cubicBezTo>
                    <a:pt x="1176" y="104"/>
                    <a:pt x="992" y="18"/>
                    <a:pt x="792" y="9"/>
                  </a:cubicBezTo>
                  <a:cubicBezTo>
                    <a:pt x="607" y="0"/>
                    <a:pt x="430" y="59"/>
                    <a:pt x="287" y="174"/>
                  </a:cubicBezTo>
                  <a:close/>
                  <a:moveTo>
                    <a:pt x="1126" y="421"/>
                  </a:moveTo>
                  <a:cubicBezTo>
                    <a:pt x="1311" y="624"/>
                    <a:pt x="1297" y="940"/>
                    <a:pt x="1094" y="1125"/>
                  </a:cubicBezTo>
                  <a:cubicBezTo>
                    <a:pt x="891" y="1310"/>
                    <a:pt x="575" y="1296"/>
                    <a:pt x="390" y="1093"/>
                  </a:cubicBezTo>
                  <a:cubicBezTo>
                    <a:pt x="312" y="1007"/>
                    <a:pt x="267" y="899"/>
                    <a:pt x="261" y="784"/>
                  </a:cubicBezTo>
                  <a:cubicBezTo>
                    <a:pt x="260" y="768"/>
                    <a:pt x="260" y="751"/>
                    <a:pt x="260" y="735"/>
                  </a:cubicBezTo>
                  <a:cubicBezTo>
                    <a:pt x="266" y="602"/>
                    <a:pt x="324" y="479"/>
                    <a:pt x="422" y="390"/>
                  </a:cubicBezTo>
                  <a:cubicBezTo>
                    <a:pt x="422" y="390"/>
                    <a:pt x="422" y="390"/>
                    <a:pt x="422" y="390"/>
                  </a:cubicBezTo>
                  <a:cubicBezTo>
                    <a:pt x="515" y="305"/>
                    <a:pt x="633" y="259"/>
                    <a:pt x="758" y="259"/>
                  </a:cubicBezTo>
                  <a:cubicBezTo>
                    <a:pt x="765" y="259"/>
                    <a:pt x="773" y="259"/>
                    <a:pt x="781" y="260"/>
                  </a:cubicBezTo>
                  <a:cubicBezTo>
                    <a:pt x="914" y="266"/>
                    <a:pt x="1036" y="323"/>
                    <a:pt x="1126" y="421"/>
                  </a:cubicBezTo>
                  <a:close/>
                  <a:moveTo>
                    <a:pt x="1126" y="42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84">
              <a:extLst>
                <a:ext uri="{FF2B5EF4-FFF2-40B4-BE49-F238E27FC236}">
                  <a16:creationId xmlns:a16="http://schemas.microsoft.com/office/drawing/2014/main" id="{DEC9399F-2D14-4996-BED0-0D9C02EE5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10" y="3388"/>
              <a:ext cx="105" cy="105"/>
            </a:xfrm>
            <a:custGeom>
              <a:avLst/>
              <a:gdLst>
                <a:gd name="T0" fmla="*/ 1583 w 3166"/>
                <a:gd name="T1" fmla="*/ 0 h 3166"/>
                <a:gd name="T2" fmla="*/ 0 w 3166"/>
                <a:gd name="T3" fmla="*/ 1583 h 3166"/>
                <a:gd name="T4" fmla="*/ 1583 w 3166"/>
                <a:gd name="T5" fmla="*/ 3166 h 3166"/>
                <a:gd name="T6" fmla="*/ 3166 w 3166"/>
                <a:gd name="T7" fmla="*/ 1583 h 3166"/>
                <a:gd name="T8" fmla="*/ 1583 w 3166"/>
                <a:gd name="T9" fmla="*/ 0 h 3166"/>
                <a:gd name="T10" fmla="*/ 2855 w 3166"/>
                <a:gd name="T11" fmla="*/ 1709 h 3166"/>
                <a:gd name="T12" fmla="*/ 2908 w 3166"/>
                <a:gd name="T13" fmla="*/ 1709 h 3166"/>
                <a:gd name="T14" fmla="*/ 1709 w 3166"/>
                <a:gd name="T15" fmla="*/ 2909 h 3166"/>
                <a:gd name="T16" fmla="*/ 1709 w 3166"/>
                <a:gd name="T17" fmla="*/ 2855 h 3166"/>
                <a:gd name="T18" fmla="*/ 1583 w 3166"/>
                <a:gd name="T19" fmla="*/ 2729 h 3166"/>
                <a:gd name="T20" fmla="*/ 1457 w 3166"/>
                <a:gd name="T21" fmla="*/ 2855 h 3166"/>
                <a:gd name="T22" fmla="*/ 1457 w 3166"/>
                <a:gd name="T23" fmla="*/ 2909 h 3166"/>
                <a:gd name="T24" fmla="*/ 258 w 3166"/>
                <a:gd name="T25" fmla="*/ 1709 h 3166"/>
                <a:gd name="T26" fmla="*/ 311 w 3166"/>
                <a:gd name="T27" fmla="*/ 1709 h 3166"/>
                <a:gd name="T28" fmla="*/ 437 w 3166"/>
                <a:gd name="T29" fmla="*/ 1583 h 3166"/>
                <a:gd name="T30" fmla="*/ 311 w 3166"/>
                <a:gd name="T31" fmla="*/ 1458 h 3166"/>
                <a:gd name="T32" fmla="*/ 258 w 3166"/>
                <a:gd name="T33" fmla="*/ 1458 h 3166"/>
                <a:gd name="T34" fmla="*/ 1457 w 3166"/>
                <a:gd name="T35" fmla="*/ 258 h 3166"/>
                <a:gd name="T36" fmla="*/ 1457 w 3166"/>
                <a:gd name="T37" fmla="*/ 312 h 3166"/>
                <a:gd name="T38" fmla="*/ 1583 w 3166"/>
                <a:gd name="T39" fmla="*/ 437 h 3166"/>
                <a:gd name="T40" fmla="*/ 1709 w 3166"/>
                <a:gd name="T41" fmla="*/ 312 h 3166"/>
                <a:gd name="T42" fmla="*/ 1709 w 3166"/>
                <a:gd name="T43" fmla="*/ 258 h 3166"/>
                <a:gd name="T44" fmla="*/ 2908 w 3166"/>
                <a:gd name="T45" fmla="*/ 1458 h 3166"/>
                <a:gd name="T46" fmla="*/ 2855 w 3166"/>
                <a:gd name="T47" fmla="*/ 1458 h 3166"/>
                <a:gd name="T48" fmla="*/ 2729 w 3166"/>
                <a:gd name="T49" fmla="*/ 1583 h 3166"/>
                <a:gd name="T50" fmla="*/ 2855 w 3166"/>
                <a:gd name="T51" fmla="*/ 1709 h 3166"/>
                <a:gd name="T52" fmla="*/ 2855 w 3166"/>
                <a:gd name="T53" fmla="*/ 1709 h 3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66" h="3166">
                  <a:moveTo>
                    <a:pt x="1583" y="0"/>
                  </a:moveTo>
                  <a:cubicBezTo>
                    <a:pt x="710" y="0"/>
                    <a:pt x="0" y="711"/>
                    <a:pt x="0" y="1583"/>
                  </a:cubicBezTo>
                  <a:cubicBezTo>
                    <a:pt x="0" y="2456"/>
                    <a:pt x="710" y="3166"/>
                    <a:pt x="1583" y="3166"/>
                  </a:cubicBezTo>
                  <a:cubicBezTo>
                    <a:pt x="2456" y="3166"/>
                    <a:pt x="3166" y="2456"/>
                    <a:pt x="3166" y="1583"/>
                  </a:cubicBezTo>
                  <a:cubicBezTo>
                    <a:pt x="3166" y="711"/>
                    <a:pt x="2456" y="0"/>
                    <a:pt x="1583" y="0"/>
                  </a:cubicBezTo>
                  <a:close/>
                  <a:moveTo>
                    <a:pt x="2855" y="1709"/>
                  </a:moveTo>
                  <a:lnTo>
                    <a:pt x="2908" y="1709"/>
                  </a:lnTo>
                  <a:cubicBezTo>
                    <a:pt x="2848" y="2343"/>
                    <a:pt x="2343" y="2849"/>
                    <a:pt x="1709" y="2909"/>
                  </a:cubicBezTo>
                  <a:lnTo>
                    <a:pt x="1709" y="2855"/>
                  </a:lnTo>
                  <a:cubicBezTo>
                    <a:pt x="1709" y="2786"/>
                    <a:pt x="1652" y="2729"/>
                    <a:pt x="1583" y="2729"/>
                  </a:cubicBezTo>
                  <a:cubicBezTo>
                    <a:pt x="1513" y="2729"/>
                    <a:pt x="1457" y="2786"/>
                    <a:pt x="1457" y="2855"/>
                  </a:cubicBezTo>
                  <a:lnTo>
                    <a:pt x="1457" y="2909"/>
                  </a:lnTo>
                  <a:cubicBezTo>
                    <a:pt x="823" y="2849"/>
                    <a:pt x="317" y="2343"/>
                    <a:pt x="258" y="1709"/>
                  </a:cubicBezTo>
                  <a:lnTo>
                    <a:pt x="311" y="1709"/>
                  </a:lnTo>
                  <a:cubicBezTo>
                    <a:pt x="381" y="1709"/>
                    <a:pt x="437" y="1653"/>
                    <a:pt x="437" y="1583"/>
                  </a:cubicBezTo>
                  <a:cubicBezTo>
                    <a:pt x="437" y="1514"/>
                    <a:pt x="381" y="1458"/>
                    <a:pt x="311" y="1458"/>
                  </a:cubicBezTo>
                  <a:lnTo>
                    <a:pt x="258" y="1458"/>
                  </a:lnTo>
                  <a:cubicBezTo>
                    <a:pt x="317" y="824"/>
                    <a:pt x="823" y="317"/>
                    <a:pt x="1457" y="258"/>
                  </a:cubicBezTo>
                  <a:lnTo>
                    <a:pt x="1457" y="312"/>
                  </a:lnTo>
                  <a:cubicBezTo>
                    <a:pt x="1457" y="381"/>
                    <a:pt x="1513" y="437"/>
                    <a:pt x="1583" y="437"/>
                  </a:cubicBezTo>
                  <a:cubicBezTo>
                    <a:pt x="1652" y="437"/>
                    <a:pt x="1709" y="381"/>
                    <a:pt x="1709" y="312"/>
                  </a:cubicBezTo>
                  <a:lnTo>
                    <a:pt x="1709" y="258"/>
                  </a:lnTo>
                  <a:cubicBezTo>
                    <a:pt x="2343" y="317"/>
                    <a:pt x="2848" y="824"/>
                    <a:pt x="2908" y="1458"/>
                  </a:cubicBezTo>
                  <a:lnTo>
                    <a:pt x="2855" y="1458"/>
                  </a:lnTo>
                  <a:cubicBezTo>
                    <a:pt x="2785" y="1458"/>
                    <a:pt x="2729" y="1514"/>
                    <a:pt x="2729" y="1583"/>
                  </a:cubicBezTo>
                  <a:cubicBezTo>
                    <a:pt x="2729" y="1653"/>
                    <a:pt x="2785" y="1709"/>
                    <a:pt x="2855" y="1709"/>
                  </a:cubicBezTo>
                  <a:close/>
                  <a:moveTo>
                    <a:pt x="2855" y="170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85">
              <a:extLst>
                <a:ext uri="{FF2B5EF4-FFF2-40B4-BE49-F238E27FC236}">
                  <a16:creationId xmlns:a16="http://schemas.microsoft.com/office/drawing/2014/main" id="{17516589-5A9A-46B7-99A6-2BDADE0D1D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4" y="3416"/>
              <a:ext cx="23" cy="36"/>
            </a:xfrm>
            <a:custGeom>
              <a:avLst/>
              <a:gdLst>
                <a:gd name="T0" fmla="*/ 543 w 669"/>
                <a:gd name="T1" fmla="*/ 0 h 1086"/>
                <a:gd name="T2" fmla="*/ 417 w 669"/>
                <a:gd name="T3" fmla="*/ 125 h 1086"/>
                <a:gd name="T4" fmla="*/ 417 w 669"/>
                <a:gd name="T5" fmla="*/ 834 h 1086"/>
                <a:gd name="T6" fmla="*/ 126 w 669"/>
                <a:gd name="T7" fmla="*/ 834 h 1086"/>
                <a:gd name="T8" fmla="*/ 0 w 669"/>
                <a:gd name="T9" fmla="*/ 960 h 1086"/>
                <a:gd name="T10" fmla="*/ 126 w 669"/>
                <a:gd name="T11" fmla="*/ 1086 h 1086"/>
                <a:gd name="T12" fmla="*/ 543 w 669"/>
                <a:gd name="T13" fmla="*/ 1086 h 1086"/>
                <a:gd name="T14" fmla="*/ 669 w 669"/>
                <a:gd name="T15" fmla="*/ 960 h 1086"/>
                <a:gd name="T16" fmla="*/ 669 w 669"/>
                <a:gd name="T17" fmla="*/ 125 h 1086"/>
                <a:gd name="T18" fmla="*/ 543 w 669"/>
                <a:gd name="T19" fmla="*/ 0 h 1086"/>
                <a:gd name="T20" fmla="*/ 543 w 669"/>
                <a:gd name="T21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9" h="1086">
                  <a:moveTo>
                    <a:pt x="543" y="0"/>
                  </a:moveTo>
                  <a:cubicBezTo>
                    <a:pt x="473" y="0"/>
                    <a:pt x="417" y="56"/>
                    <a:pt x="417" y="125"/>
                  </a:cubicBezTo>
                  <a:lnTo>
                    <a:pt x="417" y="834"/>
                  </a:lnTo>
                  <a:lnTo>
                    <a:pt x="126" y="834"/>
                  </a:lnTo>
                  <a:cubicBezTo>
                    <a:pt x="56" y="834"/>
                    <a:pt x="0" y="891"/>
                    <a:pt x="0" y="960"/>
                  </a:cubicBezTo>
                  <a:cubicBezTo>
                    <a:pt x="0" y="1029"/>
                    <a:pt x="56" y="1086"/>
                    <a:pt x="126" y="1086"/>
                  </a:cubicBezTo>
                  <a:lnTo>
                    <a:pt x="543" y="1086"/>
                  </a:lnTo>
                  <a:cubicBezTo>
                    <a:pt x="612" y="1086"/>
                    <a:pt x="669" y="1029"/>
                    <a:pt x="669" y="960"/>
                  </a:cubicBezTo>
                  <a:lnTo>
                    <a:pt x="669" y="125"/>
                  </a:lnTo>
                  <a:cubicBezTo>
                    <a:pt x="669" y="56"/>
                    <a:pt x="612" y="0"/>
                    <a:pt x="543" y="0"/>
                  </a:cubicBezTo>
                  <a:close/>
                  <a:moveTo>
                    <a:pt x="543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" name="Group 248">
            <a:extLst>
              <a:ext uri="{FF2B5EF4-FFF2-40B4-BE49-F238E27FC236}">
                <a16:creationId xmlns:a16="http://schemas.microsoft.com/office/drawing/2014/main" id="{1CFE1CBE-82E6-4AFF-AC7F-37EF6F8FCCF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6153" y="2142579"/>
            <a:ext cx="584897" cy="530671"/>
            <a:chOff x="1780" y="300"/>
            <a:chExt cx="4088" cy="3709"/>
          </a:xfrm>
          <a:solidFill>
            <a:schemeClr val="bg2">
              <a:lumMod val="25000"/>
            </a:schemeClr>
          </a:solidFill>
        </p:grpSpPr>
        <p:sp>
          <p:nvSpPr>
            <p:cNvPr id="25" name="Freeform 249">
              <a:extLst>
                <a:ext uri="{FF2B5EF4-FFF2-40B4-BE49-F238E27FC236}">
                  <a16:creationId xmlns:a16="http://schemas.microsoft.com/office/drawing/2014/main" id="{3B0E4DAA-8661-483A-AD7E-D63A1F8B05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0" y="300"/>
              <a:ext cx="4088" cy="3709"/>
            </a:xfrm>
            <a:custGeom>
              <a:avLst/>
              <a:gdLst>
                <a:gd name="T0" fmla="*/ 7231 w 8517"/>
                <a:gd name="T1" fmla="*/ 2632 h 7729"/>
                <a:gd name="T2" fmla="*/ 5932 w 8517"/>
                <a:gd name="T3" fmla="*/ 1311 h 7729"/>
                <a:gd name="T4" fmla="*/ 4661 w 8517"/>
                <a:gd name="T5" fmla="*/ 0 h 7729"/>
                <a:gd name="T6" fmla="*/ 2630 w 8517"/>
                <a:gd name="T7" fmla="*/ 1317 h 7729"/>
                <a:gd name="T8" fmla="*/ 941 w 8517"/>
                <a:gd name="T9" fmla="*/ 2243 h 7729"/>
                <a:gd name="T10" fmla="*/ 480 w 8517"/>
                <a:gd name="T11" fmla="*/ 3397 h 7729"/>
                <a:gd name="T12" fmla="*/ 1042 w 8517"/>
                <a:gd name="T13" fmla="*/ 5238 h 7729"/>
                <a:gd name="T14" fmla="*/ 1532 w 8517"/>
                <a:gd name="T15" fmla="*/ 7555 h 7729"/>
                <a:gd name="T16" fmla="*/ 2332 w 8517"/>
                <a:gd name="T17" fmla="*/ 6226 h 7729"/>
                <a:gd name="T18" fmla="*/ 2776 w 8517"/>
                <a:gd name="T19" fmla="*/ 7229 h 7729"/>
                <a:gd name="T20" fmla="*/ 3633 w 8517"/>
                <a:gd name="T21" fmla="*/ 7233 h 7729"/>
                <a:gd name="T22" fmla="*/ 4081 w 8517"/>
                <a:gd name="T23" fmla="*/ 6226 h 7729"/>
                <a:gd name="T24" fmla="*/ 4546 w 8517"/>
                <a:gd name="T25" fmla="*/ 7605 h 7729"/>
                <a:gd name="T26" fmla="*/ 4747 w 8517"/>
                <a:gd name="T27" fmla="*/ 6576 h 7729"/>
                <a:gd name="T28" fmla="*/ 5191 w 8517"/>
                <a:gd name="T29" fmla="*/ 7198 h 7729"/>
                <a:gd name="T30" fmla="*/ 5661 w 8517"/>
                <a:gd name="T31" fmla="*/ 7610 h 7729"/>
                <a:gd name="T32" fmla="*/ 6076 w 8517"/>
                <a:gd name="T33" fmla="*/ 6435 h 7729"/>
                <a:gd name="T34" fmla="*/ 6658 w 8517"/>
                <a:gd name="T35" fmla="*/ 7599 h 7729"/>
                <a:gd name="T36" fmla="*/ 7540 w 8517"/>
                <a:gd name="T37" fmla="*/ 6322 h 7729"/>
                <a:gd name="T38" fmla="*/ 8029 w 8517"/>
                <a:gd name="T39" fmla="*/ 5179 h 7729"/>
                <a:gd name="T40" fmla="*/ 3016 w 8517"/>
                <a:gd name="T41" fmla="*/ 3937 h 7729"/>
                <a:gd name="T42" fmla="*/ 3475 w 8517"/>
                <a:gd name="T43" fmla="*/ 3641 h 7729"/>
                <a:gd name="T44" fmla="*/ 3784 w 8517"/>
                <a:gd name="T45" fmla="*/ 4446 h 7729"/>
                <a:gd name="T46" fmla="*/ 2750 w 8517"/>
                <a:gd name="T47" fmla="*/ 5038 h 7729"/>
                <a:gd name="T48" fmla="*/ 2972 w 8517"/>
                <a:gd name="T49" fmla="*/ 5611 h 7729"/>
                <a:gd name="T50" fmla="*/ 3491 w 8517"/>
                <a:gd name="T51" fmla="*/ 5842 h 7729"/>
                <a:gd name="T52" fmla="*/ 3403 w 8517"/>
                <a:gd name="T53" fmla="*/ 7111 h 7729"/>
                <a:gd name="T54" fmla="*/ 5141 w 8517"/>
                <a:gd name="T55" fmla="*/ 4717 h 7729"/>
                <a:gd name="T56" fmla="*/ 6031 w 8517"/>
                <a:gd name="T57" fmla="*/ 4794 h 7729"/>
                <a:gd name="T58" fmla="*/ 5944 w 8517"/>
                <a:gd name="T59" fmla="*/ 5500 h 7729"/>
                <a:gd name="T60" fmla="*/ 5141 w 8517"/>
                <a:gd name="T61" fmla="*/ 4998 h 7729"/>
                <a:gd name="T62" fmla="*/ 5586 w 8517"/>
                <a:gd name="T63" fmla="*/ 5937 h 7729"/>
                <a:gd name="T64" fmla="*/ 5577 w 8517"/>
                <a:gd name="T65" fmla="*/ 7340 h 7729"/>
                <a:gd name="T66" fmla="*/ 8268 w 8517"/>
                <a:gd name="T67" fmla="*/ 4661 h 7729"/>
                <a:gd name="T68" fmla="*/ 7017 w 8517"/>
                <a:gd name="T69" fmla="*/ 6095 h 7729"/>
                <a:gd name="T70" fmla="*/ 6368 w 8517"/>
                <a:gd name="T71" fmla="*/ 6270 h 7729"/>
                <a:gd name="T72" fmla="*/ 6011 w 8517"/>
                <a:gd name="T73" fmla="*/ 6049 h 7729"/>
                <a:gd name="T74" fmla="*/ 6281 w 8517"/>
                <a:gd name="T75" fmla="*/ 4967 h 7729"/>
                <a:gd name="T76" fmla="*/ 4891 w 8517"/>
                <a:gd name="T77" fmla="*/ 4636 h 7729"/>
                <a:gd name="T78" fmla="*/ 5169 w 8517"/>
                <a:gd name="T79" fmla="*/ 5756 h 7729"/>
                <a:gd name="T80" fmla="*/ 4635 w 8517"/>
                <a:gd name="T81" fmla="*/ 6351 h 7729"/>
                <a:gd name="T82" fmla="*/ 3690 w 8517"/>
                <a:gd name="T83" fmla="*/ 5313 h 7729"/>
                <a:gd name="T84" fmla="*/ 4033 w 8517"/>
                <a:gd name="T85" fmla="*/ 3950 h 7729"/>
                <a:gd name="T86" fmla="*/ 2380 w 8517"/>
                <a:gd name="T87" fmla="*/ 4301 h 7729"/>
                <a:gd name="T88" fmla="*/ 2625 w 8517"/>
                <a:gd name="T89" fmla="*/ 5835 h 7729"/>
                <a:gd name="T90" fmla="*/ 1181 w 8517"/>
                <a:gd name="T91" fmla="*/ 6850 h 7729"/>
                <a:gd name="T92" fmla="*/ 1021 w 8517"/>
                <a:gd name="T93" fmla="*/ 4962 h 7729"/>
                <a:gd name="T94" fmla="*/ 1010 w 8517"/>
                <a:gd name="T95" fmla="*/ 3607 h 7729"/>
                <a:gd name="T96" fmla="*/ 1140 w 8517"/>
                <a:gd name="T97" fmla="*/ 1708 h 7729"/>
                <a:gd name="T98" fmla="*/ 3399 w 8517"/>
                <a:gd name="T99" fmla="*/ 1266 h 7729"/>
                <a:gd name="T100" fmla="*/ 4930 w 8517"/>
                <a:gd name="T101" fmla="*/ 503 h 7729"/>
                <a:gd name="T102" fmla="*/ 6484 w 8517"/>
                <a:gd name="T103" fmla="*/ 1167 h 7729"/>
                <a:gd name="T104" fmla="*/ 7006 w 8517"/>
                <a:gd name="T105" fmla="*/ 2795 h 7729"/>
                <a:gd name="T106" fmla="*/ 8268 w 8517"/>
                <a:gd name="T107" fmla="*/ 4661 h 7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17" h="7729">
                  <a:moveTo>
                    <a:pt x="8037" y="3397"/>
                  </a:moveTo>
                  <a:lnTo>
                    <a:pt x="7526" y="3358"/>
                  </a:lnTo>
                  <a:cubicBezTo>
                    <a:pt x="7509" y="3357"/>
                    <a:pt x="7495" y="3346"/>
                    <a:pt x="7491" y="3330"/>
                  </a:cubicBezTo>
                  <a:cubicBezTo>
                    <a:pt x="7426" y="3105"/>
                    <a:pt x="7337" y="2885"/>
                    <a:pt x="7226" y="2677"/>
                  </a:cubicBezTo>
                  <a:cubicBezTo>
                    <a:pt x="7218" y="2663"/>
                    <a:pt x="7220" y="2645"/>
                    <a:pt x="7231" y="2632"/>
                  </a:cubicBezTo>
                  <a:lnTo>
                    <a:pt x="7576" y="2243"/>
                  </a:lnTo>
                  <a:cubicBezTo>
                    <a:pt x="7757" y="2038"/>
                    <a:pt x="7748" y="1726"/>
                    <a:pt x="7554" y="1532"/>
                  </a:cubicBezTo>
                  <a:lnTo>
                    <a:pt x="7027" y="1004"/>
                  </a:lnTo>
                  <a:cubicBezTo>
                    <a:pt x="6836" y="814"/>
                    <a:pt x="6526" y="802"/>
                    <a:pt x="6321" y="977"/>
                  </a:cubicBezTo>
                  <a:lnTo>
                    <a:pt x="5932" y="1311"/>
                  </a:lnTo>
                  <a:cubicBezTo>
                    <a:pt x="5920" y="1322"/>
                    <a:pt x="5901" y="1324"/>
                    <a:pt x="5887" y="1316"/>
                  </a:cubicBezTo>
                  <a:cubicBezTo>
                    <a:pt x="5682" y="1202"/>
                    <a:pt x="5463" y="1110"/>
                    <a:pt x="5238" y="1042"/>
                  </a:cubicBezTo>
                  <a:cubicBezTo>
                    <a:pt x="5223" y="1037"/>
                    <a:pt x="5212" y="1022"/>
                    <a:pt x="5211" y="1006"/>
                  </a:cubicBezTo>
                  <a:lnTo>
                    <a:pt x="5179" y="488"/>
                  </a:lnTo>
                  <a:cubicBezTo>
                    <a:pt x="5162" y="214"/>
                    <a:pt x="4935" y="0"/>
                    <a:pt x="4661" y="0"/>
                  </a:cubicBezTo>
                  <a:lnTo>
                    <a:pt x="3915" y="0"/>
                  </a:lnTo>
                  <a:cubicBezTo>
                    <a:pt x="3645" y="0"/>
                    <a:pt x="3418" y="211"/>
                    <a:pt x="3397" y="480"/>
                  </a:cubicBezTo>
                  <a:lnTo>
                    <a:pt x="3358" y="991"/>
                  </a:lnTo>
                  <a:cubicBezTo>
                    <a:pt x="3357" y="1008"/>
                    <a:pt x="3346" y="1022"/>
                    <a:pt x="3330" y="1026"/>
                  </a:cubicBezTo>
                  <a:cubicBezTo>
                    <a:pt x="3087" y="1096"/>
                    <a:pt x="2851" y="1194"/>
                    <a:pt x="2630" y="1317"/>
                  </a:cubicBezTo>
                  <a:cubicBezTo>
                    <a:pt x="2616" y="1324"/>
                    <a:pt x="2598" y="1322"/>
                    <a:pt x="2585" y="1311"/>
                  </a:cubicBezTo>
                  <a:lnTo>
                    <a:pt x="2196" y="977"/>
                  </a:lnTo>
                  <a:cubicBezTo>
                    <a:pt x="1991" y="802"/>
                    <a:pt x="1682" y="814"/>
                    <a:pt x="1491" y="1004"/>
                  </a:cubicBezTo>
                  <a:lnTo>
                    <a:pt x="963" y="1532"/>
                  </a:lnTo>
                  <a:cubicBezTo>
                    <a:pt x="769" y="1726"/>
                    <a:pt x="760" y="2038"/>
                    <a:pt x="941" y="2243"/>
                  </a:cubicBezTo>
                  <a:lnTo>
                    <a:pt x="1286" y="2632"/>
                  </a:lnTo>
                  <a:cubicBezTo>
                    <a:pt x="1297" y="2645"/>
                    <a:pt x="1299" y="2663"/>
                    <a:pt x="1292" y="2677"/>
                  </a:cubicBezTo>
                  <a:cubicBezTo>
                    <a:pt x="1180" y="2885"/>
                    <a:pt x="1091" y="3105"/>
                    <a:pt x="1027" y="3330"/>
                  </a:cubicBezTo>
                  <a:cubicBezTo>
                    <a:pt x="1022" y="3346"/>
                    <a:pt x="1008" y="3357"/>
                    <a:pt x="991" y="3358"/>
                  </a:cubicBezTo>
                  <a:lnTo>
                    <a:pt x="480" y="3397"/>
                  </a:lnTo>
                  <a:cubicBezTo>
                    <a:pt x="211" y="3418"/>
                    <a:pt x="0" y="3645"/>
                    <a:pt x="0" y="3915"/>
                  </a:cubicBezTo>
                  <a:lnTo>
                    <a:pt x="0" y="4661"/>
                  </a:lnTo>
                  <a:cubicBezTo>
                    <a:pt x="0" y="4935"/>
                    <a:pt x="215" y="5163"/>
                    <a:pt x="488" y="5179"/>
                  </a:cubicBezTo>
                  <a:lnTo>
                    <a:pt x="1006" y="5211"/>
                  </a:lnTo>
                  <a:cubicBezTo>
                    <a:pt x="1023" y="5212"/>
                    <a:pt x="1037" y="5223"/>
                    <a:pt x="1042" y="5238"/>
                  </a:cubicBezTo>
                  <a:cubicBezTo>
                    <a:pt x="1110" y="5463"/>
                    <a:pt x="1203" y="5682"/>
                    <a:pt x="1316" y="5887"/>
                  </a:cubicBezTo>
                  <a:cubicBezTo>
                    <a:pt x="1324" y="5902"/>
                    <a:pt x="1322" y="5920"/>
                    <a:pt x="1311" y="5932"/>
                  </a:cubicBezTo>
                  <a:lnTo>
                    <a:pt x="977" y="6322"/>
                  </a:lnTo>
                  <a:cubicBezTo>
                    <a:pt x="802" y="6526"/>
                    <a:pt x="814" y="6836"/>
                    <a:pt x="1004" y="7027"/>
                  </a:cubicBezTo>
                  <a:lnTo>
                    <a:pt x="1532" y="7555"/>
                  </a:lnTo>
                  <a:cubicBezTo>
                    <a:pt x="1579" y="7602"/>
                    <a:pt x="1634" y="7639"/>
                    <a:pt x="1695" y="7665"/>
                  </a:cubicBezTo>
                  <a:cubicBezTo>
                    <a:pt x="1758" y="7692"/>
                    <a:pt x="1831" y="7663"/>
                    <a:pt x="1858" y="7599"/>
                  </a:cubicBezTo>
                  <a:cubicBezTo>
                    <a:pt x="1868" y="7576"/>
                    <a:pt x="1871" y="7552"/>
                    <a:pt x="1867" y="7529"/>
                  </a:cubicBezTo>
                  <a:lnTo>
                    <a:pt x="1867" y="6875"/>
                  </a:lnTo>
                  <a:cubicBezTo>
                    <a:pt x="1867" y="6580"/>
                    <a:pt x="2054" y="6319"/>
                    <a:pt x="2332" y="6226"/>
                  </a:cubicBezTo>
                  <a:lnTo>
                    <a:pt x="2594" y="6137"/>
                  </a:lnTo>
                  <a:cubicBezTo>
                    <a:pt x="2645" y="6121"/>
                    <a:pt x="2692" y="6097"/>
                    <a:pt x="2735" y="6067"/>
                  </a:cubicBezTo>
                  <a:cubicBezTo>
                    <a:pt x="2830" y="6096"/>
                    <a:pt x="2928" y="6116"/>
                    <a:pt x="3027" y="6126"/>
                  </a:cubicBezTo>
                  <a:lnTo>
                    <a:pt x="2749" y="7111"/>
                  </a:lnTo>
                  <a:cubicBezTo>
                    <a:pt x="2737" y="7152"/>
                    <a:pt x="2747" y="7197"/>
                    <a:pt x="2776" y="7229"/>
                  </a:cubicBezTo>
                  <a:lnTo>
                    <a:pt x="3097" y="7586"/>
                  </a:lnTo>
                  <a:cubicBezTo>
                    <a:pt x="3120" y="7612"/>
                    <a:pt x="3152" y="7627"/>
                    <a:pt x="3186" y="7628"/>
                  </a:cubicBezTo>
                  <a:lnTo>
                    <a:pt x="3190" y="7628"/>
                  </a:lnTo>
                  <a:cubicBezTo>
                    <a:pt x="3223" y="7628"/>
                    <a:pt x="3255" y="7615"/>
                    <a:pt x="3278" y="7591"/>
                  </a:cubicBezTo>
                  <a:lnTo>
                    <a:pt x="3633" y="7233"/>
                  </a:lnTo>
                  <a:cubicBezTo>
                    <a:pt x="3666" y="7200"/>
                    <a:pt x="3677" y="7152"/>
                    <a:pt x="3664" y="7108"/>
                  </a:cubicBezTo>
                  <a:lnTo>
                    <a:pt x="3355" y="6122"/>
                  </a:lnTo>
                  <a:cubicBezTo>
                    <a:pt x="3458" y="6109"/>
                    <a:pt x="3560" y="6086"/>
                    <a:pt x="3658" y="6052"/>
                  </a:cubicBezTo>
                  <a:cubicBezTo>
                    <a:pt x="3707" y="6089"/>
                    <a:pt x="3761" y="6118"/>
                    <a:pt x="3819" y="6137"/>
                  </a:cubicBezTo>
                  <a:lnTo>
                    <a:pt x="4081" y="6226"/>
                  </a:lnTo>
                  <a:cubicBezTo>
                    <a:pt x="4259" y="6286"/>
                    <a:pt x="4406" y="6418"/>
                    <a:pt x="4484" y="6589"/>
                  </a:cubicBezTo>
                  <a:cubicBezTo>
                    <a:pt x="4524" y="6676"/>
                    <a:pt x="4545" y="6768"/>
                    <a:pt x="4546" y="6862"/>
                  </a:cubicBezTo>
                  <a:cubicBezTo>
                    <a:pt x="4546" y="6865"/>
                    <a:pt x="4546" y="6867"/>
                    <a:pt x="4546" y="6869"/>
                  </a:cubicBezTo>
                  <a:cubicBezTo>
                    <a:pt x="4546" y="6871"/>
                    <a:pt x="4546" y="6873"/>
                    <a:pt x="4546" y="6875"/>
                  </a:cubicBezTo>
                  <a:lnTo>
                    <a:pt x="4546" y="7605"/>
                  </a:lnTo>
                  <a:cubicBezTo>
                    <a:pt x="4546" y="7673"/>
                    <a:pt x="4602" y="7729"/>
                    <a:pt x="4671" y="7729"/>
                  </a:cubicBezTo>
                  <a:cubicBezTo>
                    <a:pt x="4740" y="7729"/>
                    <a:pt x="4796" y="7673"/>
                    <a:pt x="4796" y="7605"/>
                  </a:cubicBezTo>
                  <a:lnTo>
                    <a:pt x="4796" y="6875"/>
                  </a:lnTo>
                  <a:cubicBezTo>
                    <a:pt x="4796" y="6868"/>
                    <a:pt x="4796" y="6862"/>
                    <a:pt x="4796" y="6856"/>
                  </a:cubicBezTo>
                  <a:cubicBezTo>
                    <a:pt x="4794" y="6760"/>
                    <a:pt x="4777" y="6666"/>
                    <a:pt x="4747" y="6576"/>
                  </a:cubicBezTo>
                  <a:cubicBezTo>
                    <a:pt x="4788" y="6547"/>
                    <a:pt x="4834" y="6523"/>
                    <a:pt x="4883" y="6507"/>
                  </a:cubicBezTo>
                  <a:lnTo>
                    <a:pt x="5096" y="6435"/>
                  </a:lnTo>
                  <a:cubicBezTo>
                    <a:pt x="5136" y="6422"/>
                    <a:pt x="5173" y="6404"/>
                    <a:pt x="5207" y="6381"/>
                  </a:cubicBezTo>
                  <a:cubicBezTo>
                    <a:pt x="5274" y="6401"/>
                    <a:pt x="5341" y="6415"/>
                    <a:pt x="5410" y="6424"/>
                  </a:cubicBezTo>
                  <a:lnTo>
                    <a:pt x="5191" y="7198"/>
                  </a:lnTo>
                  <a:cubicBezTo>
                    <a:pt x="5180" y="7239"/>
                    <a:pt x="5190" y="7283"/>
                    <a:pt x="5218" y="7315"/>
                  </a:cubicBezTo>
                  <a:lnTo>
                    <a:pt x="5479" y="7606"/>
                  </a:lnTo>
                  <a:cubicBezTo>
                    <a:pt x="5502" y="7631"/>
                    <a:pt x="5535" y="7646"/>
                    <a:pt x="5569" y="7647"/>
                  </a:cubicBezTo>
                  <a:cubicBezTo>
                    <a:pt x="5570" y="7647"/>
                    <a:pt x="5571" y="7647"/>
                    <a:pt x="5572" y="7647"/>
                  </a:cubicBezTo>
                  <a:cubicBezTo>
                    <a:pt x="5605" y="7647"/>
                    <a:pt x="5637" y="7634"/>
                    <a:pt x="5661" y="7610"/>
                  </a:cubicBezTo>
                  <a:lnTo>
                    <a:pt x="5949" y="7319"/>
                  </a:lnTo>
                  <a:cubicBezTo>
                    <a:pt x="5982" y="7286"/>
                    <a:pt x="5993" y="7238"/>
                    <a:pt x="5979" y="7194"/>
                  </a:cubicBezTo>
                  <a:lnTo>
                    <a:pt x="5737" y="6420"/>
                  </a:lnTo>
                  <a:cubicBezTo>
                    <a:pt x="5809" y="6409"/>
                    <a:pt x="5879" y="6393"/>
                    <a:pt x="5949" y="6369"/>
                  </a:cubicBezTo>
                  <a:cubicBezTo>
                    <a:pt x="5987" y="6398"/>
                    <a:pt x="6030" y="6420"/>
                    <a:pt x="6076" y="6435"/>
                  </a:cubicBezTo>
                  <a:lnTo>
                    <a:pt x="6288" y="6507"/>
                  </a:lnTo>
                  <a:cubicBezTo>
                    <a:pt x="6505" y="6580"/>
                    <a:pt x="6651" y="6783"/>
                    <a:pt x="6651" y="7012"/>
                  </a:cubicBezTo>
                  <a:lnTo>
                    <a:pt x="6651" y="7522"/>
                  </a:lnTo>
                  <a:cubicBezTo>
                    <a:pt x="6651" y="7523"/>
                    <a:pt x="6651" y="7523"/>
                    <a:pt x="6651" y="7524"/>
                  </a:cubicBezTo>
                  <a:cubicBezTo>
                    <a:pt x="6645" y="7548"/>
                    <a:pt x="6647" y="7574"/>
                    <a:pt x="6658" y="7599"/>
                  </a:cubicBezTo>
                  <a:cubicBezTo>
                    <a:pt x="6678" y="7647"/>
                    <a:pt x="6724" y="7675"/>
                    <a:pt x="6773" y="7675"/>
                  </a:cubicBezTo>
                  <a:cubicBezTo>
                    <a:pt x="6789" y="7675"/>
                    <a:pt x="6805" y="7672"/>
                    <a:pt x="6821" y="7665"/>
                  </a:cubicBezTo>
                  <a:cubicBezTo>
                    <a:pt x="6883" y="7639"/>
                    <a:pt x="6938" y="7602"/>
                    <a:pt x="6985" y="7555"/>
                  </a:cubicBezTo>
                  <a:lnTo>
                    <a:pt x="7513" y="7027"/>
                  </a:lnTo>
                  <a:cubicBezTo>
                    <a:pt x="7704" y="6836"/>
                    <a:pt x="7716" y="6526"/>
                    <a:pt x="7540" y="6322"/>
                  </a:cubicBezTo>
                  <a:lnTo>
                    <a:pt x="7206" y="5932"/>
                  </a:lnTo>
                  <a:cubicBezTo>
                    <a:pt x="7195" y="5920"/>
                    <a:pt x="7193" y="5902"/>
                    <a:pt x="7201" y="5887"/>
                  </a:cubicBezTo>
                  <a:cubicBezTo>
                    <a:pt x="7315" y="5682"/>
                    <a:pt x="7407" y="5463"/>
                    <a:pt x="7476" y="5238"/>
                  </a:cubicBezTo>
                  <a:cubicBezTo>
                    <a:pt x="7480" y="5223"/>
                    <a:pt x="7495" y="5212"/>
                    <a:pt x="7512" y="5211"/>
                  </a:cubicBezTo>
                  <a:lnTo>
                    <a:pt x="8029" y="5179"/>
                  </a:lnTo>
                  <a:cubicBezTo>
                    <a:pt x="8303" y="5163"/>
                    <a:pt x="8517" y="4935"/>
                    <a:pt x="8517" y="4661"/>
                  </a:cubicBezTo>
                  <a:lnTo>
                    <a:pt x="8517" y="3915"/>
                  </a:lnTo>
                  <a:cubicBezTo>
                    <a:pt x="8517" y="3645"/>
                    <a:pt x="8306" y="3418"/>
                    <a:pt x="8037" y="3397"/>
                  </a:cubicBezTo>
                  <a:close/>
                  <a:moveTo>
                    <a:pt x="3784" y="4184"/>
                  </a:moveTo>
                  <a:lnTo>
                    <a:pt x="3016" y="3937"/>
                  </a:lnTo>
                  <a:cubicBezTo>
                    <a:pt x="2984" y="3927"/>
                    <a:pt x="2949" y="3930"/>
                    <a:pt x="2920" y="3945"/>
                  </a:cubicBezTo>
                  <a:lnTo>
                    <a:pt x="2629" y="4097"/>
                  </a:lnTo>
                  <a:lnTo>
                    <a:pt x="2629" y="3950"/>
                  </a:lnTo>
                  <a:cubicBezTo>
                    <a:pt x="2629" y="3780"/>
                    <a:pt x="2768" y="3641"/>
                    <a:pt x="2938" y="3641"/>
                  </a:cubicBezTo>
                  <a:lnTo>
                    <a:pt x="3475" y="3641"/>
                  </a:lnTo>
                  <a:cubicBezTo>
                    <a:pt x="3645" y="3641"/>
                    <a:pt x="3784" y="3780"/>
                    <a:pt x="3784" y="3950"/>
                  </a:cubicBezTo>
                  <a:lnTo>
                    <a:pt x="3784" y="4184"/>
                  </a:lnTo>
                  <a:close/>
                  <a:moveTo>
                    <a:pt x="2629" y="4378"/>
                  </a:moveTo>
                  <a:lnTo>
                    <a:pt x="2989" y="4190"/>
                  </a:lnTo>
                  <a:lnTo>
                    <a:pt x="3784" y="4446"/>
                  </a:lnTo>
                  <a:lnTo>
                    <a:pt x="3784" y="4822"/>
                  </a:lnTo>
                  <a:cubicBezTo>
                    <a:pt x="3784" y="4910"/>
                    <a:pt x="3737" y="4992"/>
                    <a:pt x="3663" y="5038"/>
                  </a:cubicBezTo>
                  <a:lnTo>
                    <a:pt x="3337" y="5236"/>
                  </a:lnTo>
                  <a:cubicBezTo>
                    <a:pt x="3257" y="5285"/>
                    <a:pt x="3156" y="5285"/>
                    <a:pt x="3076" y="5236"/>
                  </a:cubicBezTo>
                  <a:lnTo>
                    <a:pt x="2750" y="5038"/>
                  </a:lnTo>
                  <a:cubicBezTo>
                    <a:pt x="2676" y="4992"/>
                    <a:pt x="2629" y="4910"/>
                    <a:pt x="2629" y="4822"/>
                  </a:cubicBezTo>
                  <a:lnTo>
                    <a:pt x="2629" y="4378"/>
                  </a:lnTo>
                  <a:close/>
                  <a:moveTo>
                    <a:pt x="3201" y="5884"/>
                  </a:moveTo>
                  <a:cubicBezTo>
                    <a:pt x="3104" y="5886"/>
                    <a:pt x="3009" y="5876"/>
                    <a:pt x="2915" y="5856"/>
                  </a:cubicBezTo>
                  <a:cubicBezTo>
                    <a:pt x="2952" y="5781"/>
                    <a:pt x="2972" y="5697"/>
                    <a:pt x="2972" y="5611"/>
                  </a:cubicBezTo>
                  <a:lnTo>
                    <a:pt x="2972" y="5464"/>
                  </a:lnTo>
                  <a:cubicBezTo>
                    <a:pt x="3046" y="5503"/>
                    <a:pt x="3126" y="5523"/>
                    <a:pt x="3206" y="5523"/>
                  </a:cubicBezTo>
                  <a:cubicBezTo>
                    <a:pt x="3287" y="5523"/>
                    <a:pt x="3367" y="5503"/>
                    <a:pt x="3441" y="5464"/>
                  </a:cubicBezTo>
                  <a:lnTo>
                    <a:pt x="3441" y="5611"/>
                  </a:lnTo>
                  <a:cubicBezTo>
                    <a:pt x="3441" y="5692"/>
                    <a:pt x="3458" y="5771"/>
                    <a:pt x="3491" y="5842"/>
                  </a:cubicBezTo>
                  <a:cubicBezTo>
                    <a:pt x="3396" y="5867"/>
                    <a:pt x="3299" y="5881"/>
                    <a:pt x="3201" y="5884"/>
                  </a:cubicBezTo>
                  <a:close/>
                  <a:moveTo>
                    <a:pt x="3194" y="7321"/>
                  </a:moveTo>
                  <a:lnTo>
                    <a:pt x="3007" y="7113"/>
                  </a:lnTo>
                  <a:lnTo>
                    <a:pt x="3196" y="6448"/>
                  </a:lnTo>
                  <a:lnTo>
                    <a:pt x="3403" y="7111"/>
                  </a:lnTo>
                  <a:lnTo>
                    <a:pt x="3194" y="7321"/>
                  </a:lnTo>
                  <a:close/>
                  <a:moveTo>
                    <a:pt x="6031" y="4794"/>
                  </a:moveTo>
                  <a:lnTo>
                    <a:pt x="5438" y="4603"/>
                  </a:lnTo>
                  <a:cubicBezTo>
                    <a:pt x="5406" y="4593"/>
                    <a:pt x="5372" y="4596"/>
                    <a:pt x="5342" y="4611"/>
                  </a:cubicBezTo>
                  <a:lnTo>
                    <a:pt x="5141" y="4717"/>
                  </a:lnTo>
                  <a:lnTo>
                    <a:pt x="5141" y="4636"/>
                  </a:lnTo>
                  <a:cubicBezTo>
                    <a:pt x="5141" y="4511"/>
                    <a:pt x="5242" y="4408"/>
                    <a:pt x="5368" y="4408"/>
                  </a:cubicBezTo>
                  <a:lnTo>
                    <a:pt x="5804" y="4408"/>
                  </a:lnTo>
                  <a:cubicBezTo>
                    <a:pt x="5929" y="4408"/>
                    <a:pt x="6031" y="4511"/>
                    <a:pt x="6031" y="4636"/>
                  </a:cubicBezTo>
                  <a:lnTo>
                    <a:pt x="6031" y="4794"/>
                  </a:lnTo>
                  <a:close/>
                  <a:moveTo>
                    <a:pt x="5141" y="4998"/>
                  </a:moveTo>
                  <a:lnTo>
                    <a:pt x="5411" y="4857"/>
                  </a:lnTo>
                  <a:lnTo>
                    <a:pt x="6031" y="5056"/>
                  </a:lnTo>
                  <a:lnTo>
                    <a:pt x="6031" y="5345"/>
                  </a:lnTo>
                  <a:cubicBezTo>
                    <a:pt x="6031" y="5408"/>
                    <a:pt x="5998" y="5467"/>
                    <a:pt x="5944" y="5500"/>
                  </a:cubicBezTo>
                  <a:lnTo>
                    <a:pt x="5680" y="5661"/>
                  </a:lnTo>
                  <a:cubicBezTo>
                    <a:pt x="5622" y="5696"/>
                    <a:pt x="5550" y="5696"/>
                    <a:pt x="5492" y="5661"/>
                  </a:cubicBezTo>
                  <a:lnTo>
                    <a:pt x="5227" y="5500"/>
                  </a:lnTo>
                  <a:cubicBezTo>
                    <a:pt x="5174" y="5467"/>
                    <a:pt x="5141" y="5408"/>
                    <a:pt x="5141" y="5345"/>
                  </a:cubicBezTo>
                  <a:lnTo>
                    <a:pt x="5141" y="4998"/>
                  </a:lnTo>
                  <a:close/>
                  <a:moveTo>
                    <a:pt x="5581" y="6183"/>
                  </a:moveTo>
                  <a:cubicBezTo>
                    <a:pt x="5514" y="6185"/>
                    <a:pt x="5448" y="6179"/>
                    <a:pt x="5382" y="6167"/>
                  </a:cubicBezTo>
                  <a:cubicBezTo>
                    <a:pt x="5406" y="6110"/>
                    <a:pt x="5419" y="6048"/>
                    <a:pt x="5419" y="5985"/>
                  </a:cubicBezTo>
                  <a:lnTo>
                    <a:pt x="5419" y="5903"/>
                  </a:lnTo>
                  <a:cubicBezTo>
                    <a:pt x="5472" y="5926"/>
                    <a:pt x="5529" y="5937"/>
                    <a:pt x="5586" y="5937"/>
                  </a:cubicBezTo>
                  <a:cubicBezTo>
                    <a:pt x="5643" y="5937"/>
                    <a:pt x="5699" y="5926"/>
                    <a:pt x="5753" y="5903"/>
                  </a:cubicBezTo>
                  <a:lnTo>
                    <a:pt x="5753" y="5985"/>
                  </a:lnTo>
                  <a:cubicBezTo>
                    <a:pt x="5753" y="6045"/>
                    <a:pt x="5764" y="6103"/>
                    <a:pt x="5785" y="6157"/>
                  </a:cubicBezTo>
                  <a:cubicBezTo>
                    <a:pt x="5718" y="6173"/>
                    <a:pt x="5650" y="6182"/>
                    <a:pt x="5581" y="6183"/>
                  </a:cubicBezTo>
                  <a:close/>
                  <a:moveTo>
                    <a:pt x="5577" y="7340"/>
                  </a:moveTo>
                  <a:lnTo>
                    <a:pt x="5450" y="7199"/>
                  </a:lnTo>
                  <a:lnTo>
                    <a:pt x="5578" y="6747"/>
                  </a:lnTo>
                  <a:lnTo>
                    <a:pt x="5719" y="7197"/>
                  </a:lnTo>
                  <a:lnTo>
                    <a:pt x="5577" y="7340"/>
                  </a:lnTo>
                  <a:close/>
                  <a:moveTo>
                    <a:pt x="8268" y="4661"/>
                  </a:moveTo>
                  <a:cubicBezTo>
                    <a:pt x="8268" y="4803"/>
                    <a:pt x="8156" y="4922"/>
                    <a:pt x="8014" y="4930"/>
                  </a:cubicBezTo>
                  <a:lnTo>
                    <a:pt x="7496" y="4962"/>
                  </a:lnTo>
                  <a:cubicBezTo>
                    <a:pt x="7376" y="4969"/>
                    <a:pt x="7272" y="5051"/>
                    <a:pt x="7237" y="5166"/>
                  </a:cubicBezTo>
                  <a:cubicBezTo>
                    <a:pt x="7174" y="5374"/>
                    <a:pt x="7088" y="5576"/>
                    <a:pt x="6983" y="5766"/>
                  </a:cubicBezTo>
                  <a:cubicBezTo>
                    <a:pt x="6924" y="5871"/>
                    <a:pt x="6938" y="6003"/>
                    <a:pt x="7017" y="6095"/>
                  </a:cubicBezTo>
                  <a:lnTo>
                    <a:pt x="7351" y="6484"/>
                  </a:lnTo>
                  <a:cubicBezTo>
                    <a:pt x="7442" y="6591"/>
                    <a:pt x="7436" y="6751"/>
                    <a:pt x="7337" y="6850"/>
                  </a:cubicBezTo>
                  <a:lnTo>
                    <a:pt x="6900" y="7287"/>
                  </a:lnTo>
                  <a:lnTo>
                    <a:pt x="6900" y="7012"/>
                  </a:lnTo>
                  <a:cubicBezTo>
                    <a:pt x="6900" y="6675"/>
                    <a:pt x="6686" y="6377"/>
                    <a:pt x="6368" y="6270"/>
                  </a:cubicBezTo>
                  <a:lnTo>
                    <a:pt x="6200" y="6214"/>
                  </a:lnTo>
                  <a:cubicBezTo>
                    <a:pt x="6685" y="5731"/>
                    <a:pt x="6979" y="5080"/>
                    <a:pt x="7013" y="4402"/>
                  </a:cubicBezTo>
                  <a:cubicBezTo>
                    <a:pt x="7017" y="4333"/>
                    <a:pt x="6964" y="4275"/>
                    <a:pt x="6895" y="4271"/>
                  </a:cubicBezTo>
                  <a:cubicBezTo>
                    <a:pt x="6826" y="4268"/>
                    <a:pt x="6768" y="4321"/>
                    <a:pt x="6764" y="4390"/>
                  </a:cubicBezTo>
                  <a:cubicBezTo>
                    <a:pt x="6733" y="5012"/>
                    <a:pt x="6460" y="5609"/>
                    <a:pt x="6011" y="6049"/>
                  </a:cubicBezTo>
                  <a:cubicBezTo>
                    <a:pt x="6005" y="6029"/>
                    <a:pt x="6002" y="6007"/>
                    <a:pt x="6002" y="5985"/>
                  </a:cubicBezTo>
                  <a:lnTo>
                    <a:pt x="6002" y="5756"/>
                  </a:lnTo>
                  <a:lnTo>
                    <a:pt x="6074" y="5713"/>
                  </a:lnTo>
                  <a:cubicBezTo>
                    <a:pt x="6202" y="5635"/>
                    <a:pt x="6281" y="5494"/>
                    <a:pt x="6281" y="5345"/>
                  </a:cubicBezTo>
                  <a:lnTo>
                    <a:pt x="6281" y="4967"/>
                  </a:lnTo>
                  <a:lnTo>
                    <a:pt x="6281" y="4966"/>
                  </a:lnTo>
                  <a:lnTo>
                    <a:pt x="6281" y="4636"/>
                  </a:lnTo>
                  <a:cubicBezTo>
                    <a:pt x="6281" y="4373"/>
                    <a:pt x="6067" y="4159"/>
                    <a:pt x="5804" y="4159"/>
                  </a:cubicBezTo>
                  <a:lnTo>
                    <a:pt x="5368" y="4159"/>
                  </a:lnTo>
                  <a:cubicBezTo>
                    <a:pt x="5105" y="4159"/>
                    <a:pt x="4891" y="4373"/>
                    <a:pt x="4891" y="4636"/>
                  </a:cubicBezTo>
                  <a:lnTo>
                    <a:pt x="4891" y="4920"/>
                  </a:lnTo>
                  <a:lnTo>
                    <a:pt x="4891" y="4921"/>
                  </a:lnTo>
                  <a:lnTo>
                    <a:pt x="4891" y="5345"/>
                  </a:lnTo>
                  <a:cubicBezTo>
                    <a:pt x="4891" y="5494"/>
                    <a:pt x="4970" y="5635"/>
                    <a:pt x="5097" y="5713"/>
                  </a:cubicBezTo>
                  <a:lnTo>
                    <a:pt x="5169" y="5756"/>
                  </a:lnTo>
                  <a:lnTo>
                    <a:pt x="5169" y="5985"/>
                  </a:lnTo>
                  <a:cubicBezTo>
                    <a:pt x="5169" y="6048"/>
                    <a:pt x="5143" y="6108"/>
                    <a:pt x="5098" y="6150"/>
                  </a:cubicBezTo>
                  <a:cubicBezTo>
                    <a:pt x="5074" y="6172"/>
                    <a:pt x="5047" y="6188"/>
                    <a:pt x="5017" y="6199"/>
                  </a:cubicBezTo>
                  <a:lnTo>
                    <a:pt x="4804" y="6270"/>
                  </a:lnTo>
                  <a:cubicBezTo>
                    <a:pt x="4744" y="6291"/>
                    <a:pt x="4687" y="6318"/>
                    <a:pt x="4635" y="6351"/>
                  </a:cubicBezTo>
                  <a:cubicBezTo>
                    <a:pt x="4521" y="6183"/>
                    <a:pt x="4354" y="6054"/>
                    <a:pt x="4160" y="5989"/>
                  </a:cubicBezTo>
                  <a:lnTo>
                    <a:pt x="3898" y="5901"/>
                  </a:lnTo>
                  <a:cubicBezTo>
                    <a:pt x="3851" y="5885"/>
                    <a:pt x="3810" y="5859"/>
                    <a:pt x="3775" y="5823"/>
                  </a:cubicBezTo>
                  <a:cubicBezTo>
                    <a:pt x="3720" y="5766"/>
                    <a:pt x="3690" y="5690"/>
                    <a:pt x="3690" y="5611"/>
                  </a:cubicBezTo>
                  <a:lnTo>
                    <a:pt x="3690" y="5313"/>
                  </a:lnTo>
                  <a:lnTo>
                    <a:pt x="3793" y="5251"/>
                  </a:lnTo>
                  <a:cubicBezTo>
                    <a:pt x="3941" y="5160"/>
                    <a:pt x="4033" y="4996"/>
                    <a:pt x="4033" y="4822"/>
                  </a:cubicBezTo>
                  <a:lnTo>
                    <a:pt x="4033" y="4357"/>
                  </a:lnTo>
                  <a:lnTo>
                    <a:pt x="4033" y="4356"/>
                  </a:lnTo>
                  <a:lnTo>
                    <a:pt x="4033" y="3950"/>
                  </a:lnTo>
                  <a:cubicBezTo>
                    <a:pt x="4033" y="3642"/>
                    <a:pt x="3783" y="3391"/>
                    <a:pt x="3475" y="3391"/>
                  </a:cubicBezTo>
                  <a:lnTo>
                    <a:pt x="2938" y="3391"/>
                  </a:lnTo>
                  <a:cubicBezTo>
                    <a:pt x="2630" y="3391"/>
                    <a:pt x="2380" y="3642"/>
                    <a:pt x="2380" y="3950"/>
                  </a:cubicBezTo>
                  <a:lnTo>
                    <a:pt x="2380" y="4301"/>
                  </a:lnTo>
                  <a:lnTo>
                    <a:pt x="2380" y="4301"/>
                  </a:lnTo>
                  <a:lnTo>
                    <a:pt x="2380" y="4822"/>
                  </a:lnTo>
                  <a:cubicBezTo>
                    <a:pt x="2380" y="4996"/>
                    <a:pt x="2472" y="5160"/>
                    <a:pt x="2620" y="5251"/>
                  </a:cubicBezTo>
                  <a:lnTo>
                    <a:pt x="2723" y="5313"/>
                  </a:lnTo>
                  <a:lnTo>
                    <a:pt x="2723" y="5611"/>
                  </a:lnTo>
                  <a:cubicBezTo>
                    <a:pt x="2723" y="5696"/>
                    <a:pt x="2687" y="5778"/>
                    <a:pt x="2625" y="5835"/>
                  </a:cubicBezTo>
                  <a:cubicBezTo>
                    <a:pt x="2593" y="5865"/>
                    <a:pt x="2556" y="5887"/>
                    <a:pt x="2515" y="5901"/>
                  </a:cubicBezTo>
                  <a:lnTo>
                    <a:pt x="2253" y="5989"/>
                  </a:lnTo>
                  <a:cubicBezTo>
                    <a:pt x="1873" y="6117"/>
                    <a:pt x="1617" y="6473"/>
                    <a:pt x="1617" y="6875"/>
                  </a:cubicBezTo>
                  <a:lnTo>
                    <a:pt x="1617" y="7287"/>
                  </a:lnTo>
                  <a:lnTo>
                    <a:pt x="1181" y="6850"/>
                  </a:lnTo>
                  <a:cubicBezTo>
                    <a:pt x="1082" y="6751"/>
                    <a:pt x="1076" y="6591"/>
                    <a:pt x="1167" y="6484"/>
                  </a:cubicBezTo>
                  <a:lnTo>
                    <a:pt x="1501" y="6095"/>
                  </a:lnTo>
                  <a:cubicBezTo>
                    <a:pt x="1579" y="6003"/>
                    <a:pt x="1593" y="5871"/>
                    <a:pt x="1535" y="5766"/>
                  </a:cubicBezTo>
                  <a:cubicBezTo>
                    <a:pt x="1429" y="5576"/>
                    <a:pt x="1344" y="5374"/>
                    <a:pt x="1280" y="5166"/>
                  </a:cubicBezTo>
                  <a:cubicBezTo>
                    <a:pt x="1246" y="5051"/>
                    <a:pt x="1141" y="4969"/>
                    <a:pt x="1021" y="4962"/>
                  </a:cubicBezTo>
                  <a:lnTo>
                    <a:pt x="503" y="4930"/>
                  </a:lnTo>
                  <a:cubicBezTo>
                    <a:pt x="361" y="4922"/>
                    <a:pt x="250" y="4803"/>
                    <a:pt x="250" y="4661"/>
                  </a:cubicBezTo>
                  <a:lnTo>
                    <a:pt x="250" y="3915"/>
                  </a:lnTo>
                  <a:cubicBezTo>
                    <a:pt x="250" y="3775"/>
                    <a:pt x="359" y="3657"/>
                    <a:pt x="499" y="3646"/>
                  </a:cubicBezTo>
                  <a:lnTo>
                    <a:pt x="1010" y="3607"/>
                  </a:lnTo>
                  <a:cubicBezTo>
                    <a:pt x="1130" y="3598"/>
                    <a:pt x="1233" y="3514"/>
                    <a:pt x="1266" y="3399"/>
                  </a:cubicBezTo>
                  <a:cubicBezTo>
                    <a:pt x="1326" y="3190"/>
                    <a:pt x="1409" y="2987"/>
                    <a:pt x="1512" y="2795"/>
                  </a:cubicBezTo>
                  <a:cubicBezTo>
                    <a:pt x="1568" y="2689"/>
                    <a:pt x="1553" y="2557"/>
                    <a:pt x="1473" y="2467"/>
                  </a:cubicBezTo>
                  <a:lnTo>
                    <a:pt x="1128" y="2078"/>
                  </a:lnTo>
                  <a:cubicBezTo>
                    <a:pt x="1034" y="1971"/>
                    <a:pt x="1039" y="1809"/>
                    <a:pt x="1140" y="1708"/>
                  </a:cubicBezTo>
                  <a:lnTo>
                    <a:pt x="1667" y="1181"/>
                  </a:lnTo>
                  <a:cubicBezTo>
                    <a:pt x="1766" y="1082"/>
                    <a:pt x="1927" y="1075"/>
                    <a:pt x="2033" y="1167"/>
                  </a:cubicBezTo>
                  <a:lnTo>
                    <a:pt x="2423" y="1501"/>
                  </a:lnTo>
                  <a:cubicBezTo>
                    <a:pt x="2514" y="1579"/>
                    <a:pt x="2646" y="1593"/>
                    <a:pt x="2751" y="1535"/>
                  </a:cubicBezTo>
                  <a:cubicBezTo>
                    <a:pt x="2956" y="1421"/>
                    <a:pt x="3174" y="1331"/>
                    <a:pt x="3399" y="1266"/>
                  </a:cubicBezTo>
                  <a:cubicBezTo>
                    <a:pt x="3514" y="1233"/>
                    <a:pt x="3598" y="1130"/>
                    <a:pt x="3607" y="1010"/>
                  </a:cubicBezTo>
                  <a:lnTo>
                    <a:pt x="3646" y="499"/>
                  </a:lnTo>
                  <a:cubicBezTo>
                    <a:pt x="3657" y="359"/>
                    <a:pt x="3775" y="250"/>
                    <a:pt x="3915" y="250"/>
                  </a:cubicBezTo>
                  <a:lnTo>
                    <a:pt x="4661" y="250"/>
                  </a:lnTo>
                  <a:cubicBezTo>
                    <a:pt x="4803" y="250"/>
                    <a:pt x="4921" y="361"/>
                    <a:pt x="4930" y="503"/>
                  </a:cubicBezTo>
                  <a:lnTo>
                    <a:pt x="4962" y="1021"/>
                  </a:lnTo>
                  <a:cubicBezTo>
                    <a:pt x="4969" y="1141"/>
                    <a:pt x="5051" y="1245"/>
                    <a:pt x="5166" y="1280"/>
                  </a:cubicBezTo>
                  <a:cubicBezTo>
                    <a:pt x="5374" y="1344"/>
                    <a:pt x="5576" y="1429"/>
                    <a:pt x="5766" y="1535"/>
                  </a:cubicBezTo>
                  <a:cubicBezTo>
                    <a:pt x="5871" y="1593"/>
                    <a:pt x="6003" y="1579"/>
                    <a:pt x="6095" y="1501"/>
                  </a:cubicBezTo>
                  <a:lnTo>
                    <a:pt x="6484" y="1167"/>
                  </a:lnTo>
                  <a:cubicBezTo>
                    <a:pt x="6590" y="1076"/>
                    <a:pt x="6751" y="1082"/>
                    <a:pt x="6850" y="1181"/>
                  </a:cubicBezTo>
                  <a:lnTo>
                    <a:pt x="7378" y="1708"/>
                  </a:lnTo>
                  <a:cubicBezTo>
                    <a:pt x="7478" y="1809"/>
                    <a:pt x="7483" y="1971"/>
                    <a:pt x="7389" y="2078"/>
                  </a:cubicBezTo>
                  <a:lnTo>
                    <a:pt x="7045" y="2467"/>
                  </a:lnTo>
                  <a:cubicBezTo>
                    <a:pt x="6965" y="2557"/>
                    <a:pt x="6949" y="2689"/>
                    <a:pt x="7006" y="2795"/>
                  </a:cubicBezTo>
                  <a:cubicBezTo>
                    <a:pt x="7109" y="2987"/>
                    <a:pt x="7191" y="3190"/>
                    <a:pt x="7251" y="3399"/>
                  </a:cubicBezTo>
                  <a:cubicBezTo>
                    <a:pt x="7284" y="3514"/>
                    <a:pt x="7387" y="3598"/>
                    <a:pt x="7507" y="3607"/>
                  </a:cubicBezTo>
                  <a:lnTo>
                    <a:pt x="8018" y="3646"/>
                  </a:lnTo>
                  <a:cubicBezTo>
                    <a:pt x="8158" y="3657"/>
                    <a:pt x="8268" y="3775"/>
                    <a:pt x="8268" y="3915"/>
                  </a:cubicBezTo>
                  <a:lnTo>
                    <a:pt x="8268" y="4661"/>
                  </a:lnTo>
                  <a:close/>
                  <a:moveTo>
                    <a:pt x="8268" y="4661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0">
              <a:extLst>
                <a:ext uri="{FF2B5EF4-FFF2-40B4-BE49-F238E27FC236}">
                  <a16:creationId xmlns:a16="http://schemas.microsoft.com/office/drawing/2014/main" id="{08228EC6-809B-4536-99B4-08480729CD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7" y="987"/>
              <a:ext cx="2648" cy="2103"/>
            </a:xfrm>
            <a:custGeom>
              <a:avLst/>
              <a:gdLst>
                <a:gd name="T0" fmla="*/ 2641 w 5517"/>
                <a:gd name="T1" fmla="*/ 71 h 4381"/>
                <a:gd name="T2" fmla="*/ 837 w 5517"/>
                <a:gd name="T3" fmla="*/ 877 h 4381"/>
                <a:gd name="T4" fmla="*/ 30 w 5517"/>
                <a:gd name="T5" fmla="*/ 2682 h 4381"/>
                <a:gd name="T6" fmla="*/ 468 w 5517"/>
                <a:gd name="T7" fmla="*/ 4324 h 4381"/>
                <a:gd name="T8" fmla="*/ 573 w 5517"/>
                <a:gd name="T9" fmla="*/ 4381 h 4381"/>
                <a:gd name="T10" fmla="*/ 641 w 5517"/>
                <a:gd name="T11" fmla="*/ 4361 h 4381"/>
                <a:gd name="T12" fmla="*/ 678 w 5517"/>
                <a:gd name="T13" fmla="*/ 4188 h 4381"/>
                <a:gd name="T14" fmla="*/ 279 w 5517"/>
                <a:gd name="T15" fmla="*/ 2695 h 4381"/>
                <a:gd name="T16" fmla="*/ 1013 w 5517"/>
                <a:gd name="T17" fmla="*/ 1054 h 4381"/>
                <a:gd name="T18" fmla="*/ 2654 w 5517"/>
                <a:gd name="T19" fmla="*/ 320 h 4381"/>
                <a:gd name="T20" fmla="*/ 5260 w 5517"/>
                <a:gd name="T21" fmla="*/ 2412 h 4381"/>
                <a:gd name="T22" fmla="*/ 5403 w 5517"/>
                <a:gd name="T23" fmla="*/ 2515 h 4381"/>
                <a:gd name="T24" fmla="*/ 5506 w 5517"/>
                <a:gd name="T25" fmla="*/ 2372 h 4381"/>
                <a:gd name="T26" fmla="*/ 2641 w 5517"/>
                <a:gd name="T27" fmla="*/ 71 h 4381"/>
                <a:gd name="T28" fmla="*/ 2641 w 5517"/>
                <a:gd name="T29" fmla="*/ 71 h 4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17" h="4381">
                  <a:moveTo>
                    <a:pt x="2641" y="71"/>
                  </a:moveTo>
                  <a:cubicBezTo>
                    <a:pt x="1963" y="105"/>
                    <a:pt x="1322" y="392"/>
                    <a:pt x="837" y="877"/>
                  </a:cubicBezTo>
                  <a:cubicBezTo>
                    <a:pt x="351" y="1363"/>
                    <a:pt x="64" y="2004"/>
                    <a:pt x="30" y="2682"/>
                  </a:cubicBezTo>
                  <a:cubicBezTo>
                    <a:pt x="0" y="3268"/>
                    <a:pt x="152" y="3836"/>
                    <a:pt x="468" y="4324"/>
                  </a:cubicBezTo>
                  <a:cubicBezTo>
                    <a:pt x="492" y="4361"/>
                    <a:pt x="532" y="4381"/>
                    <a:pt x="573" y="4381"/>
                  </a:cubicBezTo>
                  <a:cubicBezTo>
                    <a:pt x="596" y="4381"/>
                    <a:pt x="620" y="4374"/>
                    <a:pt x="641" y="4361"/>
                  </a:cubicBezTo>
                  <a:cubicBezTo>
                    <a:pt x="699" y="4323"/>
                    <a:pt x="715" y="4246"/>
                    <a:pt x="678" y="4188"/>
                  </a:cubicBezTo>
                  <a:cubicBezTo>
                    <a:pt x="390" y="3744"/>
                    <a:pt x="252" y="3228"/>
                    <a:pt x="279" y="2695"/>
                  </a:cubicBezTo>
                  <a:cubicBezTo>
                    <a:pt x="310" y="2079"/>
                    <a:pt x="571" y="1496"/>
                    <a:pt x="1013" y="1054"/>
                  </a:cubicBezTo>
                  <a:cubicBezTo>
                    <a:pt x="1455" y="612"/>
                    <a:pt x="2038" y="351"/>
                    <a:pt x="2654" y="320"/>
                  </a:cubicBezTo>
                  <a:cubicBezTo>
                    <a:pt x="3932" y="255"/>
                    <a:pt x="5051" y="1155"/>
                    <a:pt x="5260" y="2412"/>
                  </a:cubicBezTo>
                  <a:cubicBezTo>
                    <a:pt x="5271" y="2480"/>
                    <a:pt x="5335" y="2526"/>
                    <a:pt x="5403" y="2515"/>
                  </a:cubicBezTo>
                  <a:cubicBezTo>
                    <a:pt x="5471" y="2504"/>
                    <a:pt x="5517" y="2440"/>
                    <a:pt x="5506" y="2372"/>
                  </a:cubicBezTo>
                  <a:cubicBezTo>
                    <a:pt x="5277" y="989"/>
                    <a:pt x="4045" y="0"/>
                    <a:pt x="2641" y="71"/>
                  </a:cubicBezTo>
                  <a:close/>
                  <a:moveTo>
                    <a:pt x="2641" y="71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7" name="object 15">
            <a:extLst>
              <a:ext uri="{FF2B5EF4-FFF2-40B4-BE49-F238E27FC236}">
                <a16:creationId xmlns:a16="http://schemas.microsoft.com/office/drawing/2014/main" id="{926C058F-55EA-4798-9A65-74DDC165CC9B}"/>
              </a:ext>
            </a:extLst>
          </p:cNvPr>
          <p:cNvSpPr txBox="1"/>
          <p:nvPr/>
        </p:nvSpPr>
        <p:spPr>
          <a:xfrm>
            <a:off x="4470241" y="2119292"/>
            <a:ext cx="7366103" cy="134103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300"/>
              </a:spcAft>
            </a:pP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Мониторинг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предмети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Ўқув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шғулотлар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мониторинги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Ходимларни</a:t>
            </a:r>
            <a:r>
              <a:rPr lang="ru-RU" sz="1200" b="1" spc="-4" dirty="0">
                <a:solidFill>
                  <a:schemeClr val="tx2"/>
                </a:solidFill>
                <a:cs typeface="Arial" panose="020B0604020202020204" pitchFamily="34" charset="0"/>
              </a:rPr>
              <a:t> коррупцияга </a:t>
            </a:r>
            <a:r>
              <a:rPr lang="ru-RU" sz="12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ҳужжатлар</a:t>
            </a:r>
            <a:r>
              <a:rPr lang="ru-RU" sz="12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билан</a:t>
            </a:r>
            <a:r>
              <a:rPr lang="ru-RU" sz="12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имзо</a:t>
            </a:r>
            <a:r>
              <a:rPr lang="ru-RU" sz="12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қўйдириб</a:t>
            </a:r>
            <a:r>
              <a:rPr lang="ru-RU" sz="12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жбурий</a:t>
            </a:r>
            <a:r>
              <a:rPr lang="ru-RU" sz="12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ништиришни</a:t>
            </a:r>
            <a:r>
              <a:rPr lang="ru-RU" sz="12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текшириш</a:t>
            </a:r>
            <a:endParaRPr lang="ru-RU" sz="1200" b="1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Давлат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ргани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ураш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взуси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йёрлан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авол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йич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влат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рга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одимлари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илимлар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нлаб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л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соси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иновд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ўтказиш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28" name="object 12">
            <a:extLst>
              <a:ext uri="{FF2B5EF4-FFF2-40B4-BE49-F238E27FC236}">
                <a16:creationId xmlns:a16="http://schemas.microsoft.com/office/drawing/2014/main" id="{2B224F7E-5E62-4405-903D-7E1B61EF0383}"/>
              </a:ext>
            </a:extLst>
          </p:cNvPr>
          <p:cNvSpPr/>
          <p:nvPr/>
        </p:nvSpPr>
        <p:spPr>
          <a:xfrm>
            <a:off x="3655082" y="207111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29" name="Group 1419">
            <a:extLst>
              <a:ext uri="{FF2B5EF4-FFF2-40B4-BE49-F238E27FC236}">
                <a16:creationId xmlns:a16="http://schemas.microsoft.com/office/drawing/2014/main" id="{42AA76AF-3F78-421D-AE32-D63844E7CB1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42500" y="2209297"/>
            <a:ext cx="598963" cy="414400"/>
            <a:chOff x="1472" y="2215"/>
            <a:chExt cx="172" cy="119"/>
          </a:xfrm>
          <a:solidFill>
            <a:schemeClr val="bg2">
              <a:lumMod val="25000"/>
            </a:schemeClr>
          </a:solidFill>
        </p:grpSpPr>
        <p:sp>
          <p:nvSpPr>
            <p:cNvPr id="30" name="Freeform 1420">
              <a:extLst>
                <a:ext uri="{FF2B5EF4-FFF2-40B4-BE49-F238E27FC236}">
                  <a16:creationId xmlns:a16="http://schemas.microsoft.com/office/drawing/2014/main" id="{B31C4DF4-EFFE-45D6-A6A2-03BCCDB084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72" y="2215"/>
              <a:ext cx="172" cy="119"/>
            </a:xfrm>
            <a:custGeom>
              <a:avLst/>
              <a:gdLst>
                <a:gd name="T0" fmla="*/ 5246 w 6400"/>
                <a:gd name="T1" fmla="*/ 652 h 4424"/>
                <a:gd name="T2" fmla="*/ 4295 w 6400"/>
                <a:gd name="T3" fmla="*/ 209 h 4424"/>
                <a:gd name="T4" fmla="*/ 3922 w 6400"/>
                <a:gd name="T5" fmla="*/ 0 h 4424"/>
                <a:gd name="T6" fmla="*/ 3483 w 6400"/>
                <a:gd name="T7" fmla="*/ 1205 h 4424"/>
                <a:gd name="T8" fmla="*/ 2917 w 6400"/>
                <a:gd name="T9" fmla="*/ 438 h 4424"/>
                <a:gd name="T10" fmla="*/ 2105 w 6400"/>
                <a:gd name="T11" fmla="*/ 209 h 4424"/>
                <a:gd name="T12" fmla="*/ 1154 w 6400"/>
                <a:gd name="T13" fmla="*/ 652 h 4424"/>
                <a:gd name="T14" fmla="*/ 1005 w 6400"/>
                <a:gd name="T15" fmla="*/ 1110 h 4424"/>
                <a:gd name="T16" fmla="*/ 1336 w 6400"/>
                <a:gd name="T17" fmla="*/ 764 h 4424"/>
                <a:gd name="T18" fmla="*/ 2703 w 6400"/>
                <a:gd name="T19" fmla="*/ 1150 h 4424"/>
                <a:gd name="T20" fmla="*/ 2703 w 6400"/>
                <a:gd name="T21" fmla="*/ 2206 h 4424"/>
                <a:gd name="T22" fmla="*/ 798 w 6400"/>
                <a:gd name="T23" fmla="*/ 1666 h 4424"/>
                <a:gd name="T24" fmla="*/ 920 w 6400"/>
                <a:gd name="T25" fmla="*/ 1253 h 4424"/>
                <a:gd name="T26" fmla="*/ 142 w 6400"/>
                <a:gd name="T27" fmla="*/ 2339 h 4424"/>
                <a:gd name="T28" fmla="*/ 1458 w 6400"/>
                <a:gd name="T29" fmla="*/ 4424 h 4424"/>
                <a:gd name="T30" fmla="*/ 2917 w 6400"/>
                <a:gd name="T31" fmla="*/ 2681 h 4424"/>
                <a:gd name="T32" fmla="*/ 3483 w 6400"/>
                <a:gd name="T33" fmla="*/ 2966 h 4424"/>
                <a:gd name="T34" fmla="*/ 6400 w 6400"/>
                <a:gd name="T35" fmla="*/ 2966 h 4424"/>
                <a:gd name="T36" fmla="*/ 2703 w 6400"/>
                <a:gd name="T37" fmla="*/ 550 h 4424"/>
                <a:gd name="T38" fmla="*/ 2478 w 6400"/>
                <a:gd name="T39" fmla="*/ 214 h 4424"/>
                <a:gd name="T40" fmla="*/ 2703 w 6400"/>
                <a:gd name="T41" fmla="*/ 550 h 4424"/>
                <a:gd name="T42" fmla="*/ 214 w 6400"/>
                <a:gd name="T43" fmla="*/ 2966 h 4424"/>
                <a:gd name="T44" fmla="*/ 2703 w 6400"/>
                <a:gd name="T45" fmla="*/ 2966 h 4424"/>
                <a:gd name="T46" fmla="*/ 2917 w 6400"/>
                <a:gd name="T47" fmla="*/ 2056 h 4424"/>
                <a:gd name="T48" fmla="*/ 3483 w 6400"/>
                <a:gd name="T49" fmla="*/ 1419 h 4424"/>
                <a:gd name="T50" fmla="*/ 2917 w 6400"/>
                <a:gd name="T51" fmla="*/ 2056 h 4424"/>
                <a:gd name="T52" fmla="*/ 2917 w 6400"/>
                <a:gd name="T53" fmla="*/ 2467 h 4424"/>
                <a:gd name="T54" fmla="*/ 3483 w 6400"/>
                <a:gd name="T55" fmla="*/ 2270 h 4424"/>
                <a:gd name="T56" fmla="*/ 3697 w 6400"/>
                <a:gd name="T57" fmla="*/ 438 h 4424"/>
                <a:gd name="T58" fmla="*/ 4071 w 6400"/>
                <a:gd name="T59" fmla="*/ 271 h 4424"/>
                <a:gd name="T60" fmla="*/ 3697 w 6400"/>
                <a:gd name="T61" fmla="*/ 438 h 4424"/>
                <a:gd name="T62" fmla="*/ 3697 w 6400"/>
                <a:gd name="T63" fmla="*/ 1150 h 4424"/>
                <a:gd name="T64" fmla="*/ 5064 w 6400"/>
                <a:gd name="T65" fmla="*/ 764 h 4424"/>
                <a:gd name="T66" fmla="*/ 4942 w 6400"/>
                <a:gd name="T67" fmla="*/ 1508 h 4424"/>
                <a:gd name="T68" fmla="*/ 3697 w 6400"/>
                <a:gd name="T69" fmla="*/ 1150 h 4424"/>
                <a:gd name="T70" fmla="*/ 3697 w 6400"/>
                <a:gd name="T71" fmla="*/ 2966 h 4424"/>
                <a:gd name="T72" fmla="*/ 6186 w 6400"/>
                <a:gd name="T73" fmla="*/ 2966 h 4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400" h="4424">
                  <a:moveTo>
                    <a:pt x="6250" y="2323"/>
                  </a:moveTo>
                  <a:cubicBezTo>
                    <a:pt x="6207" y="2234"/>
                    <a:pt x="5270" y="690"/>
                    <a:pt x="5246" y="652"/>
                  </a:cubicBezTo>
                  <a:cubicBezTo>
                    <a:pt x="5071" y="368"/>
                    <a:pt x="4768" y="198"/>
                    <a:pt x="4435" y="198"/>
                  </a:cubicBezTo>
                  <a:cubicBezTo>
                    <a:pt x="4388" y="198"/>
                    <a:pt x="4341" y="202"/>
                    <a:pt x="4295" y="209"/>
                  </a:cubicBezTo>
                  <a:cubicBezTo>
                    <a:pt x="4295" y="209"/>
                    <a:pt x="4295" y="208"/>
                    <a:pt x="4295" y="208"/>
                  </a:cubicBezTo>
                  <a:cubicBezTo>
                    <a:pt x="4215" y="78"/>
                    <a:pt x="4075" y="0"/>
                    <a:pt x="3922" y="0"/>
                  </a:cubicBezTo>
                  <a:cubicBezTo>
                    <a:pt x="3680" y="0"/>
                    <a:pt x="3483" y="196"/>
                    <a:pt x="3483" y="438"/>
                  </a:cubicBezTo>
                  <a:lnTo>
                    <a:pt x="3483" y="1205"/>
                  </a:lnTo>
                  <a:lnTo>
                    <a:pt x="2917" y="1205"/>
                  </a:lnTo>
                  <a:lnTo>
                    <a:pt x="2917" y="438"/>
                  </a:lnTo>
                  <a:cubicBezTo>
                    <a:pt x="2917" y="196"/>
                    <a:pt x="2720" y="0"/>
                    <a:pt x="2478" y="0"/>
                  </a:cubicBezTo>
                  <a:cubicBezTo>
                    <a:pt x="2325" y="0"/>
                    <a:pt x="2186" y="77"/>
                    <a:pt x="2105" y="209"/>
                  </a:cubicBezTo>
                  <a:cubicBezTo>
                    <a:pt x="2059" y="202"/>
                    <a:pt x="2012" y="198"/>
                    <a:pt x="1965" y="198"/>
                  </a:cubicBezTo>
                  <a:cubicBezTo>
                    <a:pt x="1632" y="198"/>
                    <a:pt x="1329" y="368"/>
                    <a:pt x="1154" y="652"/>
                  </a:cubicBezTo>
                  <a:cubicBezTo>
                    <a:pt x="1152" y="655"/>
                    <a:pt x="1144" y="667"/>
                    <a:pt x="968" y="963"/>
                  </a:cubicBezTo>
                  <a:cubicBezTo>
                    <a:pt x="938" y="1014"/>
                    <a:pt x="954" y="1079"/>
                    <a:pt x="1005" y="1110"/>
                  </a:cubicBezTo>
                  <a:cubicBezTo>
                    <a:pt x="1056" y="1140"/>
                    <a:pt x="1122" y="1123"/>
                    <a:pt x="1152" y="1073"/>
                  </a:cubicBezTo>
                  <a:cubicBezTo>
                    <a:pt x="1297" y="829"/>
                    <a:pt x="1332" y="771"/>
                    <a:pt x="1336" y="764"/>
                  </a:cubicBezTo>
                  <a:cubicBezTo>
                    <a:pt x="1472" y="544"/>
                    <a:pt x="1707" y="413"/>
                    <a:pt x="1965" y="413"/>
                  </a:cubicBezTo>
                  <a:cubicBezTo>
                    <a:pt x="2372" y="413"/>
                    <a:pt x="2703" y="743"/>
                    <a:pt x="2703" y="1150"/>
                  </a:cubicBezTo>
                  <a:lnTo>
                    <a:pt x="2703" y="1150"/>
                  </a:lnTo>
                  <a:lnTo>
                    <a:pt x="2703" y="2206"/>
                  </a:lnTo>
                  <a:cubicBezTo>
                    <a:pt x="2446" y="1787"/>
                    <a:pt x="1984" y="1508"/>
                    <a:pt x="1458" y="1508"/>
                  </a:cubicBezTo>
                  <a:cubicBezTo>
                    <a:pt x="1221" y="1508"/>
                    <a:pt x="997" y="1565"/>
                    <a:pt x="798" y="1666"/>
                  </a:cubicBezTo>
                  <a:cubicBezTo>
                    <a:pt x="849" y="1580"/>
                    <a:pt x="903" y="1490"/>
                    <a:pt x="957" y="1399"/>
                  </a:cubicBezTo>
                  <a:cubicBezTo>
                    <a:pt x="987" y="1349"/>
                    <a:pt x="971" y="1283"/>
                    <a:pt x="920" y="1253"/>
                  </a:cubicBezTo>
                  <a:cubicBezTo>
                    <a:pt x="869" y="1222"/>
                    <a:pt x="803" y="1239"/>
                    <a:pt x="773" y="1290"/>
                  </a:cubicBezTo>
                  <a:cubicBezTo>
                    <a:pt x="545" y="1671"/>
                    <a:pt x="187" y="2244"/>
                    <a:pt x="142" y="2339"/>
                  </a:cubicBezTo>
                  <a:cubicBezTo>
                    <a:pt x="51" y="2529"/>
                    <a:pt x="0" y="2742"/>
                    <a:pt x="0" y="2966"/>
                  </a:cubicBezTo>
                  <a:cubicBezTo>
                    <a:pt x="0" y="3770"/>
                    <a:pt x="654" y="4424"/>
                    <a:pt x="1458" y="4424"/>
                  </a:cubicBezTo>
                  <a:cubicBezTo>
                    <a:pt x="2263" y="4424"/>
                    <a:pt x="2917" y="3770"/>
                    <a:pt x="2917" y="2966"/>
                  </a:cubicBezTo>
                  <a:lnTo>
                    <a:pt x="2917" y="2681"/>
                  </a:lnTo>
                  <a:lnTo>
                    <a:pt x="3483" y="2681"/>
                  </a:lnTo>
                  <a:lnTo>
                    <a:pt x="3483" y="2966"/>
                  </a:lnTo>
                  <a:cubicBezTo>
                    <a:pt x="3483" y="3770"/>
                    <a:pt x="4137" y="4424"/>
                    <a:pt x="4942" y="4424"/>
                  </a:cubicBezTo>
                  <a:cubicBezTo>
                    <a:pt x="5746" y="4424"/>
                    <a:pt x="6400" y="3770"/>
                    <a:pt x="6400" y="2966"/>
                  </a:cubicBezTo>
                  <a:cubicBezTo>
                    <a:pt x="6400" y="2735"/>
                    <a:pt x="6346" y="2517"/>
                    <a:pt x="6250" y="2323"/>
                  </a:cubicBezTo>
                  <a:close/>
                  <a:moveTo>
                    <a:pt x="2703" y="550"/>
                  </a:moveTo>
                  <a:cubicBezTo>
                    <a:pt x="2604" y="428"/>
                    <a:pt x="2476" y="332"/>
                    <a:pt x="2329" y="271"/>
                  </a:cubicBezTo>
                  <a:cubicBezTo>
                    <a:pt x="2369" y="234"/>
                    <a:pt x="2422" y="214"/>
                    <a:pt x="2478" y="214"/>
                  </a:cubicBezTo>
                  <a:cubicBezTo>
                    <a:pt x="2602" y="214"/>
                    <a:pt x="2703" y="314"/>
                    <a:pt x="2703" y="438"/>
                  </a:cubicBezTo>
                  <a:lnTo>
                    <a:pt x="2703" y="550"/>
                  </a:lnTo>
                  <a:close/>
                  <a:moveTo>
                    <a:pt x="1458" y="4210"/>
                  </a:moveTo>
                  <a:cubicBezTo>
                    <a:pt x="772" y="4210"/>
                    <a:pt x="214" y="3652"/>
                    <a:pt x="214" y="2966"/>
                  </a:cubicBezTo>
                  <a:cubicBezTo>
                    <a:pt x="214" y="2280"/>
                    <a:pt x="772" y="1722"/>
                    <a:pt x="1458" y="1722"/>
                  </a:cubicBezTo>
                  <a:cubicBezTo>
                    <a:pt x="2144" y="1722"/>
                    <a:pt x="2703" y="2280"/>
                    <a:pt x="2703" y="2966"/>
                  </a:cubicBezTo>
                  <a:cubicBezTo>
                    <a:pt x="2703" y="3652"/>
                    <a:pt x="2144" y="4210"/>
                    <a:pt x="1458" y="4210"/>
                  </a:cubicBezTo>
                  <a:close/>
                  <a:moveTo>
                    <a:pt x="2917" y="2056"/>
                  </a:moveTo>
                  <a:lnTo>
                    <a:pt x="2917" y="1419"/>
                  </a:lnTo>
                  <a:lnTo>
                    <a:pt x="3483" y="1419"/>
                  </a:lnTo>
                  <a:lnTo>
                    <a:pt x="3483" y="2056"/>
                  </a:lnTo>
                  <a:lnTo>
                    <a:pt x="2917" y="2056"/>
                  </a:lnTo>
                  <a:close/>
                  <a:moveTo>
                    <a:pt x="3483" y="2467"/>
                  </a:moveTo>
                  <a:lnTo>
                    <a:pt x="2917" y="2467"/>
                  </a:lnTo>
                  <a:lnTo>
                    <a:pt x="2917" y="2270"/>
                  </a:lnTo>
                  <a:lnTo>
                    <a:pt x="3483" y="2270"/>
                  </a:lnTo>
                  <a:lnTo>
                    <a:pt x="3483" y="2467"/>
                  </a:lnTo>
                  <a:close/>
                  <a:moveTo>
                    <a:pt x="3697" y="438"/>
                  </a:moveTo>
                  <a:cubicBezTo>
                    <a:pt x="3697" y="314"/>
                    <a:pt x="3798" y="214"/>
                    <a:pt x="3922" y="214"/>
                  </a:cubicBezTo>
                  <a:cubicBezTo>
                    <a:pt x="3978" y="214"/>
                    <a:pt x="4031" y="235"/>
                    <a:pt x="4071" y="271"/>
                  </a:cubicBezTo>
                  <a:cubicBezTo>
                    <a:pt x="3925" y="332"/>
                    <a:pt x="3796" y="428"/>
                    <a:pt x="3697" y="550"/>
                  </a:cubicBezTo>
                  <a:lnTo>
                    <a:pt x="3697" y="438"/>
                  </a:lnTo>
                  <a:close/>
                  <a:moveTo>
                    <a:pt x="3697" y="1150"/>
                  </a:moveTo>
                  <a:lnTo>
                    <a:pt x="3697" y="1150"/>
                  </a:lnTo>
                  <a:cubicBezTo>
                    <a:pt x="3697" y="743"/>
                    <a:pt x="4028" y="413"/>
                    <a:pt x="4435" y="413"/>
                  </a:cubicBezTo>
                  <a:cubicBezTo>
                    <a:pt x="4693" y="413"/>
                    <a:pt x="4928" y="544"/>
                    <a:pt x="5064" y="764"/>
                  </a:cubicBezTo>
                  <a:cubicBezTo>
                    <a:pt x="5077" y="785"/>
                    <a:pt x="5344" y="1234"/>
                    <a:pt x="5602" y="1666"/>
                  </a:cubicBezTo>
                  <a:cubicBezTo>
                    <a:pt x="5403" y="1565"/>
                    <a:pt x="5179" y="1508"/>
                    <a:pt x="4942" y="1508"/>
                  </a:cubicBezTo>
                  <a:cubicBezTo>
                    <a:pt x="4416" y="1508"/>
                    <a:pt x="3954" y="1787"/>
                    <a:pt x="3697" y="2206"/>
                  </a:cubicBezTo>
                  <a:lnTo>
                    <a:pt x="3697" y="1150"/>
                  </a:lnTo>
                  <a:close/>
                  <a:moveTo>
                    <a:pt x="4942" y="4210"/>
                  </a:moveTo>
                  <a:cubicBezTo>
                    <a:pt x="4256" y="4210"/>
                    <a:pt x="3697" y="3652"/>
                    <a:pt x="3697" y="2966"/>
                  </a:cubicBezTo>
                  <a:cubicBezTo>
                    <a:pt x="3697" y="2280"/>
                    <a:pt x="4256" y="1722"/>
                    <a:pt x="4942" y="1722"/>
                  </a:cubicBezTo>
                  <a:cubicBezTo>
                    <a:pt x="5628" y="1722"/>
                    <a:pt x="6186" y="2280"/>
                    <a:pt x="6186" y="2966"/>
                  </a:cubicBezTo>
                  <a:cubicBezTo>
                    <a:pt x="6186" y="3652"/>
                    <a:pt x="5628" y="4210"/>
                    <a:pt x="4942" y="421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421">
              <a:extLst>
                <a:ext uri="{FF2B5EF4-FFF2-40B4-BE49-F238E27FC236}">
                  <a16:creationId xmlns:a16="http://schemas.microsoft.com/office/drawing/2014/main" id="{98E118E6-182E-41FE-93D1-E4CE6BCA5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8" y="2268"/>
              <a:ext cx="54" cy="53"/>
            </a:xfrm>
            <a:custGeom>
              <a:avLst/>
              <a:gdLst>
                <a:gd name="T0" fmla="*/ 1937 w 1995"/>
                <a:gd name="T1" fmla="*/ 661 h 1996"/>
                <a:gd name="T2" fmla="*/ 1800 w 1995"/>
                <a:gd name="T3" fmla="*/ 596 h 1996"/>
                <a:gd name="T4" fmla="*/ 1735 w 1995"/>
                <a:gd name="T5" fmla="*/ 733 h 1996"/>
                <a:gd name="T6" fmla="*/ 1781 w 1995"/>
                <a:gd name="T7" fmla="*/ 998 h 1996"/>
                <a:gd name="T8" fmla="*/ 998 w 1995"/>
                <a:gd name="T9" fmla="*/ 1781 h 1996"/>
                <a:gd name="T10" fmla="*/ 214 w 1995"/>
                <a:gd name="T11" fmla="*/ 998 h 1996"/>
                <a:gd name="T12" fmla="*/ 998 w 1995"/>
                <a:gd name="T13" fmla="*/ 215 h 1996"/>
                <a:gd name="T14" fmla="*/ 1571 w 1995"/>
                <a:gd name="T15" fmla="*/ 464 h 1996"/>
                <a:gd name="T16" fmla="*/ 1723 w 1995"/>
                <a:gd name="T17" fmla="*/ 470 h 1996"/>
                <a:gd name="T18" fmla="*/ 1728 w 1995"/>
                <a:gd name="T19" fmla="*/ 319 h 1996"/>
                <a:gd name="T20" fmla="*/ 998 w 1995"/>
                <a:gd name="T21" fmla="*/ 0 h 1996"/>
                <a:gd name="T22" fmla="*/ 0 w 1995"/>
                <a:gd name="T23" fmla="*/ 998 h 1996"/>
                <a:gd name="T24" fmla="*/ 998 w 1995"/>
                <a:gd name="T25" fmla="*/ 1996 h 1996"/>
                <a:gd name="T26" fmla="*/ 1995 w 1995"/>
                <a:gd name="T27" fmla="*/ 998 h 1996"/>
                <a:gd name="T28" fmla="*/ 1937 w 1995"/>
                <a:gd name="T29" fmla="*/ 661 h 1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95" h="1996">
                  <a:moveTo>
                    <a:pt x="1937" y="661"/>
                  </a:moveTo>
                  <a:cubicBezTo>
                    <a:pt x="1917" y="605"/>
                    <a:pt x="1855" y="576"/>
                    <a:pt x="1800" y="596"/>
                  </a:cubicBezTo>
                  <a:cubicBezTo>
                    <a:pt x="1744" y="616"/>
                    <a:pt x="1715" y="677"/>
                    <a:pt x="1735" y="733"/>
                  </a:cubicBezTo>
                  <a:cubicBezTo>
                    <a:pt x="1766" y="818"/>
                    <a:pt x="1781" y="907"/>
                    <a:pt x="1781" y="998"/>
                  </a:cubicBezTo>
                  <a:cubicBezTo>
                    <a:pt x="1781" y="1430"/>
                    <a:pt x="1430" y="1781"/>
                    <a:pt x="998" y="1781"/>
                  </a:cubicBezTo>
                  <a:cubicBezTo>
                    <a:pt x="566" y="1781"/>
                    <a:pt x="214" y="1430"/>
                    <a:pt x="214" y="998"/>
                  </a:cubicBezTo>
                  <a:cubicBezTo>
                    <a:pt x="214" y="566"/>
                    <a:pt x="566" y="215"/>
                    <a:pt x="998" y="215"/>
                  </a:cubicBezTo>
                  <a:cubicBezTo>
                    <a:pt x="1214" y="215"/>
                    <a:pt x="1423" y="306"/>
                    <a:pt x="1571" y="464"/>
                  </a:cubicBezTo>
                  <a:cubicBezTo>
                    <a:pt x="1612" y="508"/>
                    <a:pt x="1679" y="510"/>
                    <a:pt x="1723" y="470"/>
                  </a:cubicBezTo>
                  <a:cubicBezTo>
                    <a:pt x="1766" y="430"/>
                    <a:pt x="1768" y="362"/>
                    <a:pt x="1728" y="319"/>
                  </a:cubicBezTo>
                  <a:cubicBezTo>
                    <a:pt x="1540" y="116"/>
                    <a:pt x="1274" y="0"/>
                    <a:pt x="998" y="0"/>
                  </a:cubicBezTo>
                  <a:cubicBezTo>
                    <a:pt x="447" y="0"/>
                    <a:pt x="0" y="448"/>
                    <a:pt x="0" y="998"/>
                  </a:cubicBezTo>
                  <a:cubicBezTo>
                    <a:pt x="0" y="1548"/>
                    <a:pt x="447" y="1996"/>
                    <a:pt x="998" y="1996"/>
                  </a:cubicBezTo>
                  <a:cubicBezTo>
                    <a:pt x="1548" y="1996"/>
                    <a:pt x="1995" y="1548"/>
                    <a:pt x="1995" y="998"/>
                  </a:cubicBezTo>
                  <a:cubicBezTo>
                    <a:pt x="1995" y="882"/>
                    <a:pt x="1975" y="769"/>
                    <a:pt x="1937" y="66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422">
              <a:extLst>
                <a:ext uri="{FF2B5EF4-FFF2-40B4-BE49-F238E27FC236}">
                  <a16:creationId xmlns:a16="http://schemas.microsoft.com/office/drawing/2014/main" id="{7A37BCE4-9442-483C-9529-D94D192C84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4" y="2268"/>
              <a:ext cx="54" cy="53"/>
            </a:xfrm>
            <a:custGeom>
              <a:avLst/>
              <a:gdLst>
                <a:gd name="T0" fmla="*/ 997 w 1995"/>
                <a:gd name="T1" fmla="*/ 0 h 1996"/>
                <a:gd name="T2" fmla="*/ 0 w 1995"/>
                <a:gd name="T3" fmla="*/ 998 h 1996"/>
                <a:gd name="T4" fmla="*/ 997 w 1995"/>
                <a:gd name="T5" fmla="*/ 1996 h 1996"/>
                <a:gd name="T6" fmla="*/ 1995 w 1995"/>
                <a:gd name="T7" fmla="*/ 998 h 1996"/>
                <a:gd name="T8" fmla="*/ 997 w 1995"/>
                <a:gd name="T9" fmla="*/ 0 h 1996"/>
                <a:gd name="T10" fmla="*/ 997 w 1995"/>
                <a:gd name="T11" fmla="*/ 1781 h 1996"/>
                <a:gd name="T12" fmla="*/ 214 w 1995"/>
                <a:gd name="T13" fmla="*/ 998 h 1996"/>
                <a:gd name="T14" fmla="*/ 997 w 1995"/>
                <a:gd name="T15" fmla="*/ 215 h 1996"/>
                <a:gd name="T16" fmla="*/ 1781 w 1995"/>
                <a:gd name="T17" fmla="*/ 998 h 1996"/>
                <a:gd name="T18" fmla="*/ 997 w 1995"/>
                <a:gd name="T19" fmla="*/ 1781 h 1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95" h="1996">
                  <a:moveTo>
                    <a:pt x="997" y="0"/>
                  </a:moveTo>
                  <a:cubicBezTo>
                    <a:pt x="447" y="0"/>
                    <a:pt x="0" y="448"/>
                    <a:pt x="0" y="998"/>
                  </a:cubicBezTo>
                  <a:cubicBezTo>
                    <a:pt x="0" y="1548"/>
                    <a:pt x="447" y="1996"/>
                    <a:pt x="997" y="1996"/>
                  </a:cubicBezTo>
                  <a:cubicBezTo>
                    <a:pt x="1548" y="1996"/>
                    <a:pt x="1995" y="1548"/>
                    <a:pt x="1995" y="998"/>
                  </a:cubicBezTo>
                  <a:cubicBezTo>
                    <a:pt x="1995" y="448"/>
                    <a:pt x="1548" y="0"/>
                    <a:pt x="997" y="0"/>
                  </a:cubicBezTo>
                  <a:close/>
                  <a:moveTo>
                    <a:pt x="997" y="1781"/>
                  </a:moveTo>
                  <a:cubicBezTo>
                    <a:pt x="565" y="1781"/>
                    <a:pt x="214" y="1430"/>
                    <a:pt x="214" y="998"/>
                  </a:cubicBezTo>
                  <a:cubicBezTo>
                    <a:pt x="214" y="566"/>
                    <a:pt x="565" y="215"/>
                    <a:pt x="997" y="215"/>
                  </a:cubicBezTo>
                  <a:cubicBezTo>
                    <a:pt x="1429" y="215"/>
                    <a:pt x="1781" y="566"/>
                    <a:pt x="1781" y="998"/>
                  </a:cubicBezTo>
                  <a:cubicBezTo>
                    <a:pt x="1781" y="1430"/>
                    <a:pt x="1429" y="1781"/>
                    <a:pt x="997" y="178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B0D2E5A2-03B2-4212-BFB6-CF9613F1A88E}"/>
              </a:ext>
            </a:extLst>
          </p:cNvPr>
          <p:cNvSpPr/>
          <p:nvPr/>
        </p:nvSpPr>
        <p:spPr>
          <a:xfrm>
            <a:off x="431998" y="4722286"/>
            <a:ext cx="2981723" cy="1745548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/>
          <a:lstStyle/>
          <a:p>
            <a:pPr>
              <a:spcAft>
                <a:spcPts val="600"/>
              </a:spcAft>
            </a:pPr>
            <a:r>
              <a:rPr lang="ru-RU" sz="1200" dirty="0">
                <a:solidFill>
                  <a:schemeClr val="tx2"/>
                </a:solidFill>
              </a:rPr>
              <a:t>Давлат </a:t>
            </a:r>
            <a:r>
              <a:rPr lang="ru-RU" sz="1200" dirty="0" err="1">
                <a:solidFill>
                  <a:schemeClr val="tx2"/>
                </a:solidFill>
              </a:rPr>
              <a:t>орга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ходимларининг</a:t>
            </a:r>
            <a:r>
              <a:rPr lang="ru-RU" sz="1200" dirty="0">
                <a:solidFill>
                  <a:schemeClr val="tx2"/>
                </a:solidFill>
              </a:rPr>
              <a:t> коррупцияга </a:t>
            </a:r>
            <a:r>
              <a:rPr lang="ru-RU" sz="1200" dirty="0" err="1">
                <a:solidFill>
                  <a:schemeClr val="tx2"/>
                </a:solidFill>
              </a:rPr>
              <a:t>қарш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ураш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лаблар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ртиб-таомиллар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ўғриси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хабардорлиг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шир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йич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чора-тадбирла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ишлаб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чиқиш</a:t>
            </a:r>
            <a:r>
              <a:rPr lang="ru-RU" sz="1200" dirty="0">
                <a:solidFill>
                  <a:schemeClr val="tx2"/>
                </a:solidFill>
              </a:rPr>
              <a:t>.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029E3DC-932B-4F6A-BA84-D307BBC59CAF}"/>
              </a:ext>
            </a:extLst>
          </p:cNvPr>
          <p:cNvGrpSpPr/>
          <p:nvPr/>
        </p:nvGrpSpPr>
        <p:grpSpPr>
          <a:xfrm>
            <a:off x="-2" y="4092359"/>
            <a:ext cx="3413724" cy="573322"/>
            <a:chOff x="-3" y="1138806"/>
            <a:chExt cx="9575803" cy="146304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6DF8BE4E-9792-4C43-97FF-205889CED9D8}"/>
                </a:ext>
              </a:extLst>
            </p:cNvPr>
            <p:cNvSpPr/>
            <p:nvPr/>
          </p:nvSpPr>
          <p:spPr>
            <a:xfrm>
              <a:off x="-3" y="1138806"/>
              <a:ext cx="1282562" cy="1463040"/>
            </a:xfrm>
            <a:prstGeom prst="rect">
              <a:avLst/>
            </a:prstGeom>
            <a:solidFill>
              <a:srgbClr val="CDF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D0992BC4-7607-4276-A303-48E0208017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Blur radius="3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" t="25090" r="277" b="26127"/>
            <a:stretch/>
          </p:blipFill>
          <p:spPr>
            <a:xfrm>
              <a:off x="0" y="1138806"/>
              <a:ext cx="9575800" cy="1458253"/>
            </a:xfrm>
            <a:prstGeom prst="roundRect">
              <a:avLst>
                <a:gd name="adj" fmla="val 50000"/>
              </a:avLst>
            </a:prstGeom>
          </p:spPr>
        </p:pic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B2B4F841-3821-4498-AEAD-FC9DF4F8FB01}"/>
              </a:ext>
            </a:extLst>
          </p:cNvPr>
          <p:cNvSpPr txBox="1"/>
          <p:nvPr/>
        </p:nvSpPr>
        <p:spPr>
          <a:xfrm>
            <a:off x="416561" y="4098929"/>
            <a:ext cx="1327179" cy="55475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Натижа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: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C9E9A9E-3065-4AC9-AE6B-A402B18724F5}"/>
              </a:ext>
            </a:extLst>
          </p:cNvPr>
          <p:cNvGrpSpPr/>
          <p:nvPr/>
        </p:nvGrpSpPr>
        <p:grpSpPr>
          <a:xfrm rot="5400000">
            <a:off x="2870031" y="4202967"/>
            <a:ext cx="238043" cy="377590"/>
            <a:chOff x="3841139" y="1940745"/>
            <a:chExt cx="238043" cy="442712"/>
          </a:xfrm>
          <a:solidFill>
            <a:srgbClr val="1BD7D3"/>
          </a:solidFill>
        </p:grpSpPr>
        <p:sp>
          <p:nvSpPr>
            <p:cNvPr id="39" name="Arrow: Chevron 38">
              <a:extLst>
                <a:ext uri="{FF2B5EF4-FFF2-40B4-BE49-F238E27FC236}">
                  <a16:creationId xmlns:a16="http://schemas.microsoft.com/office/drawing/2014/main" id="{6AC38992-A38E-4A85-8370-29B4B189D6FC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40" name="Arrow: Chevron 39">
              <a:extLst>
                <a:ext uri="{FF2B5EF4-FFF2-40B4-BE49-F238E27FC236}">
                  <a16:creationId xmlns:a16="http://schemas.microsoft.com/office/drawing/2014/main" id="{DFAD0171-1089-44A4-B5A0-4A83CDE22423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41" name="Picture 2" descr="https://w7.pngwing.com/pngs/564/452/png-transparent-flag-of-uzbekistan-emoji-flag-of-albania-emoji-flag-text-logo.png">
            <a:extLst>
              <a:ext uri="{FF2B5EF4-FFF2-40B4-BE49-F238E27FC236}">
                <a16:creationId xmlns:a16="http://schemas.microsoft.com/office/drawing/2014/main" id="{667EBEF9-89A0-4EBC-86A1-FEE41734870F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93" t="2618" r="24782" b="2590"/>
          <a:stretch/>
        </p:blipFill>
        <p:spPr bwMode="auto">
          <a:xfrm>
            <a:off x="10811994" y="624763"/>
            <a:ext cx="612000" cy="612000"/>
          </a:xfrm>
          <a:prstGeom prst="flowChartConnector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38646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960584C-4FEF-4714-BF96-65F1DAF53A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2690" y="3163773"/>
            <a:ext cx="4717312" cy="3202532"/>
          </a:xfrm>
          <a:prstGeom prst="rect">
            <a:avLst/>
          </a:prstGeom>
          <a:ln w="6350">
            <a:solidFill>
              <a:srgbClr val="1BD7D3"/>
            </a:solidFill>
          </a:ln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1EAD294-26C9-4345-8EDC-160BAD912D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</a:t>
            </a:r>
            <a:r>
              <a:rPr lang="ru-RU" dirty="0"/>
              <a:t> </a:t>
            </a:r>
            <a:r>
              <a:rPr lang="ru-RU" dirty="0" err="1"/>
              <a:t>тизимини</a:t>
            </a:r>
            <a:r>
              <a:rPr lang="ru-RU" dirty="0"/>
              <a:t> мониторинг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назорат</a:t>
            </a:r>
            <a:r>
              <a:rPr lang="ru-RU" dirty="0"/>
              <a:t> </a:t>
            </a:r>
            <a:r>
              <a:rPr lang="ru-RU" dirty="0" err="1"/>
              <a:t>қилиш</a:t>
            </a:r>
            <a:r>
              <a:rPr lang="ru-RU" dirty="0"/>
              <a:t>: Ўзбекистон </a:t>
            </a:r>
            <a:r>
              <a:rPr lang="ru-RU" dirty="0" err="1"/>
              <a:t>Республикасида</a:t>
            </a:r>
            <a:r>
              <a:rPr lang="ru-RU" dirty="0"/>
              <a:t> </a:t>
            </a:r>
            <a:r>
              <a:rPr lang="ru-RU" dirty="0" err="1"/>
              <a:t>амалга</a:t>
            </a:r>
            <a:r>
              <a:rPr lang="ru-RU" dirty="0"/>
              <a:t> </a:t>
            </a:r>
            <a:r>
              <a:rPr lang="ru-RU" dirty="0" err="1"/>
              <a:t>ошириш</a:t>
            </a:r>
            <a:r>
              <a:rPr lang="ru-RU" dirty="0"/>
              <a:t> </a:t>
            </a:r>
            <a:r>
              <a:rPr lang="ru-RU" dirty="0" err="1"/>
              <a:t>амалиёти</a:t>
            </a:r>
            <a:r>
              <a:rPr lang="ru-RU" dirty="0"/>
              <a:t> (6/8)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31A4AC9-8373-424E-98D1-BC7D623AC761}"/>
              </a:ext>
            </a:extLst>
          </p:cNvPr>
          <p:cNvGrpSpPr/>
          <p:nvPr/>
        </p:nvGrpSpPr>
        <p:grpSpPr>
          <a:xfrm>
            <a:off x="228611" y="1281474"/>
            <a:ext cx="11520476" cy="737830"/>
            <a:chOff x="3633720" y="1288397"/>
            <a:chExt cx="8115368" cy="441117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FAF830B2-D40A-42C0-AF2D-AD896190A23D}"/>
                </a:ext>
              </a:extLst>
            </p:cNvPr>
            <p:cNvSpPr/>
            <p:nvPr/>
          </p:nvSpPr>
          <p:spPr>
            <a:xfrm>
              <a:off x="3921193" y="1348907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524445AA-D55D-459F-A7EF-6F894463B63B}"/>
                </a:ext>
              </a:extLst>
            </p:cNvPr>
            <p:cNvSpPr/>
            <p:nvPr/>
          </p:nvSpPr>
          <p:spPr>
            <a:xfrm>
              <a:off x="3633720" y="1288397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ррупцияга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арш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ураши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дастурлар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/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йўл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хариталар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ажарилиши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мониторинг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илиш</a:t>
              </a:r>
              <a:endParaRPr lang="ru-RU" sz="14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14" name="object 15">
            <a:extLst>
              <a:ext uri="{FF2B5EF4-FFF2-40B4-BE49-F238E27FC236}">
                <a16:creationId xmlns:a16="http://schemas.microsoft.com/office/drawing/2014/main" id="{3826DFD0-E55E-4144-9807-98C1DDC5747C}"/>
              </a:ext>
            </a:extLst>
          </p:cNvPr>
          <p:cNvSpPr txBox="1"/>
          <p:nvPr/>
        </p:nvSpPr>
        <p:spPr>
          <a:xfrm>
            <a:off x="1271993" y="2119292"/>
            <a:ext cx="2141729" cy="48695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Масъул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шахс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 </a:t>
            </a:r>
          </a:p>
          <a:p>
            <a:pPr marL="10319">
              <a:spcAft>
                <a:spcPts val="600"/>
              </a:spcAft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Комплаенс-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инмас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5" name="object 12">
            <a:extLst>
              <a:ext uri="{FF2B5EF4-FFF2-40B4-BE49-F238E27FC236}">
                <a16:creationId xmlns:a16="http://schemas.microsoft.com/office/drawing/2014/main" id="{6AFE8E87-B8DD-404A-80F4-F225BB57913B}"/>
              </a:ext>
            </a:extLst>
          </p:cNvPr>
          <p:cNvSpPr/>
          <p:nvPr/>
        </p:nvSpPr>
        <p:spPr>
          <a:xfrm>
            <a:off x="456832" y="207111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15">
            <a:extLst>
              <a:ext uri="{FF2B5EF4-FFF2-40B4-BE49-F238E27FC236}">
                <a16:creationId xmlns:a16="http://schemas.microsoft.com/office/drawing/2014/main" id="{0F85CDD2-BF18-4039-A50E-95C956D8F86C}"/>
              </a:ext>
            </a:extLst>
          </p:cNvPr>
          <p:cNvSpPr txBox="1"/>
          <p:nvPr/>
        </p:nvSpPr>
        <p:spPr>
          <a:xfrm>
            <a:off x="1271993" y="3056941"/>
            <a:ext cx="2141730" cy="48695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Даврийлик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 </a:t>
            </a:r>
          </a:p>
          <a:p>
            <a:pPr marL="10319">
              <a:spcAft>
                <a:spcPts val="600"/>
              </a:spcAft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чорак</a:t>
            </a:r>
            <a:endParaRPr lang="ru-RU"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7" name="object 12">
            <a:extLst>
              <a:ext uri="{FF2B5EF4-FFF2-40B4-BE49-F238E27FC236}">
                <a16:creationId xmlns:a16="http://schemas.microsoft.com/office/drawing/2014/main" id="{35EA5F94-EF0C-4DBF-92F2-B38D9935E545}"/>
              </a:ext>
            </a:extLst>
          </p:cNvPr>
          <p:cNvSpPr/>
          <p:nvPr/>
        </p:nvSpPr>
        <p:spPr>
          <a:xfrm>
            <a:off x="456832" y="298810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8" name="Group 379">
            <a:extLst>
              <a:ext uri="{FF2B5EF4-FFF2-40B4-BE49-F238E27FC236}">
                <a16:creationId xmlns:a16="http://schemas.microsoft.com/office/drawing/2014/main" id="{418B0D97-B98D-43DA-ABC6-3EF9B23B822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3080" y="3070945"/>
            <a:ext cx="590071" cy="596415"/>
            <a:chOff x="1156" y="3368"/>
            <a:chExt cx="279" cy="282"/>
          </a:xfrm>
          <a:solidFill>
            <a:schemeClr val="bg2">
              <a:lumMod val="25000"/>
            </a:schemeClr>
          </a:solidFill>
        </p:grpSpPr>
        <p:sp>
          <p:nvSpPr>
            <p:cNvPr id="19" name="Freeform 380">
              <a:extLst>
                <a:ext uri="{FF2B5EF4-FFF2-40B4-BE49-F238E27FC236}">
                  <a16:creationId xmlns:a16="http://schemas.microsoft.com/office/drawing/2014/main" id="{8C441EB2-75AE-43F4-A2DF-01440C406D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69" y="3516"/>
              <a:ext cx="96" cy="93"/>
            </a:xfrm>
            <a:custGeom>
              <a:avLst/>
              <a:gdLst>
                <a:gd name="T0" fmla="*/ 2440 w 2899"/>
                <a:gd name="T1" fmla="*/ 437 h 2811"/>
                <a:gd name="T2" fmla="*/ 2262 w 2899"/>
                <a:gd name="T3" fmla="*/ 444 h 2811"/>
                <a:gd name="T4" fmla="*/ 2269 w 2899"/>
                <a:gd name="T5" fmla="*/ 621 h 2811"/>
                <a:gd name="T6" fmla="*/ 2341 w 2899"/>
                <a:gd name="T7" fmla="*/ 693 h 2811"/>
                <a:gd name="T8" fmla="*/ 2631 w 2899"/>
                <a:gd name="T9" fmla="*/ 1496 h 2811"/>
                <a:gd name="T10" fmla="*/ 2269 w 2899"/>
                <a:gd name="T11" fmla="*/ 2269 h 2811"/>
                <a:gd name="T12" fmla="*/ 694 w 2899"/>
                <a:gd name="T13" fmla="*/ 2197 h 2811"/>
                <a:gd name="T14" fmla="*/ 765 w 2899"/>
                <a:gd name="T15" fmla="*/ 622 h 2811"/>
                <a:gd name="T16" fmla="*/ 1835 w 2899"/>
                <a:gd name="T17" fmla="*/ 376 h 2811"/>
                <a:gd name="T18" fmla="*/ 1991 w 2899"/>
                <a:gd name="T19" fmla="*/ 292 h 2811"/>
                <a:gd name="T20" fmla="*/ 1906 w 2899"/>
                <a:gd name="T21" fmla="*/ 135 h 2811"/>
                <a:gd name="T22" fmla="*/ 596 w 2899"/>
                <a:gd name="T23" fmla="*/ 436 h 2811"/>
                <a:gd name="T24" fmla="*/ 508 w 2899"/>
                <a:gd name="T25" fmla="*/ 2366 h 2811"/>
                <a:gd name="T26" fmla="*/ 1518 w 2899"/>
                <a:gd name="T27" fmla="*/ 2811 h 2811"/>
                <a:gd name="T28" fmla="*/ 2439 w 2899"/>
                <a:gd name="T29" fmla="*/ 2454 h 2811"/>
                <a:gd name="T30" fmla="*/ 2882 w 2899"/>
                <a:gd name="T31" fmla="*/ 1507 h 2811"/>
                <a:gd name="T32" fmla="*/ 2526 w 2899"/>
                <a:gd name="T33" fmla="*/ 523 h 2811"/>
                <a:gd name="T34" fmla="*/ 2440 w 2899"/>
                <a:gd name="T35" fmla="*/ 437 h 2811"/>
                <a:gd name="T36" fmla="*/ 2440 w 2899"/>
                <a:gd name="T37" fmla="*/ 437 h 2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99" h="2811">
                  <a:moveTo>
                    <a:pt x="2440" y="437"/>
                  </a:moveTo>
                  <a:cubicBezTo>
                    <a:pt x="2389" y="390"/>
                    <a:pt x="2310" y="393"/>
                    <a:pt x="2262" y="444"/>
                  </a:cubicBezTo>
                  <a:cubicBezTo>
                    <a:pt x="2215" y="494"/>
                    <a:pt x="2218" y="574"/>
                    <a:pt x="2269" y="621"/>
                  </a:cubicBezTo>
                  <a:cubicBezTo>
                    <a:pt x="2294" y="645"/>
                    <a:pt x="2318" y="669"/>
                    <a:pt x="2341" y="693"/>
                  </a:cubicBezTo>
                  <a:cubicBezTo>
                    <a:pt x="2541" y="913"/>
                    <a:pt x="2645" y="1198"/>
                    <a:pt x="2631" y="1496"/>
                  </a:cubicBezTo>
                  <a:cubicBezTo>
                    <a:pt x="2618" y="1793"/>
                    <a:pt x="2489" y="2068"/>
                    <a:pt x="2269" y="2269"/>
                  </a:cubicBezTo>
                  <a:cubicBezTo>
                    <a:pt x="1815" y="2683"/>
                    <a:pt x="1108" y="2651"/>
                    <a:pt x="694" y="2197"/>
                  </a:cubicBezTo>
                  <a:cubicBezTo>
                    <a:pt x="279" y="1743"/>
                    <a:pt x="311" y="1037"/>
                    <a:pt x="765" y="622"/>
                  </a:cubicBezTo>
                  <a:cubicBezTo>
                    <a:pt x="1057" y="356"/>
                    <a:pt x="1456" y="264"/>
                    <a:pt x="1835" y="376"/>
                  </a:cubicBezTo>
                  <a:cubicBezTo>
                    <a:pt x="1901" y="396"/>
                    <a:pt x="1971" y="358"/>
                    <a:pt x="1991" y="292"/>
                  </a:cubicBezTo>
                  <a:cubicBezTo>
                    <a:pt x="2011" y="225"/>
                    <a:pt x="1973" y="155"/>
                    <a:pt x="1906" y="135"/>
                  </a:cubicBezTo>
                  <a:cubicBezTo>
                    <a:pt x="1450" y="0"/>
                    <a:pt x="947" y="115"/>
                    <a:pt x="596" y="436"/>
                  </a:cubicBezTo>
                  <a:cubicBezTo>
                    <a:pt x="39" y="944"/>
                    <a:pt x="0" y="1811"/>
                    <a:pt x="508" y="2366"/>
                  </a:cubicBezTo>
                  <a:cubicBezTo>
                    <a:pt x="777" y="2661"/>
                    <a:pt x="1147" y="2811"/>
                    <a:pt x="1518" y="2811"/>
                  </a:cubicBezTo>
                  <a:cubicBezTo>
                    <a:pt x="1847" y="2811"/>
                    <a:pt x="2177" y="2693"/>
                    <a:pt x="2439" y="2454"/>
                  </a:cubicBezTo>
                  <a:cubicBezTo>
                    <a:pt x="2708" y="2208"/>
                    <a:pt x="2866" y="1872"/>
                    <a:pt x="2882" y="1507"/>
                  </a:cubicBezTo>
                  <a:cubicBezTo>
                    <a:pt x="2899" y="1143"/>
                    <a:pt x="2772" y="793"/>
                    <a:pt x="2526" y="523"/>
                  </a:cubicBezTo>
                  <a:cubicBezTo>
                    <a:pt x="2498" y="493"/>
                    <a:pt x="2470" y="465"/>
                    <a:pt x="2440" y="437"/>
                  </a:cubicBezTo>
                  <a:close/>
                  <a:moveTo>
                    <a:pt x="2440" y="437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381">
              <a:extLst>
                <a:ext uri="{FF2B5EF4-FFF2-40B4-BE49-F238E27FC236}">
                  <a16:creationId xmlns:a16="http://schemas.microsoft.com/office/drawing/2014/main" id="{C95C7C7D-024F-470B-95A6-0644354FDE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5" y="3452"/>
              <a:ext cx="49" cy="49"/>
            </a:xfrm>
            <a:custGeom>
              <a:avLst/>
              <a:gdLst>
                <a:gd name="T0" fmla="*/ 882 w 1469"/>
                <a:gd name="T1" fmla="*/ 15 h 1469"/>
                <a:gd name="T2" fmla="*/ 734 w 1469"/>
                <a:gd name="T3" fmla="*/ 0 h 1469"/>
                <a:gd name="T4" fmla="*/ 586 w 1469"/>
                <a:gd name="T5" fmla="*/ 15 h 1469"/>
                <a:gd name="T6" fmla="*/ 0 w 1469"/>
                <a:gd name="T7" fmla="*/ 735 h 1469"/>
                <a:gd name="T8" fmla="*/ 734 w 1469"/>
                <a:gd name="T9" fmla="*/ 1469 h 1469"/>
                <a:gd name="T10" fmla="*/ 1469 w 1469"/>
                <a:gd name="T11" fmla="*/ 735 h 1469"/>
                <a:gd name="T12" fmla="*/ 882 w 1469"/>
                <a:gd name="T13" fmla="*/ 15 h 1469"/>
                <a:gd name="T14" fmla="*/ 734 w 1469"/>
                <a:gd name="T15" fmla="*/ 1218 h 1469"/>
                <a:gd name="T16" fmla="*/ 252 w 1469"/>
                <a:gd name="T17" fmla="*/ 735 h 1469"/>
                <a:gd name="T18" fmla="*/ 734 w 1469"/>
                <a:gd name="T19" fmla="*/ 252 h 1469"/>
                <a:gd name="T20" fmla="*/ 1217 w 1469"/>
                <a:gd name="T21" fmla="*/ 735 h 1469"/>
                <a:gd name="T22" fmla="*/ 734 w 1469"/>
                <a:gd name="T23" fmla="*/ 1218 h 1469"/>
                <a:gd name="T24" fmla="*/ 734 w 1469"/>
                <a:gd name="T25" fmla="*/ 1218 h 1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69" h="1469">
                  <a:moveTo>
                    <a:pt x="882" y="15"/>
                  </a:moveTo>
                  <a:cubicBezTo>
                    <a:pt x="834" y="6"/>
                    <a:pt x="785" y="0"/>
                    <a:pt x="734" y="0"/>
                  </a:cubicBezTo>
                  <a:cubicBezTo>
                    <a:pt x="684" y="0"/>
                    <a:pt x="634" y="6"/>
                    <a:pt x="586" y="15"/>
                  </a:cubicBezTo>
                  <a:cubicBezTo>
                    <a:pt x="252" y="84"/>
                    <a:pt x="0" y="380"/>
                    <a:pt x="0" y="735"/>
                  </a:cubicBezTo>
                  <a:cubicBezTo>
                    <a:pt x="0" y="1140"/>
                    <a:pt x="329" y="1469"/>
                    <a:pt x="734" y="1469"/>
                  </a:cubicBezTo>
                  <a:cubicBezTo>
                    <a:pt x="1139" y="1469"/>
                    <a:pt x="1469" y="1140"/>
                    <a:pt x="1469" y="735"/>
                  </a:cubicBezTo>
                  <a:cubicBezTo>
                    <a:pt x="1469" y="380"/>
                    <a:pt x="1217" y="84"/>
                    <a:pt x="882" y="15"/>
                  </a:cubicBezTo>
                  <a:close/>
                  <a:moveTo>
                    <a:pt x="734" y="1218"/>
                  </a:moveTo>
                  <a:cubicBezTo>
                    <a:pt x="468" y="1218"/>
                    <a:pt x="252" y="1001"/>
                    <a:pt x="252" y="735"/>
                  </a:cubicBezTo>
                  <a:cubicBezTo>
                    <a:pt x="252" y="468"/>
                    <a:pt x="468" y="252"/>
                    <a:pt x="734" y="252"/>
                  </a:cubicBezTo>
                  <a:cubicBezTo>
                    <a:pt x="1001" y="252"/>
                    <a:pt x="1217" y="468"/>
                    <a:pt x="1217" y="735"/>
                  </a:cubicBezTo>
                  <a:cubicBezTo>
                    <a:pt x="1217" y="1001"/>
                    <a:pt x="1001" y="1218"/>
                    <a:pt x="734" y="1218"/>
                  </a:cubicBezTo>
                  <a:close/>
                  <a:moveTo>
                    <a:pt x="734" y="121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82">
              <a:extLst>
                <a:ext uri="{FF2B5EF4-FFF2-40B4-BE49-F238E27FC236}">
                  <a16:creationId xmlns:a16="http://schemas.microsoft.com/office/drawing/2014/main" id="{4F1DE831-134E-4B3B-8C13-59DB78720A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6" y="3368"/>
              <a:ext cx="279" cy="282"/>
            </a:xfrm>
            <a:custGeom>
              <a:avLst/>
              <a:gdLst>
                <a:gd name="T0" fmla="*/ 7982 w 8433"/>
                <a:gd name="T1" fmla="*/ 1329 h 8517"/>
                <a:gd name="T2" fmla="*/ 6247 w 8433"/>
                <a:gd name="T3" fmla="*/ 251 h 8517"/>
                <a:gd name="T4" fmla="*/ 6247 w 8433"/>
                <a:gd name="T5" fmla="*/ 0 h 8517"/>
                <a:gd name="T6" fmla="*/ 3586 w 8433"/>
                <a:gd name="T7" fmla="*/ 1250 h 8517"/>
                <a:gd name="T8" fmla="*/ 2858 w 8433"/>
                <a:gd name="T9" fmla="*/ 733 h 8517"/>
                <a:gd name="T10" fmla="*/ 1598 w 8433"/>
                <a:gd name="T11" fmla="*/ 1359 h 8517"/>
                <a:gd name="T12" fmla="*/ 409 w 8433"/>
                <a:gd name="T13" fmla="*/ 1962 h 8517"/>
                <a:gd name="T14" fmla="*/ 367 w 8433"/>
                <a:gd name="T15" fmla="*/ 2583 h 8517"/>
                <a:gd name="T16" fmla="*/ 551 w 8433"/>
                <a:gd name="T17" fmla="*/ 3958 h 8517"/>
                <a:gd name="T18" fmla="*/ 516 w 8433"/>
                <a:gd name="T19" fmla="*/ 4839 h 8517"/>
                <a:gd name="T20" fmla="*/ 1850 w 8433"/>
                <a:gd name="T21" fmla="*/ 5256 h 8517"/>
                <a:gd name="T22" fmla="*/ 2324 w 8433"/>
                <a:gd name="T23" fmla="*/ 6117 h 8517"/>
                <a:gd name="T24" fmla="*/ 2951 w 8433"/>
                <a:gd name="T25" fmla="*/ 6767 h 8517"/>
                <a:gd name="T26" fmla="*/ 3237 w 8433"/>
                <a:gd name="T27" fmla="*/ 7901 h 8517"/>
                <a:gd name="T28" fmla="*/ 4132 w 8433"/>
                <a:gd name="T29" fmla="*/ 8097 h 8517"/>
                <a:gd name="T30" fmla="*/ 5413 w 8433"/>
                <a:gd name="T31" fmla="*/ 8419 h 8517"/>
                <a:gd name="T32" fmla="*/ 5916 w 8433"/>
                <a:gd name="T33" fmla="*/ 8022 h 8517"/>
                <a:gd name="T34" fmla="*/ 7049 w 8433"/>
                <a:gd name="T35" fmla="*/ 7345 h 8517"/>
                <a:gd name="T36" fmla="*/ 7124 w 8433"/>
                <a:gd name="T37" fmla="*/ 6708 h 8517"/>
                <a:gd name="T38" fmla="*/ 7188 w 8433"/>
                <a:gd name="T39" fmla="*/ 5307 h 8517"/>
                <a:gd name="T40" fmla="*/ 7074 w 8433"/>
                <a:gd name="T41" fmla="*/ 4397 h 8517"/>
                <a:gd name="T42" fmla="*/ 2350 w 8433"/>
                <a:gd name="T43" fmla="*/ 5557 h 8517"/>
                <a:gd name="T44" fmla="*/ 2012 w 8433"/>
                <a:gd name="T45" fmla="*/ 5045 h 8517"/>
                <a:gd name="T46" fmla="*/ 1147 w 8433"/>
                <a:gd name="T47" fmla="*/ 5114 h 8517"/>
                <a:gd name="T48" fmla="*/ 890 w 8433"/>
                <a:gd name="T49" fmla="*/ 4300 h 8517"/>
                <a:gd name="T50" fmla="*/ 367 w 8433"/>
                <a:gd name="T51" fmla="*/ 3707 h 8517"/>
                <a:gd name="T52" fmla="*/ 633 w 8433"/>
                <a:gd name="T53" fmla="*/ 2835 h 8517"/>
                <a:gd name="T54" fmla="*/ 694 w 8433"/>
                <a:gd name="T55" fmla="*/ 2044 h 8517"/>
                <a:gd name="T56" fmla="*/ 1311 w 8433"/>
                <a:gd name="T57" fmla="*/ 1427 h 8517"/>
                <a:gd name="T58" fmla="*/ 2101 w 8433"/>
                <a:gd name="T59" fmla="*/ 1342 h 8517"/>
                <a:gd name="T60" fmla="*/ 2974 w 8433"/>
                <a:gd name="T61" fmla="*/ 1100 h 8517"/>
                <a:gd name="T62" fmla="*/ 3602 w 8433"/>
                <a:gd name="T63" fmla="*/ 1590 h 8517"/>
                <a:gd name="T64" fmla="*/ 4132 w 8433"/>
                <a:gd name="T65" fmla="*/ 1632 h 8517"/>
                <a:gd name="T66" fmla="*/ 4328 w 8433"/>
                <a:gd name="T67" fmla="*/ 3795 h 8517"/>
                <a:gd name="T68" fmla="*/ 3874 w 8433"/>
                <a:gd name="T69" fmla="*/ 3271 h 8517"/>
                <a:gd name="T70" fmla="*/ 2830 w 8433"/>
                <a:gd name="T71" fmla="*/ 4575 h 8517"/>
                <a:gd name="T72" fmla="*/ 2743 w 8433"/>
                <a:gd name="T73" fmla="*/ 5104 h 8517"/>
                <a:gd name="T74" fmla="*/ 3535 w 8433"/>
                <a:gd name="T75" fmla="*/ 3697 h 8517"/>
                <a:gd name="T76" fmla="*/ 2537 w 8433"/>
                <a:gd name="T77" fmla="*/ 4356 h 8517"/>
                <a:gd name="T78" fmla="*/ 7177 w 8433"/>
                <a:gd name="T79" fmla="*/ 5558 h 8517"/>
                <a:gd name="T80" fmla="*/ 7136 w 8433"/>
                <a:gd name="T81" fmla="*/ 6457 h 8517"/>
                <a:gd name="T82" fmla="*/ 6583 w 8433"/>
                <a:gd name="T83" fmla="*/ 7045 h 8517"/>
                <a:gd name="T84" fmla="*/ 6273 w 8433"/>
                <a:gd name="T85" fmla="*/ 7861 h 8517"/>
                <a:gd name="T86" fmla="*/ 5764 w 8433"/>
                <a:gd name="T87" fmla="*/ 7615 h 8517"/>
                <a:gd name="T88" fmla="*/ 5243 w 8433"/>
                <a:gd name="T89" fmla="*/ 8233 h 8517"/>
                <a:gd name="T90" fmla="*/ 4396 w 8433"/>
                <a:gd name="T91" fmla="*/ 7824 h 8517"/>
                <a:gd name="T92" fmla="*/ 3595 w 8433"/>
                <a:gd name="T93" fmla="*/ 7739 h 8517"/>
                <a:gd name="T94" fmla="*/ 2987 w 8433"/>
                <a:gd name="T95" fmla="*/ 7074 h 8517"/>
                <a:gd name="T96" fmla="*/ 2959 w 8433"/>
                <a:gd name="T97" fmla="*/ 6267 h 8517"/>
                <a:gd name="T98" fmla="*/ 2605 w 8433"/>
                <a:gd name="T99" fmla="*/ 5472 h 8517"/>
                <a:gd name="T100" fmla="*/ 3110 w 8433"/>
                <a:gd name="T101" fmla="*/ 5281 h 8517"/>
                <a:gd name="T102" fmla="*/ 3070 w 8433"/>
                <a:gd name="T103" fmla="*/ 4479 h 8517"/>
                <a:gd name="T104" fmla="*/ 3766 w 8433"/>
                <a:gd name="T105" fmla="*/ 3960 h 8517"/>
                <a:gd name="T106" fmla="*/ 4575 w 8433"/>
                <a:gd name="T107" fmla="*/ 3899 h 8517"/>
                <a:gd name="T108" fmla="*/ 6646 w 8433"/>
                <a:gd name="T109" fmla="*/ 4336 h 8517"/>
                <a:gd name="T110" fmla="*/ 6697 w 8433"/>
                <a:gd name="T111" fmla="*/ 4906 h 8517"/>
                <a:gd name="T112" fmla="*/ 7177 w 8433"/>
                <a:gd name="T113" fmla="*/ 5558 h 8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433" h="8517">
                  <a:moveTo>
                    <a:pt x="8433" y="2186"/>
                  </a:moveTo>
                  <a:cubicBezTo>
                    <a:pt x="8433" y="1847"/>
                    <a:pt x="8357" y="1521"/>
                    <a:pt x="8207" y="1217"/>
                  </a:cubicBezTo>
                  <a:cubicBezTo>
                    <a:pt x="8177" y="1155"/>
                    <a:pt x="8101" y="1130"/>
                    <a:pt x="8039" y="1160"/>
                  </a:cubicBezTo>
                  <a:cubicBezTo>
                    <a:pt x="7977" y="1191"/>
                    <a:pt x="7951" y="1267"/>
                    <a:pt x="7982" y="1329"/>
                  </a:cubicBezTo>
                  <a:cubicBezTo>
                    <a:pt x="8115" y="1597"/>
                    <a:pt x="8182" y="1886"/>
                    <a:pt x="8182" y="2186"/>
                  </a:cubicBezTo>
                  <a:cubicBezTo>
                    <a:pt x="8182" y="3253"/>
                    <a:pt x="7314" y="4121"/>
                    <a:pt x="6247" y="4121"/>
                  </a:cubicBezTo>
                  <a:cubicBezTo>
                    <a:pt x="5180" y="4121"/>
                    <a:pt x="4312" y="3253"/>
                    <a:pt x="4312" y="2186"/>
                  </a:cubicBezTo>
                  <a:cubicBezTo>
                    <a:pt x="4312" y="1119"/>
                    <a:pt x="5180" y="251"/>
                    <a:pt x="6247" y="251"/>
                  </a:cubicBezTo>
                  <a:cubicBezTo>
                    <a:pt x="6781" y="251"/>
                    <a:pt x="7297" y="475"/>
                    <a:pt x="7661" y="866"/>
                  </a:cubicBezTo>
                  <a:cubicBezTo>
                    <a:pt x="7709" y="917"/>
                    <a:pt x="7788" y="919"/>
                    <a:pt x="7839" y="872"/>
                  </a:cubicBezTo>
                  <a:cubicBezTo>
                    <a:pt x="7890" y="825"/>
                    <a:pt x="7892" y="745"/>
                    <a:pt x="7845" y="694"/>
                  </a:cubicBezTo>
                  <a:cubicBezTo>
                    <a:pt x="7433" y="253"/>
                    <a:pt x="6851" y="0"/>
                    <a:pt x="6247" y="0"/>
                  </a:cubicBezTo>
                  <a:cubicBezTo>
                    <a:pt x="5332" y="0"/>
                    <a:pt x="4546" y="565"/>
                    <a:pt x="4221" y="1365"/>
                  </a:cubicBezTo>
                  <a:lnTo>
                    <a:pt x="4105" y="1249"/>
                  </a:lnTo>
                  <a:cubicBezTo>
                    <a:pt x="4036" y="1180"/>
                    <a:pt x="3944" y="1142"/>
                    <a:pt x="3846" y="1142"/>
                  </a:cubicBezTo>
                  <a:cubicBezTo>
                    <a:pt x="3747" y="1142"/>
                    <a:pt x="3655" y="1180"/>
                    <a:pt x="3586" y="1250"/>
                  </a:cubicBezTo>
                  <a:lnTo>
                    <a:pt x="3489" y="1347"/>
                  </a:lnTo>
                  <a:cubicBezTo>
                    <a:pt x="3404" y="1305"/>
                    <a:pt x="3316" y="1269"/>
                    <a:pt x="3225" y="1239"/>
                  </a:cubicBezTo>
                  <a:lnTo>
                    <a:pt x="3225" y="1100"/>
                  </a:lnTo>
                  <a:cubicBezTo>
                    <a:pt x="3225" y="898"/>
                    <a:pt x="3060" y="733"/>
                    <a:pt x="2858" y="733"/>
                  </a:cubicBezTo>
                  <a:lnTo>
                    <a:pt x="2217" y="733"/>
                  </a:lnTo>
                  <a:cubicBezTo>
                    <a:pt x="2015" y="733"/>
                    <a:pt x="1850" y="898"/>
                    <a:pt x="1850" y="1100"/>
                  </a:cubicBezTo>
                  <a:lnTo>
                    <a:pt x="1850" y="1251"/>
                  </a:lnTo>
                  <a:cubicBezTo>
                    <a:pt x="1764" y="1281"/>
                    <a:pt x="1680" y="1317"/>
                    <a:pt x="1598" y="1359"/>
                  </a:cubicBezTo>
                  <a:lnTo>
                    <a:pt x="1489" y="1249"/>
                  </a:lnTo>
                  <a:cubicBezTo>
                    <a:pt x="1346" y="1106"/>
                    <a:pt x="1113" y="1106"/>
                    <a:pt x="970" y="1249"/>
                  </a:cubicBezTo>
                  <a:lnTo>
                    <a:pt x="516" y="1703"/>
                  </a:lnTo>
                  <a:cubicBezTo>
                    <a:pt x="447" y="1772"/>
                    <a:pt x="409" y="1864"/>
                    <a:pt x="409" y="1962"/>
                  </a:cubicBezTo>
                  <a:cubicBezTo>
                    <a:pt x="409" y="2061"/>
                    <a:pt x="447" y="2153"/>
                    <a:pt x="516" y="2222"/>
                  </a:cubicBezTo>
                  <a:lnTo>
                    <a:pt x="637" y="2342"/>
                  </a:lnTo>
                  <a:cubicBezTo>
                    <a:pt x="599" y="2421"/>
                    <a:pt x="567" y="2501"/>
                    <a:pt x="540" y="2583"/>
                  </a:cubicBezTo>
                  <a:lnTo>
                    <a:pt x="367" y="2583"/>
                  </a:lnTo>
                  <a:cubicBezTo>
                    <a:pt x="164" y="2583"/>
                    <a:pt x="0" y="2748"/>
                    <a:pt x="0" y="2950"/>
                  </a:cubicBezTo>
                  <a:lnTo>
                    <a:pt x="0" y="3591"/>
                  </a:lnTo>
                  <a:cubicBezTo>
                    <a:pt x="0" y="3794"/>
                    <a:pt x="164" y="3958"/>
                    <a:pt x="367" y="3958"/>
                  </a:cubicBezTo>
                  <a:lnTo>
                    <a:pt x="551" y="3958"/>
                  </a:lnTo>
                  <a:cubicBezTo>
                    <a:pt x="579" y="4037"/>
                    <a:pt x="611" y="4113"/>
                    <a:pt x="648" y="4188"/>
                  </a:cubicBezTo>
                  <a:lnTo>
                    <a:pt x="516" y="4319"/>
                  </a:lnTo>
                  <a:cubicBezTo>
                    <a:pt x="447" y="4388"/>
                    <a:pt x="409" y="4481"/>
                    <a:pt x="409" y="4579"/>
                  </a:cubicBezTo>
                  <a:cubicBezTo>
                    <a:pt x="409" y="4677"/>
                    <a:pt x="447" y="4769"/>
                    <a:pt x="516" y="4839"/>
                  </a:cubicBezTo>
                  <a:lnTo>
                    <a:pt x="970" y="5292"/>
                  </a:lnTo>
                  <a:cubicBezTo>
                    <a:pt x="1113" y="5435"/>
                    <a:pt x="1346" y="5435"/>
                    <a:pt x="1489" y="5292"/>
                  </a:cubicBezTo>
                  <a:lnTo>
                    <a:pt x="1620" y="5160"/>
                  </a:lnTo>
                  <a:cubicBezTo>
                    <a:pt x="1695" y="5197"/>
                    <a:pt x="1771" y="5229"/>
                    <a:pt x="1850" y="5256"/>
                  </a:cubicBezTo>
                  <a:lnTo>
                    <a:pt x="1850" y="5442"/>
                  </a:lnTo>
                  <a:cubicBezTo>
                    <a:pt x="1850" y="5644"/>
                    <a:pt x="2015" y="5808"/>
                    <a:pt x="2217" y="5808"/>
                  </a:cubicBezTo>
                  <a:lnTo>
                    <a:pt x="2338" y="5808"/>
                  </a:lnTo>
                  <a:lnTo>
                    <a:pt x="2324" y="6117"/>
                  </a:lnTo>
                  <a:cubicBezTo>
                    <a:pt x="2320" y="6216"/>
                    <a:pt x="2354" y="6311"/>
                    <a:pt x="2421" y="6385"/>
                  </a:cubicBezTo>
                  <a:cubicBezTo>
                    <a:pt x="2489" y="6459"/>
                    <a:pt x="2581" y="6502"/>
                    <a:pt x="2680" y="6506"/>
                  </a:cubicBezTo>
                  <a:lnTo>
                    <a:pt x="2856" y="6514"/>
                  </a:lnTo>
                  <a:cubicBezTo>
                    <a:pt x="2883" y="6600"/>
                    <a:pt x="2914" y="6685"/>
                    <a:pt x="2951" y="6767"/>
                  </a:cubicBezTo>
                  <a:lnTo>
                    <a:pt x="2818" y="6888"/>
                  </a:lnTo>
                  <a:cubicBezTo>
                    <a:pt x="2744" y="6955"/>
                    <a:pt x="2702" y="7047"/>
                    <a:pt x="2697" y="7147"/>
                  </a:cubicBezTo>
                  <a:cubicBezTo>
                    <a:pt x="2693" y="7247"/>
                    <a:pt x="2727" y="7342"/>
                    <a:pt x="2794" y="7415"/>
                  </a:cubicBezTo>
                  <a:lnTo>
                    <a:pt x="3237" y="7901"/>
                  </a:lnTo>
                  <a:cubicBezTo>
                    <a:pt x="3376" y="8052"/>
                    <a:pt x="3612" y="8063"/>
                    <a:pt x="3764" y="7924"/>
                  </a:cubicBezTo>
                  <a:lnTo>
                    <a:pt x="3906" y="7795"/>
                  </a:lnTo>
                  <a:cubicBezTo>
                    <a:pt x="3981" y="7836"/>
                    <a:pt x="4060" y="7872"/>
                    <a:pt x="4141" y="7904"/>
                  </a:cubicBezTo>
                  <a:lnTo>
                    <a:pt x="4132" y="8097"/>
                  </a:lnTo>
                  <a:cubicBezTo>
                    <a:pt x="4123" y="8302"/>
                    <a:pt x="4283" y="8477"/>
                    <a:pt x="4488" y="8486"/>
                  </a:cubicBezTo>
                  <a:lnTo>
                    <a:pt x="5145" y="8516"/>
                  </a:lnTo>
                  <a:cubicBezTo>
                    <a:pt x="5150" y="8517"/>
                    <a:pt x="5156" y="8517"/>
                    <a:pt x="5162" y="8517"/>
                  </a:cubicBezTo>
                  <a:cubicBezTo>
                    <a:pt x="5255" y="8517"/>
                    <a:pt x="5343" y="8482"/>
                    <a:pt x="5413" y="8419"/>
                  </a:cubicBezTo>
                  <a:cubicBezTo>
                    <a:pt x="5486" y="8351"/>
                    <a:pt x="5529" y="8260"/>
                    <a:pt x="5534" y="8161"/>
                  </a:cubicBezTo>
                  <a:lnTo>
                    <a:pt x="5543" y="7968"/>
                  </a:lnTo>
                  <a:cubicBezTo>
                    <a:pt x="5626" y="7944"/>
                    <a:pt x="5707" y="7915"/>
                    <a:pt x="5787" y="7881"/>
                  </a:cubicBezTo>
                  <a:lnTo>
                    <a:pt x="5916" y="8022"/>
                  </a:lnTo>
                  <a:cubicBezTo>
                    <a:pt x="5983" y="8096"/>
                    <a:pt x="6075" y="8139"/>
                    <a:pt x="6175" y="8143"/>
                  </a:cubicBezTo>
                  <a:cubicBezTo>
                    <a:pt x="6274" y="8148"/>
                    <a:pt x="6369" y="8113"/>
                    <a:pt x="6443" y="8046"/>
                  </a:cubicBezTo>
                  <a:lnTo>
                    <a:pt x="6928" y="7603"/>
                  </a:lnTo>
                  <a:cubicBezTo>
                    <a:pt x="7002" y="7536"/>
                    <a:pt x="7045" y="7444"/>
                    <a:pt x="7049" y="7345"/>
                  </a:cubicBezTo>
                  <a:cubicBezTo>
                    <a:pt x="7054" y="7245"/>
                    <a:pt x="7019" y="7150"/>
                    <a:pt x="6952" y="7076"/>
                  </a:cubicBezTo>
                  <a:lnTo>
                    <a:pt x="6831" y="6944"/>
                  </a:lnTo>
                  <a:cubicBezTo>
                    <a:pt x="6875" y="6865"/>
                    <a:pt x="6914" y="6783"/>
                    <a:pt x="6948" y="6700"/>
                  </a:cubicBezTo>
                  <a:lnTo>
                    <a:pt x="7124" y="6708"/>
                  </a:lnTo>
                  <a:cubicBezTo>
                    <a:pt x="7223" y="6713"/>
                    <a:pt x="7319" y="6678"/>
                    <a:pt x="7392" y="6611"/>
                  </a:cubicBezTo>
                  <a:cubicBezTo>
                    <a:pt x="7466" y="6544"/>
                    <a:pt x="7509" y="6452"/>
                    <a:pt x="7514" y="6353"/>
                  </a:cubicBezTo>
                  <a:lnTo>
                    <a:pt x="7544" y="5696"/>
                  </a:lnTo>
                  <a:cubicBezTo>
                    <a:pt x="7553" y="5490"/>
                    <a:pt x="7394" y="5316"/>
                    <a:pt x="7188" y="5307"/>
                  </a:cubicBezTo>
                  <a:lnTo>
                    <a:pt x="7028" y="5299"/>
                  </a:lnTo>
                  <a:cubicBezTo>
                    <a:pt x="7003" y="5207"/>
                    <a:pt x="6971" y="5117"/>
                    <a:pt x="6934" y="5030"/>
                  </a:cubicBezTo>
                  <a:lnTo>
                    <a:pt x="7050" y="4924"/>
                  </a:lnTo>
                  <a:cubicBezTo>
                    <a:pt x="7202" y="4786"/>
                    <a:pt x="7212" y="4549"/>
                    <a:pt x="7074" y="4397"/>
                  </a:cubicBezTo>
                  <a:lnTo>
                    <a:pt x="6946" y="4258"/>
                  </a:lnTo>
                  <a:cubicBezTo>
                    <a:pt x="7810" y="3965"/>
                    <a:pt x="8433" y="3147"/>
                    <a:pt x="8433" y="2186"/>
                  </a:cubicBezTo>
                  <a:close/>
                  <a:moveTo>
                    <a:pt x="2354" y="5460"/>
                  </a:moveTo>
                  <a:lnTo>
                    <a:pt x="2350" y="5557"/>
                  </a:lnTo>
                  <a:lnTo>
                    <a:pt x="2217" y="5557"/>
                  </a:lnTo>
                  <a:cubicBezTo>
                    <a:pt x="2154" y="5557"/>
                    <a:pt x="2101" y="5504"/>
                    <a:pt x="2101" y="5442"/>
                  </a:cubicBezTo>
                  <a:lnTo>
                    <a:pt x="2101" y="5165"/>
                  </a:lnTo>
                  <a:cubicBezTo>
                    <a:pt x="2101" y="5110"/>
                    <a:pt x="2065" y="5061"/>
                    <a:pt x="2012" y="5045"/>
                  </a:cubicBezTo>
                  <a:cubicBezTo>
                    <a:pt x="1889" y="5008"/>
                    <a:pt x="1769" y="4958"/>
                    <a:pt x="1657" y="4896"/>
                  </a:cubicBezTo>
                  <a:cubicBezTo>
                    <a:pt x="1608" y="4869"/>
                    <a:pt x="1547" y="4878"/>
                    <a:pt x="1507" y="4917"/>
                  </a:cubicBezTo>
                  <a:lnTo>
                    <a:pt x="1311" y="5114"/>
                  </a:lnTo>
                  <a:cubicBezTo>
                    <a:pt x="1266" y="5159"/>
                    <a:pt x="1193" y="5159"/>
                    <a:pt x="1147" y="5114"/>
                  </a:cubicBezTo>
                  <a:lnTo>
                    <a:pt x="694" y="4661"/>
                  </a:lnTo>
                  <a:cubicBezTo>
                    <a:pt x="672" y="4639"/>
                    <a:pt x="660" y="4610"/>
                    <a:pt x="660" y="4579"/>
                  </a:cubicBezTo>
                  <a:cubicBezTo>
                    <a:pt x="660" y="4548"/>
                    <a:pt x="672" y="4519"/>
                    <a:pt x="694" y="4497"/>
                  </a:cubicBezTo>
                  <a:lnTo>
                    <a:pt x="890" y="4300"/>
                  </a:lnTo>
                  <a:cubicBezTo>
                    <a:pt x="930" y="4261"/>
                    <a:pt x="939" y="4200"/>
                    <a:pt x="912" y="4151"/>
                  </a:cubicBezTo>
                  <a:cubicBezTo>
                    <a:pt x="851" y="4039"/>
                    <a:pt x="800" y="3920"/>
                    <a:pt x="763" y="3796"/>
                  </a:cubicBezTo>
                  <a:cubicBezTo>
                    <a:pt x="747" y="3743"/>
                    <a:pt x="698" y="3707"/>
                    <a:pt x="643" y="3707"/>
                  </a:cubicBezTo>
                  <a:lnTo>
                    <a:pt x="367" y="3707"/>
                  </a:lnTo>
                  <a:cubicBezTo>
                    <a:pt x="303" y="3707"/>
                    <a:pt x="251" y="3655"/>
                    <a:pt x="251" y="3591"/>
                  </a:cubicBezTo>
                  <a:lnTo>
                    <a:pt x="251" y="2950"/>
                  </a:lnTo>
                  <a:cubicBezTo>
                    <a:pt x="251" y="2886"/>
                    <a:pt x="303" y="2835"/>
                    <a:pt x="367" y="2835"/>
                  </a:cubicBezTo>
                  <a:lnTo>
                    <a:pt x="633" y="2835"/>
                  </a:lnTo>
                  <a:cubicBezTo>
                    <a:pt x="689" y="2835"/>
                    <a:pt x="738" y="2797"/>
                    <a:pt x="754" y="2743"/>
                  </a:cubicBezTo>
                  <a:cubicBezTo>
                    <a:pt x="789" y="2617"/>
                    <a:pt x="839" y="2494"/>
                    <a:pt x="901" y="2377"/>
                  </a:cubicBezTo>
                  <a:cubicBezTo>
                    <a:pt x="927" y="2328"/>
                    <a:pt x="918" y="2268"/>
                    <a:pt x="879" y="2229"/>
                  </a:cubicBezTo>
                  <a:lnTo>
                    <a:pt x="694" y="2044"/>
                  </a:lnTo>
                  <a:cubicBezTo>
                    <a:pt x="672" y="2022"/>
                    <a:pt x="660" y="1993"/>
                    <a:pt x="660" y="1962"/>
                  </a:cubicBezTo>
                  <a:cubicBezTo>
                    <a:pt x="660" y="1931"/>
                    <a:pt x="672" y="1902"/>
                    <a:pt x="694" y="1881"/>
                  </a:cubicBezTo>
                  <a:lnTo>
                    <a:pt x="1148" y="1427"/>
                  </a:lnTo>
                  <a:cubicBezTo>
                    <a:pt x="1192" y="1382"/>
                    <a:pt x="1266" y="1382"/>
                    <a:pt x="1311" y="1427"/>
                  </a:cubicBezTo>
                  <a:lnTo>
                    <a:pt x="1486" y="1602"/>
                  </a:lnTo>
                  <a:cubicBezTo>
                    <a:pt x="1526" y="1642"/>
                    <a:pt x="1587" y="1650"/>
                    <a:pt x="1636" y="1623"/>
                  </a:cubicBezTo>
                  <a:cubicBezTo>
                    <a:pt x="1757" y="1555"/>
                    <a:pt x="1883" y="1501"/>
                    <a:pt x="2012" y="1463"/>
                  </a:cubicBezTo>
                  <a:cubicBezTo>
                    <a:pt x="2065" y="1447"/>
                    <a:pt x="2101" y="1398"/>
                    <a:pt x="2101" y="1342"/>
                  </a:cubicBezTo>
                  <a:lnTo>
                    <a:pt x="2101" y="1100"/>
                  </a:lnTo>
                  <a:cubicBezTo>
                    <a:pt x="2101" y="1036"/>
                    <a:pt x="2153" y="985"/>
                    <a:pt x="2217" y="985"/>
                  </a:cubicBezTo>
                  <a:lnTo>
                    <a:pt x="2858" y="985"/>
                  </a:lnTo>
                  <a:cubicBezTo>
                    <a:pt x="2921" y="985"/>
                    <a:pt x="2974" y="1037"/>
                    <a:pt x="2974" y="1100"/>
                  </a:cubicBezTo>
                  <a:lnTo>
                    <a:pt x="2974" y="1332"/>
                  </a:lnTo>
                  <a:cubicBezTo>
                    <a:pt x="2974" y="1388"/>
                    <a:pt x="3011" y="1437"/>
                    <a:pt x="3065" y="1453"/>
                  </a:cubicBezTo>
                  <a:cubicBezTo>
                    <a:pt x="3201" y="1491"/>
                    <a:pt x="3331" y="1545"/>
                    <a:pt x="3452" y="1611"/>
                  </a:cubicBezTo>
                  <a:cubicBezTo>
                    <a:pt x="3501" y="1638"/>
                    <a:pt x="3562" y="1630"/>
                    <a:pt x="3602" y="1590"/>
                  </a:cubicBezTo>
                  <a:lnTo>
                    <a:pt x="3764" y="1427"/>
                  </a:lnTo>
                  <a:cubicBezTo>
                    <a:pt x="3785" y="1406"/>
                    <a:pt x="3814" y="1394"/>
                    <a:pt x="3846" y="1394"/>
                  </a:cubicBezTo>
                  <a:cubicBezTo>
                    <a:pt x="3877" y="1394"/>
                    <a:pt x="3906" y="1406"/>
                    <a:pt x="3927" y="1427"/>
                  </a:cubicBezTo>
                  <a:lnTo>
                    <a:pt x="4132" y="1632"/>
                  </a:lnTo>
                  <a:cubicBezTo>
                    <a:pt x="4085" y="1809"/>
                    <a:pt x="4060" y="1995"/>
                    <a:pt x="4060" y="2186"/>
                  </a:cubicBezTo>
                  <a:cubicBezTo>
                    <a:pt x="4060" y="2640"/>
                    <a:pt x="4200" y="3062"/>
                    <a:pt x="4437" y="3412"/>
                  </a:cubicBezTo>
                  <a:cubicBezTo>
                    <a:pt x="4376" y="3476"/>
                    <a:pt x="4338" y="3561"/>
                    <a:pt x="4334" y="3653"/>
                  </a:cubicBezTo>
                  <a:lnTo>
                    <a:pt x="4328" y="3795"/>
                  </a:lnTo>
                  <a:cubicBezTo>
                    <a:pt x="4232" y="3823"/>
                    <a:pt x="4139" y="3857"/>
                    <a:pt x="4049" y="3897"/>
                  </a:cubicBezTo>
                  <a:lnTo>
                    <a:pt x="3952" y="3791"/>
                  </a:lnTo>
                  <a:cubicBezTo>
                    <a:pt x="3911" y="3746"/>
                    <a:pt x="3861" y="3713"/>
                    <a:pt x="3806" y="3692"/>
                  </a:cubicBezTo>
                  <a:cubicBezTo>
                    <a:pt x="3851" y="3557"/>
                    <a:pt x="3874" y="3416"/>
                    <a:pt x="3874" y="3271"/>
                  </a:cubicBezTo>
                  <a:cubicBezTo>
                    <a:pt x="3874" y="2534"/>
                    <a:pt x="3274" y="1934"/>
                    <a:pt x="2537" y="1934"/>
                  </a:cubicBezTo>
                  <a:cubicBezTo>
                    <a:pt x="1800" y="1934"/>
                    <a:pt x="1201" y="2534"/>
                    <a:pt x="1201" y="3271"/>
                  </a:cubicBezTo>
                  <a:cubicBezTo>
                    <a:pt x="1201" y="4007"/>
                    <a:pt x="1800" y="4607"/>
                    <a:pt x="2537" y="4607"/>
                  </a:cubicBezTo>
                  <a:cubicBezTo>
                    <a:pt x="2636" y="4607"/>
                    <a:pt x="2734" y="4596"/>
                    <a:pt x="2830" y="4575"/>
                  </a:cubicBezTo>
                  <a:cubicBezTo>
                    <a:pt x="2844" y="4635"/>
                    <a:pt x="2874" y="4690"/>
                    <a:pt x="2916" y="4736"/>
                  </a:cubicBezTo>
                  <a:lnTo>
                    <a:pt x="3022" y="4852"/>
                  </a:lnTo>
                  <a:cubicBezTo>
                    <a:pt x="2976" y="4936"/>
                    <a:pt x="2937" y="5023"/>
                    <a:pt x="2903" y="5112"/>
                  </a:cubicBezTo>
                  <a:lnTo>
                    <a:pt x="2743" y="5104"/>
                  </a:lnTo>
                  <a:cubicBezTo>
                    <a:pt x="2644" y="5100"/>
                    <a:pt x="2549" y="5135"/>
                    <a:pt x="2475" y="5202"/>
                  </a:cubicBezTo>
                  <a:cubicBezTo>
                    <a:pt x="2401" y="5269"/>
                    <a:pt x="2358" y="5361"/>
                    <a:pt x="2354" y="5460"/>
                  </a:cubicBezTo>
                  <a:close/>
                  <a:moveTo>
                    <a:pt x="3622" y="3271"/>
                  </a:moveTo>
                  <a:cubicBezTo>
                    <a:pt x="3622" y="3419"/>
                    <a:pt x="3593" y="3563"/>
                    <a:pt x="3535" y="3697"/>
                  </a:cubicBezTo>
                  <a:cubicBezTo>
                    <a:pt x="3495" y="3714"/>
                    <a:pt x="3458" y="3737"/>
                    <a:pt x="3425" y="3766"/>
                  </a:cubicBezTo>
                  <a:lnTo>
                    <a:pt x="2940" y="4210"/>
                  </a:lnTo>
                  <a:cubicBezTo>
                    <a:pt x="2909" y="4238"/>
                    <a:pt x="2884" y="4270"/>
                    <a:pt x="2865" y="4305"/>
                  </a:cubicBezTo>
                  <a:cubicBezTo>
                    <a:pt x="2759" y="4339"/>
                    <a:pt x="2649" y="4356"/>
                    <a:pt x="2537" y="4356"/>
                  </a:cubicBezTo>
                  <a:cubicBezTo>
                    <a:pt x="1939" y="4356"/>
                    <a:pt x="1452" y="3869"/>
                    <a:pt x="1452" y="3271"/>
                  </a:cubicBezTo>
                  <a:cubicBezTo>
                    <a:pt x="1452" y="2672"/>
                    <a:pt x="1939" y="2186"/>
                    <a:pt x="2537" y="2186"/>
                  </a:cubicBezTo>
                  <a:cubicBezTo>
                    <a:pt x="3136" y="2186"/>
                    <a:pt x="3622" y="2672"/>
                    <a:pt x="3622" y="3271"/>
                  </a:cubicBezTo>
                  <a:close/>
                  <a:moveTo>
                    <a:pt x="7177" y="5558"/>
                  </a:moveTo>
                  <a:cubicBezTo>
                    <a:pt x="7243" y="5561"/>
                    <a:pt x="7296" y="5619"/>
                    <a:pt x="7293" y="5684"/>
                  </a:cubicBezTo>
                  <a:lnTo>
                    <a:pt x="7263" y="6341"/>
                  </a:lnTo>
                  <a:cubicBezTo>
                    <a:pt x="7261" y="6373"/>
                    <a:pt x="7247" y="6403"/>
                    <a:pt x="7223" y="6425"/>
                  </a:cubicBezTo>
                  <a:cubicBezTo>
                    <a:pt x="7199" y="6447"/>
                    <a:pt x="7168" y="6458"/>
                    <a:pt x="7136" y="6457"/>
                  </a:cubicBezTo>
                  <a:lnTo>
                    <a:pt x="6869" y="6445"/>
                  </a:lnTo>
                  <a:cubicBezTo>
                    <a:pt x="6813" y="6442"/>
                    <a:pt x="6763" y="6476"/>
                    <a:pt x="6744" y="6528"/>
                  </a:cubicBezTo>
                  <a:cubicBezTo>
                    <a:pt x="6699" y="6655"/>
                    <a:pt x="6640" y="6778"/>
                    <a:pt x="6569" y="6894"/>
                  </a:cubicBezTo>
                  <a:cubicBezTo>
                    <a:pt x="6539" y="6942"/>
                    <a:pt x="6545" y="7003"/>
                    <a:pt x="6583" y="7045"/>
                  </a:cubicBezTo>
                  <a:lnTo>
                    <a:pt x="6766" y="7245"/>
                  </a:lnTo>
                  <a:cubicBezTo>
                    <a:pt x="6788" y="7269"/>
                    <a:pt x="6799" y="7301"/>
                    <a:pt x="6798" y="7333"/>
                  </a:cubicBezTo>
                  <a:cubicBezTo>
                    <a:pt x="6796" y="7366"/>
                    <a:pt x="6783" y="7396"/>
                    <a:pt x="6759" y="7417"/>
                  </a:cubicBezTo>
                  <a:lnTo>
                    <a:pt x="6273" y="7861"/>
                  </a:lnTo>
                  <a:cubicBezTo>
                    <a:pt x="6250" y="7882"/>
                    <a:pt x="6218" y="7893"/>
                    <a:pt x="6186" y="7892"/>
                  </a:cubicBezTo>
                  <a:cubicBezTo>
                    <a:pt x="6153" y="7890"/>
                    <a:pt x="6124" y="7877"/>
                    <a:pt x="6102" y="7853"/>
                  </a:cubicBezTo>
                  <a:lnTo>
                    <a:pt x="5911" y="7644"/>
                  </a:lnTo>
                  <a:cubicBezTo>
                    <a:pt x="5874" y="7603"/>
                    <a:pt x="5814" y="7591"/>
                    <a:pt x="5764" y="7615"/>
                  </a:cubicBezTo>
                  <a:cubicBezTo>
                    <a:pt x="5645" y="7672"/>
                    <a:pt x="5519" y="7717"/>
                    <a:pt x="5392" y="7748"/>
                  </a:cubicBezTo>
                  <a:cubicBezTo>
                    <a:pt x="5337" y="7761"/>
                    <a:pt x="5298" y="7808"/>
                    <a:pt x="5296" y="7864"/>
                  </a:cubicBezTo>
                  <a:lnTo>
                    <a:pt x="5283" y="8149"/>
                  </a:lnTo>
                  <a:cubicBezTo>
                    <a:pt x="5281" y="8181"/>
                    <a:pt x="5267" y="8211"/>
                    <a:pt x="5243" y="8233"/>
                  </a:cubicBezTo>
                  <a:cubicBezTo>
                    <a:pt x="5219" y="8255"/>
                    <a:pt x="5188" y="8267"/>
                    <a:pt x="5156" y="8265"/>
                  </a:cubicBezTo>
                  <a:lnTo>
                    <a:pt x="4499" y="8235"/>
                  </a:lnTo>
                  <a:cubicBezTo>
                    <a:pt x="4433" y="8232"/>
                    <a:pt x="4381" y="8174"/>
                    <a:pt x="4383" y="8108"/>
                  </a:cubicBezTo>
                  <a:lnTo>
                    <a:pt x="4396" y="7824"/>
                  </a:lnTo>
                  <a:cubicBezTo>
                    <a:pt x="4399" y="7768"/>
                    <a:pt x="4364" y="7717"/>
                    <a:pt x="4312" y="7699"/>
                  </a:cubicBezTo>
                  <a:cubicBezTo>
                    <a:pt x="4184" y="7655"/>
                    <a:pt x="4064" y="7599"/>
                    <a:pt x="3953" y="7533"/>
                  </a:cubicBezTo>
                  <a:cubicBezTo>
                    <a:pt x="3905" y="7504"/>
                    <a:pt x="3844" y="7510"/>
                    <a:pt x="3803" y="7548"/>
                  </a:cubicBezTo>
                  <a:lnTo>
                    <a:pt x="3595" y="7739"/>
                  </a:lnTo>
                  <a:cubicBezTo>
                    <a:pt x="3545" y="7784"/>
                    <a:pt x="3468" y="7780"/>
                    <a:pt x="3423" y="7731"/>
                  </a:cubicBezTo>
                  <a:lnTo>
                    <a:pt x="2980" y="7246"/>
                  </a:lnTo>
                  <a:cubicBezTo>
                    <a:pt x="2958" y="7222"/>
                    <a:pt x="2947" y="7191"/>
                    <a:pt x="2948" y="7158"/>
                  </a:cubicBezTo>
                  <a:cubicBezTo>
                    <a:pt x="2950" y="7126"/>
                    <a:pt x="2964" y="7096"/>
                    <a:pt x="2987" y="7074"/>
                  </a:cubicBezTo>
                  <a:lnTo>
                    <a:pt x="3189" y="6891"/>
                  </a:lnTo>
                  <a:cubicBezTo>
                    <a:pt x="3230" y="6853"/>
                    <a:pt x="3241" y="6792"/>
                    <a:pt x="3216" y="6742"/>
                  </a:cubicBezTo>
                  <a:cubicBezTo>
                    <a:pt x="3156" y="6621"/>
                    <a:pt x="3108" y="6493"/>
                    <a:pt x="3075" y="6361"/>
                  </a:cubicBezTo>
                  <a:cubicBezTo>
                    <a:pt x="3061" y="6308"/>
                    <a:pt x="3014" y="6270"/>
                    <a:pt x="2959" y="6267"/>
                  </a:cubicBezTo>
                  <a:lnTo>
                    <a:pt x="2691" y="6255"/>
                  </a:lnTo>
                  <a:cubicBezTo>
                    <a:pt x="2659" y="6254"/>
                    <a:pt x="2629" y="6240"/>
                    <a:pt x="2607" y="6215"/>
                  </a:cubicBezTo>
                  <a:cubicBezTo>
                    <a:pt x="2585" y="6191"/>
                    <a:pt x="2574" y="6160"/>
                    <a:pt x="2575" y="6128"/>
                  </a:cubicBezTo>
                  <a:lnTo>
                    <a:pt x="2605" y="5472"/>
                  </a:lnTo>
                  <a:cubicBezTo>
                    <a:pt x="2607" y="5439"/>
                    <a:pt x="2621" y="5409"/>
                    <a:pt x="2645" y="5387"/>
                  </a:cubicBezTo>
                  <a:cubicBezTo>
                    <a:pt x="2669" y="5365"/>
                    <a:pt x="2700" y="5354"/>
                    <a:pt x="2732" y="5355"/>
                  </a:cubicBezTo>
                  <a:lnTo>
                    <a:pt x="2985" y="5367"/>
                  </a:lnTo>
                  <a:cubicBezTo>
                    <a:pt x="3041" y="5370"/>
                    <a:pt x="3093" y="5334"/>
                    <a:pt x="3110" y="5281"/>
                  </a:cubicBezTo>
                  <a:cubicBezTo>
                    <a:pt x="3154" y="5148"/>
                    <a:pt x="3212" y="5020"/>
                    <a:pt x="3284" y="4899"/>
                  </a:cubicBezTo>
                  <a:cubicBezTo>
                    <a:pt x="3312" y="4852"/>
                    <a:pt x="3306" y="4791"/>
                    <a:pt x="3269" y="4750"/>
                  </a:cubicBezTo>
                  <a:lnTo>
                    <a:pt x="3102" y="4567"/>
                  </a:lnTo>
                  <a:cubicBezTo>
                    <a:pt x="3080" y="4543"/>
                    <a:pt x="3069" y="4512"/>
                    <a:pt x="3070" y="4479"/>
                  </a:cubicBezTo>
                  <a:cubicBezTo>
                    <a:pt x="3072" y="4447"/>
                    <a:pt x="3086" y="4417"/>
                    <a:pt x="3109" y="4395"/>
                  </a:cubicBezTo>
                  <a:lnTo>
                    <a:pt x="3595" y="3952"/>
                  </a:lnTo>
                  <a:cubicBezTo>
                    <a:pt x="3619" y="3930"/>
                    <a:pt x="3650" y="3919"/>
                    <a:pt x="3682" y="3921"/>
                  </a:cubicBezTo>
                  <a:cubicBezTo>
                    <a:pt x="3715" y="3922"/>
                    <a:pt x="3745" y="3936"/>
                    <a:pt x="3766" y="3960"/>
                  </a:cubicBezTo>
                  <a:lnTo>
                    <a:pt x="3926" y="4135"/>
                  </a:lnTo>
                  <a:cubicBezTo>
                    <a:pt x="3964" y="4177"/>
                    <a:pt x="4025" y="4188"/>
                    <a:pt x="4076" y="4163"/>
                  </a:cubicBezTo>
                  <a:cubicBezTo>
                    <a:pt x="4202" y="4100"/>
                    <a:pt x="4338" y="4050"/>
                    <a:pt x="4479" y="4015"/>
                  </a:cubicBezTo>
                  <a:cubicBezTo>
                    <a:pt x="4533" y="4002"/>
                    <a:pt x="4572" y="3954"/>
                    <a:pt x="4575" y="3899"/>
                  </a:cubicBezTo>
                  <a:lnTo>
                    <a:pt x="4585" y="3664"/>
                  </a:lnTo>
                  <a:cubicBezTo>
                    <a:pt x="4586" y="3648"/>
                    <a:pt x="4590" y="3633"/>
                    <a:pt x="4597" y="3619"/>
                  </a:cubicBezTo>
                  <a:cubicBezTo>
                    <a:pt x="4998" y="4080"/>
                    <a:pt x="5589" y="4372"/>
                    <a:pt x="6247" y="4372"/>
                  </a:cubicBezTo>
                  <a:cubicBezTo>
                    <a:pt x="6383" y="4372"/>
                    <a:pt x="6517" y="4360"/>
                    <a:pt x="6646" y="4336"/>
                  </a:cubicBezTo>
                  <a:cubicBezTo>
                    <a:pt x="6655" y="4334"/>
                    <a:pt x="6664" y="4333"/>
                    <a:pt x="6673" y="4331"/>
                  </a:cubicBezTo>
                  <a:lnTo>
                    <a:pt x="6888" y="4567"/>
                  </a:lnTo>
                  <a:cubicBezTo>
                    <a:pt x="6933" y="4616"/>
                    <a:pt x="6930" y="4694"/>
                    <a:pt x="6880" y="4739"/>
                  </a:cubicBezTo>
                  <a:lnTo>
                    <a:pt x="6697" y="4906"/>
                  </a:lnTo>
                  <a:cubicBezTo>
                    <a:pt x="6656" y="4943"/>
                    <a:pt x="6645" y="5003"/>
                    <a:pt x="6669" y="5053"/>
                  </a:cubicBezTo>
                  <a:cubicBezTo>
                    <a:pt x="6729" y="5178"/>
                    <a:pt x="6775" y="5311"/>
                    <a:pt x="6807" y="5449"/>
                  </a:cubicBezTo>
                  <a:cubicBezTo>
                    <a:pt x="6820" y="5504"/>
                    <a:pt x="6867" y="5544"/>
                    <a:pt x="6924" y="5547"/>
                  </a:cubicBezTo>
                  <a:lnTo>
                    <a:pt x="7177" y="5558"/>
                  </a:lnTo>
                  <a:close/>
                  <a:moveTo>
                    <a:pt x="7177" y="555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83">
              <a:extLst>
                <a:ext uri="{FF2B5EF4-FFF2-40B4-BE49-F238E27FC236}">
                  <a16:creationId xmlns:a16="http://schemas.microsoft.com/office/drawing/2014/main" id="{88B60B7F-D663-41E9-8B78-58EA7DCF70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4" y="3538"/>
              <a:ext cx="50" cy="50"/>
            </a:xfrm>
            <a:custGeom>
              <a:avLst/>
              <a:gdLst>
                <a:gd name="T0" fmla="*/ 287 w 1507"/>
                <a:gd name="T1" fmla="*/ 174 h 1506"/>
                <a:gd name="T2" fmla="*/ 281 w 1507"/>
                <a:gd name="T3" fmla="*/ 179 h 1506"/>
                <a:gd name="T4" fmla="*/ 273 w 1507"/>
                <a:gd name="T5" fmla="*/ 186 h 1506"/>
                <a:gd name="T6" fmla="*/ 253 w 1507"/>
                <a:gd name="T7" fmla="*/ 204 h 1506"/>
                <a:gd name="T8" fmla="*/ 226 w 1507"/>
                <a:gd name="T9" fmla="*/ 230 h 1506"/>
                <a:gd name="T10" fmla="*/ 218 w 1507"/>
                <a:gd name="T11" fmla="*/ 237 h 1506"/>
                <a:gd name="T12" fmla="*/ 200 w 1507"/>
                <a:gd name="T13" fmla="*/ 257 h 1506"/>
                <a:gd name="T14" fmla="*/ 179 w 1507"/>
                <a:gd name="T15" fmla="*/ 281 h 1506"/>
                <a:gd name="T16" fmla="*/ 176 w 1507"/>
                <a:gd name="T17" fmla="*/ 285 h 1506"/>
                <a:gd name="T18" fmla="*/ 156 w 1507"/>
                <a:gd name="T19" fmla="*/ 311 h 1506"/>
                <a:gd name="T20" fmla="*/ 154 w 1507"/>
                <a:gd name="T21" fmla="*/ 314 h 1506"/>
                <a:gd name="T22" fmla="*/ 137 w 1507"/>
                <a:gd name="T23" fmla="*/ 337 h 1506"/>
                <a:gd name="T24" fmla="*/ 133 w 1507"/>
                <a:gd name="T25" fmla="*/ 344 h 1506"/>
                <a:gd name="T26" fmla="*/ 118 w 1507"/>
                <a:gd name="T27" fmla="*/ 366 h 1506"/>
                <a:gd name="T28" fmla="*/ 113 w 1507"/>
                <a:gd name="T29" fmla="*/ 375 h 1506"/>
                <a:gd name="T30" fmla="*/ 42 w 1507"/>
                <a:gd name="T31" fmla="*/ 535 h 1506"/>
                <a:gd name="T32" fmla="*/ 40 w 1507"/>
                <a:gd name="T33" fmla="*/ 541 h 1506"/>
                <a:gd name="T34" fmla="*/ 16 w 1507"/>
                <a:gd name="T35" fmla="*/ 648 h 1506"/>
                <a:gd name="T36" fmla="*/ 16 w 1507"/>
                <a:gd name="T37" fmla="*/ 649 h 1506"/>
                <a:gd name="T38" fmla="*/ 14 w 1507"/>
                <a:gd name="T39" fmla="*/ 665 h 1506"/>
                <a:gd name="T40" fmla="*/ 9 w 1507"/>
                <a:gd name="T41" fmla="*/ 723 h 1506"/>
                <a:gd name="T42" fmla="*/ 204 w 1507"/>
                <a:gd name="T43" fmla="*/ 1262 h 1506"/>
                <a:gd name="T44" fmla="*/ 759 w 1507"/>
                <a:gd name="T45" fmla="*/ 1506 h 1506"/>
                <a:gd name="T46" fmla="*/ 1263 w 1507"/>
                <a:gd name="T47" fmla="*/ 1311 h 1506"/>
                <a:gd name="T48" fmla="*/ 1291 w 1507"/>
                <a:gd name="T49" fmla="*/ 1284 h 1506"/>
                <a:gd name="T50" fmla="*/ 1507 w 1507"/>
                <a:gd name="T51" fmla="*/ 755 h 1506"/>
                <a:gd name="T52" fmla="*/ 1402 w 1507"/>
                <a:gd name="T53" fmla="*/ 374 h 1506"/>
                <a:gd name="T54" fmla="*/ 1311 w 1507"/>
                <a:gd name="T55" fmla="*/ 252 h 1506"/>
                <a:gd name="T56" fmla="*/ 792 w 1507"/>
                <a:gd name="T57" fmla="*/ 9 h 1506"/>
                <a:gd name="T58" fmla="*/ 287 w 1507"/>
                <a:gd name="T59" fmla="*/ 174 h 1506"/>
                <a:gd name="T60" fmla="*/ 1126 w 1507"/>
                <a:gd name="T61" fmla="*/ 421 h 1506"/>
                <a:gd name="T62" fmla="*/ 1094 w 1507"/>
                <a:gd name="T63" fmla="*/ 1125 h 1506"/>
                <a:gd name="T64" fmla="*/ 390 w 1507"/>
                <a:gd name="T65" fmla="*/ 1093 h 1506"/>
                <a:gd name="T66" fmla="*/ 261 w 1507"/>
                <a:gd name="T67" fmla="*/ 784 h 1506"/>
                <a:gd name="T68" fmla="*/ 260 w 1507"/>
                <a:gd name="T69" fmla="*/ 735 h 1506"/>
                <a:gd name="T70" fmla="*/ 422 w 1507"/>
                <a:gd name="T71" fmla="*/ 390 h 1506"/>
                <a:gd name="T72" fmla="*/ 422 w 1507"/>
                <a:gd name="T73" fmla="*/ 390 h 1506"/>
                <a:gd name="T74" fmla="*/ 758 w 1507"/>
                <a:gd name="T75" fmla="*/ 259 h 1506"/>
                <a:gd name="T76" fmla="*/ 781 w 1507"/>
                <a:gd name="T77" fmla="*/ 260 h 1506"/>
                <a:gd name="T78" fmla="*/ 1126 w 1507"/>
                <a:gd name="T79" fmla="*/ 421 h 1506"/>
                <a:gd name="T80" fmla="*/ 1126 w 1507"/>
                <a:gd name="T81" fmla="*/ 421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7" h="1506">
                  <a:moveTo>
                    <a:pt x="287" y="174"/>
                  </a:moveTo>
                  <a:cubicBezTo>
                    <a:pt x="285" y="176"/>
                    <a:pt x="283" y="178"/>
                    <a:pt x="281" y="179"/>
                  </a:cubicBezTo>
                  <a:cubicBezTo>
                    <a:pt x="278" y="182"/>
                    <a:pt x="276" y="184"/>
                    <a:pt x="273" y="186"/>
                  </a:cubicBezTo>
                  <a:cubicBezTo>
                    <a:pt x="266" y="192"/>
                    <a:pt x="260" y="198"/>
                    <a:pt x="253" y="204"/>
                  </a:cubicBezTo>
                  <a:cubicBezTo>
                    <a:pt x="244" y="212"/>
                    <a:pt x="235" y="221"/>
                    <a:pt x="226" y="230"/>
                  </a:cubicBezTo>
                  <a:cubicBezTo>
                    <a:pt x="223" y="232"/>
                    <a:pt x="221" y="235"/>
                    <a:pt x="218" y="237"/>
                  </a:cubicBezTo>
                  <a:cubicBezTo>
                    <a:pt x="212" y="244"/>
                    <a:pt x="206" y="250"/>
                    <a:pt x="200" y="257"/>
                  </a:cubicBezTo>
                  <a:cubicBezTo>
                    <a:pt x="193" y="265"/>
                    <a:pt x="186" y="273"/>
                    <a:pt x="179" y="281"/>
                  </a:cubicBezTo>
                  <a:cubicBezTo>
                    <a:pt x="178" y="282"/>
                    <a:pt x="177" y="283"/>
                    <a:pt x="176" y="285"/>
                  </a:cubicBezTo>
                  <a:cubicBezTo>
                    <a:pt x="169" y="293"/>
                    <a:pt x="162" y="302"/>
                    <a:pt x="156" y="311"/>
                  </a:cubicBezTo>
                  <a:cubicBezTo>
                    <a:pt x="155" y="312"/>
                    <a:pt x="154" y="313"/>
                    <a:pt x="154" y="314"/>
                  </a:cubicBezTo>
                  <a:cubicBezTo>
                    <a:pt x="148" y="322"/>
                    <a:pt x="143" y="329"/>
                    <a:pt x="137" y="337"/>
                  </a:cubicBezTo>
                  <a:cubicBezTo>
                    <a:pt x="136" y="339"/>
                    <a:pt x="134" y="342"/>
                    <a:pt x="133" y="344"/>
                  </a:cubicBezTo>
                  <a:cubicBezTo>
                    <a:pt x="128" y="351"/>
                    <a:pt x="123" y="359"/>
                    <a:pt x="118" y="366"/>
                  </a:cubicBezTo>
                  <a:cubicBezTo>
                    <a:pt x="117" y="369"/>
                    <a:pt x="115" y="372"/>
                    <a:pt x="113" y="375"/>
                  </a:cubicBezTo>
                  <a:cubicBezTo>
                    <a:pt x="83" y="425"/>
                    <a:pt x="59" y="479"/>
                    <a:pt x="42" y="535"/>
                  </a:cubicBezTo>
                  <a:cubicBezTo>
                    <a:pt x="41" y="537"/>
                    <a:pt x="41" y="539"/>
                    <a:pt x="40" y="541"/>
                  </a:cubicBezTo>
                  <a:cubicBezTo>
                    <a:pt x="30" y="576"/>
                    <a:pt x="22" y="612"/>
                    <a:pt x="16" y="648"/>
                  </a:cubicBezTo>
                  <a:cubicBezTo>
                    <a:pt x="16" y="648"/>
                    <a:pt x="16" y="649"/>
                    <a:pt x="16" y="649"/>
                  </a:cubicBezTo>
                  <a:cubicBezTo>
                    <a:pt x="15" y="654"/>
                    <a:pt x="15" y="660"/>
                    <a:pt x="14" y="665"/>
                  </a:cubicBezTo>
                  <a:cubicBezTo>
                    <a:pt x="12" y="684"/>
                    <a:pt x="10" y="704"/>
                    <a:pt x="9" y="723"/>
                  </a:cubicBezTo>
                  <a:cubicBezTo>
                    <a:pt x="0" y="923"/>
                    <a:pt x="69" y="1115"/>
                    <a:pt x="204" y="1262"/>
                  </a:cubicBezTo>
                  <a:cubicBezTo>
                    <a:pt x="352" y="1424"/>
                    <a:pt x="555" y="1506"/>
                    <a:pt x="759" y="1506"/>
                  </a:cubicBezTo>
                  <a:cubicBezTo>
                    <a:pt x="939" y="1506"/>
                    <a:pt x="1120" y="1442"/>
                    <a:pt x="1263" y="1311"/>
                  </a:cubicBezTo>
                  <a:cubicBezTo>
                    <a:pt x="1273" y="1302"/>
                    <a:pt x="1282" y="1293"/>
                    <a:pt x="1291" y="1284"/>
                  </a:cubicBezTo>
                  <a:cubicBezTo>
                    <a:pt x="1435" y="1139"/>
                    <a:pt x="1507" y="947"/>
                    <a:pt x="1507" y="755"/>
                  </a:cubicBezTo>
                  <a:cubicBezTo>
                    <a:pt x="1507" y="623"/>
                    <a:pt x="1472" y="491"/>
                    <a:pt x="1402" y="374"/>
                  </a:cubicBezTo>
                  <a:cubicBezTo>
                    <a:pt x="1376" y="331"/>
                    <a:pt x="1346" y="290"/>
                    <a:pt x="1311" y="252"/>
                  </a:cubicBezTo>
                  <a:cubicBezTo>
                    <a:pt x="1176" y="104"/>
                    <a:pt x="992" y="18"/>
                    <a:pt x="792" y="9"/>
                  </a:cubicBezTo>
                  <a:cubicBezTo>
                    <a:pt x="607" y="0"/>
                    <a:pt x="430" y="59"/>
                    <a:pt x="287" y="174"/>
                  </a:cubicBezTo>
                  <a:close/>
                  <a:moveTo>
                    <a:pt x="1126" y="421"/>
                  </a:moveTo>
                  <a:cubicBezTo>
                    <a:pt x="1311" y="624"/>
                    <a:pt x="1297" y="940"/>
                    <a:pt x="1094" y="1125"/>
                  </a:cubicBezTo>
                  <a:cubicBezTo>
                    <a:pt x="891" y="1310"/>
                    <a:pt x="575" y="1296"/>
                    <a:pt x="390" y="1093"/>
                  </a:cubicBezTo>
                  <a:cubicBezTo>
                    <a:pt x="312" y="1007"/>
                    <a:pt x="267" y="899"/>
                    <a:pt x="261" y="784"/>
                  </a:cubicBezTo>
                  <a:cubicBezTo>
                    <a:pt x="260" y="768"/>
                    <a:pt x="260" y="751"/>
                    <a:pt x="260" y="735"/>
                  </a:cubicBezTo>
                  <a:cubicBezTo>
                    <a:pt x="266" y="602"/>
                    <a:pt x="324" y="479"/>
                    <a:pt x="422" y="390"/>
                  </a:cubicBezTo>
                  <a:cubicBezTo>
                    <a:pt x="422" y="390"/>
                    <a:pt x="422" y="390"/>
                    <a:pt x="422" y="390"/>
                  </a:cubicBezTo>
                  <a:cubicBezTo>
                    <a:pt x="515" y="305"/>
                    <a:pt x="633" y="259"/>
                    <a:pt x="758" y="259"/>
                  </a:cubicBezTo>
                  <a:cubicBezTo>
                    <a:pt x="765" y="259"/>
                    <a:pt x="773" y="259"/>
                    <a:pt x="781" y="260"/>
                  </a:cubicBezTo>
                  <a:cubicBezTo>
                    <a:pt x="914" y="266"/>
                    <a:pt x="1036" y="323"/>
                    <a:pt x="1126" y="421"/>
                  </a:cubicBezTo>
                  <a:close/>
                  <a:moveTo>
                    <a:pt x="1126" y="42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84">
              <a:extLst>
                <a:ext uri="{FF2B5EF4-FFF2-40B4-BE49-F238E27FC236}">
                  <a16:creationId xmlns:a16="http://schemas.microsoft.com/office/drawing/2014/main" id="{2451CC6B-2AE7-43EF-9968-6289223A96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10" y="3388"/>
              <a:ext cx="105" cy="105"/>
            </a:xfrm>
            <a:custGeom>
              <a:avLst/>
              <a:gdLst>
                <a:gd name="T0" fmla="*/ 1583 w 3166"/>
                <a:gd name="T1" fmla="*/ 0 h 3166"/>
                <a:gd name="T2" fmla="*/ 0 w 3166"/>
                <a:gd name="T3" fmla="*/ 1583 h 3166"/>
                <a:gd name="T4" fmla="*/ 1583 w 3166"/>
                <a:gd name="T5" fmla="*/ 3166 h 3166"/>
                <a:gd name="T6" fmla="*/ 3166 w 3166"/>
                <a:gd name="T7" fmla="*/ 1583 h 3166"/>
                <a:gd name="T8" fmla="*/ 1583 w 3166"/>
                <a:gd name="T9" fmla="*/ 0 h 3166"/>
                <a:gd name="T10" fmla="*/ 2855 w 3166"/>
                <a:gd name="T11" fmla="*/ 1709 h 3166"/>
                <a:gd name="T12" fmla="*/ 2908 w 3166"/>
                <a:gd name="T13" fmla="*/ 1709 h 3166"/>
                <a:gd name="T14" fmla="*/ 1709 w 3166"/>
                <a:gd name="T15" fmla="*/ 2909 h 3166"/>
                <a:gd name="T16" fmla="*/ 1709 w 3166"/>
                <a:gd name="T17" fmla="*/ 2855 h 3166"/>
                <a:gd name="T18" fmla="*/ 1583 w 3166"/>
                <a:gd name="T19" fmla="*/ 2729 h 3166"/>
                <a:gd name="T20" fmla="*/ 1457 w 3166"/>
                <a:gd name="T21" fmla="*/ 2855 h 3166"/>
                <a:gd name="T22" fmla="*/ 1457 w 3166"/>
                <a:gd name="T23" fmla="*/ 2909 h 3166"/>
                <a:gd name="T24" fmla="*/ 258 w 3166"/>
                <a:gd name="T25" fmla="*/ 1709 h 3166"/>
                <a:gd name="T26" fmla="*/ 311 w 3166"/>
                <a:gd name="T27" fmla="*/ 1709 h 3166"/>
                <a:gd name="T28" fmla="*/ 437 w 3166"/>
                <a:gd name="T29" fmla="*/ 1583 h 3166"/>
                <a:gd name="T30" fmla="*/ 311 w 3166"/>
                <a:gd name="T31" fmla="*/ 1458 h 3166"/>
                <a:gd name="T32" fmla="*/ 258 w 3166"/>
                <a:gd name="T33" fmla="*/ 1458 h 3166"/>
                <a:gd name="T34" fmla="*/ 1457 w 3166"/>
                <a:gd name="T35" fmla="*/ 258 h 3166"/>
                <a:gd name="T36" fmla="*/ 1457 w 3166"/>
                <a:gd name="T37" fmla="*/ 312 h 3166"/>
                <a:gd name="T38" fmla="*/ 1583 w 3166"/>
                <a:gd name="T39" fmla="*/ 437 h 3166"/>
                <a:gd name="T40" fmla="*/ 1709 w 3166"/>
                <a:gd name="T41" fmla="*/ 312 h 3166"/>
                <a:gd name="T42" fmla="*/ 1709 w 3166"/>
                <a:gd name="T43" fmla="*/ 258 h 3166"/>
                <a:gd name="T44" fmla="*/ 2908 w 3166"/>
                <a:gd name="T45" fmla="*/ 1458 h 3166"/>
                <a:gd name="T46" fmla="*/ 2855 w 3166"/>
                <a:gd name="T47" fmla="*/ 1458 h 3166"/>
                <a:gd name="T48" fmla="*/ 2729 w 3166"/>
                <a:gd name="T49" fmla="*/ 1583 h 3166"/>
                <a:gd name="T50" fmla="*/ 2855 w 3166"/>
                <a:gd name="T51" fmla="*/ 1709 h 3166"/>
                <a:gd name="T52" fmla="*/ 2855 w 3166"/>
                <a:gd name="T53" fmla="*/ 1709 h 3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66" h="3166">
                  <a:moveTo>
                    <a:pt x="1583" y="0"/>
                  </a:moveTo>
                  <a:cubicBezTo>
                    <a:pt x="710" y="0"/>
                    <a:pt x="0" y="711"/>
                    <a:pt x="0" y="1583"/>
                  </a:cubicBezTo>
                  <a:cubicBezTo>
                    <a:pt x="0" y="2456"/>
                    <a:pt x="710" y="3166"/>
                    <a:pt x="1583" y="3166"/>
                  </a:cubicBezTo>
                  <a:cubicBezTo>
                    <a:pt x="2456" y="3166"/>
                    <a:pt x="3166" y="2456"/>
                    <a:pt x="3166" y="1583"/>
                  </a:cubicBezTo>
                  <a:cubicBezTo>
                    <a:pt x="3166" y="711"/>
                    <a:pt x="2456" y="0"/>
                    <a:pt x="1583" y="0"/>
                  </a:cubicBezTo>
                  <a:close/>
                  <a:moveTo>
                    <a:pt x="2855" y="1709"/>
                  </a:moveTo>
                  <a:lnTo>
                    <a:pt x="2908" y="1709"/>
                  </a:lnTo>
                  <a:cubicBezTo>
                    <a:pt x="2848" y="2343"/>
                    <a:pt x="2343" y="2849"/>
                    <a:pt x="1709" y="2909"/>
                  </a:cubicBezTo>
                  <a:lnTo>
                    <a:pt x="1709" y="2855"/>
                  </a:lnTo>
                  <a:cubicBezTo>
                    <a:pt x="1709" y="2786"/>
                    <a:pt x="1652" y="2729"/>
                    <a:pt x="1583" y="2729"/>
                  </a:cubicBezTo>
                  <a:cubicBezTo>
                    <a:pt x="1513" y="2729"/>
                    <a:pt x="1457" y="2786"/>
                    <a:pt x="1457" y="2855"/>
                  </a:cubicBezTo>
                  <a:lnTo>
                    <a:pt x="1457" y="2909"/>
                  </a:lnTo>
                  <a:cubicBezTo>
                    <a:pt x="823" y="2849"/>
                    <a:pt x="317" y="2343"/>
                    <a:pt x="258" y="1709"/>
                  </a:cubicBezTo>
                  <a:lnTo>
                    <a:pt x="311" y="1709"/>
                  </a:lnTo>
                  <a:cubicBezTo>
                    <a:pt x="381" y="1709"/>
                    <a:pt x="437" y="1653"/>
                    <a:pt x="437" y="1583"/>
                  </a:cubicBezTo>
                  <a:cubicBezTo>
                    <a:pt x="437" y="1514"/>
                    <a:pt x="381" y="1458"/>
                    <a:pt x="311" y="1458"/>
                  </a:cubicBezTo>
                  <a:lnTo>
                    <a:pt x="258" y="1458"/>
                  </a:lnTo>
                  <a:cubicBezTo>
                    <a:pt x="317" y="824"/>
                    <a:pt x="823" y="317"/>
                    <a:pt x="1457" y="258"/>
                  </a:cubicBezTo>
                  <a:lnTo>
                    <a:pt x="1457" y="312"/>
                  </a:lnTo>
                  <a:cubicBezTo>
                    <a:pt x="1457" y="381"/>
                    <a:pt x="1513" y="437"/>
                    <a:pt x="1583" y="437"/>
                  </a:cubicBezTo>
                  <a:cubicBezTo>
                    <a:pt x="1652" y="437"/>
                    <a:pt x="1709" y="381"/>
                    <a:pt x="1709" y="312"/>
                  </a:cubicBezTo>
                  <a:lnTo>
                    <a:pt x="1709" y="258"/>
                  </a:lnTo>
                  <a:cubicBezTo>
                    <a:pt x="2343" y="317"/>
                    <a:pt x="2848" y="824"/>
                    <a:pt x="2908" y="1458"/>
                  </a:cubicBezTo>
                  <a:lnTo>
                    <a:pt x="2855" y="1458"/>
                  </a:lnTo>
                  <a:cubicBezTo>
                    <a:pt x="2785" y="1458"/>
                    <a:pt x="2729" y="1514"/>
                    <a:pt x="2729" y="1583"/>
                  </a:cubicBezTo>
                  <a:cubicBezTo>
                    <a:pt x="2729" y="1653"/>
                    <a:pt x="2785" y="1709"/>
                    <a:pt x="2855" y="1709"/>
                  </a:cubicBezTo>
                  <a:close/>
                  <a:moveTo>
                    <a:pt x="2855" y="170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385">
              <a:extLst>
                <a:ext uri="{FF2B5EF4-FFF2-40B4-BE49-F238E27FC236}">
                  <a16:creationId xmlns:a16="http://schemas.microsoft.com/office/drawing/2014/main" id="{217FCBB4-7C0F-4CFF-87DE-F8DCA56FCE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4" y="3416"/>
              <a:ext cx="23" cy="36"/>
            </a:xfrm>
            <a:custGeom>
              <a:avLst/>
              <a:gdLst>
                <a:gd name="T0" fmla="*/ 543 w 669"/>
                <a:gd name="T1" fmla="*/ 0 h 1086"/>
                <a:gd name="T2" fmla="*/ 417 w 669"/>
                <a:gd name="T3" fmla="*/ 125 h 1086"/>
                <a:gd name="T4" fmla="*/ 417 w 669"/>
                <a:gd name="T5" fmla="*/ 834 h 1086"/>
                <a:gd name="T6" fmla="*/ 126 w 669"/>
                <a:gd name="T7" fmla="*/ 834 h 1086"/>
                <a:gd name="T8" fmla="*/ 0 w 669"/>
                <a:gd name="T9" fmla="*/ 960 h 1086"/>
                <a:gd name="T10" fmla="*/ 126 w 669"/>
                <a:gd name="T11" fmla="*/ 1086 h 1086"/>
                <a:gd name="T12" fmla="*/ 543 w 669"/>
                <a:gd name="T13" fmla="*/ 1086 h 1086"/>
                <a:gd name="T14" fmla="*/ 669 w 669"/>
                <a:gd name="T15" fmla="*/ 960 h 1086"/>
                <a:gd name="T16" fmla="*/ 669 w 669"/>
                <a:gd name="T17" fmla="*/ 125 h 1086"/>
                <a:gd name="T18" fmla="*/ 543 w 669"/>
                <a:gd name="T19" fmla="*/ 0 h 1086"/>
                <a:gd name="T20" fmla="*/ 543 w 669"/>
                <a:gd name="T21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9" h="1086">
                  <a:moveTo>
                    <a:pt x="543" y="0"/>
                  </a:moveTo>
                  <a:cubicBezTo>
                    <a:pt x="473" y="0"/>
                    <a:pt x="417" y="56"/>
                    <a:pt x="417" y="125"/>
                  </a:cubicBezTo>
                  <a:lnTo>
                    <a:pt x="417" y="834"/>
                  </a:lnTo>
                  <a:lnTo>
                    <a:pt x="126" y="834"/>
                  </a:lnTo>
                  <a:cubicBezTo>
                    <a:pt x="56" y="834"/>
                    <a:pt x="0" y="891"/>
                    <a:pt x="0" y="960"/>
                  </a:cubicBezTo>
                  <a:cubicBezTo>
                    <a:pt x="0" y="1029"/>
                    <a:pt x="56" y="1086"/>
                    <a:pt x="126" y="1086"/>
                  </a:cubicBezTo>
                  <a:lnTo>
                    <a:pt x="543" y="1086"/>
                  </a:lnTo>
                  <a:cubicBezTo>
                    <a:pt x="612" y="1086"/>
                    <a:pt x="669" y="1029"/>
                    <a:pt x="669" y="960"/>
                  </a:cubicBezTo>
                  <a:lnTo>
                    <a:pt x="669" y="125"/>
                  </a:lnTo>
                  <a:cubicBezTo>
                    <a:pt x="669" y="56"/>
                    <a:pt x="612" y="0"/>
                    <a:pt x="543" y="0"/>
                  </a:cubicBezTo>
                  <a:close/>
                  <a:moveTo>
                    <a:pt x="543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" name="Group 248">
            <a:extLst>
              <a:ext uri="{FF2B5EF4-FFF2-40B4-BE49-F238E27FC236}">
                <a16:creationId xmlns:a16="http://schemas.microsoft.com/office/drawing/2014/main" id="{8C238620-C1ED-4FDC-8121-E823E4C74E3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6153" y="2142579"/>
            <a:ext cx="584897" cy="530671"/>
            <a:chOff x="1780" y="300"/>
            <a:chExt cx="4088" cy="3709"/>
          </a:xfrm>
          <a:solidFill>
            <a:schemeClr val="bg2">
              <a:lumMod val="25000"/>
            </a:schemeClr>
          </a:solidFill>
        </p:grpSpPr>
        <p:sp>
          <p:nvSpPr>
            <p:cNvPr id="26" name="Freeform 249">
              <a:extLst>
                <a:ext uri="{FF2B5EF4-FFF2-40B4-BE49-F238E27FC236}">
                  <a16:creationId xmlns:a16="http://schemas.microsoft.com/office/drawing/2014/main" id="{AA8C0EB2-550C-4F68-A4AD-B2020C0B34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0" y="300"/>
              <a:ext cx="4088" cy="3709"/>
            </a:xfrm>
            <a:custGeom>
              <a:avLst/>
              <a:gdLst>
                <a:gd name="T0" fmla="*/ 7231 w 8517"/>
                <a:gd name="T1" fmla="*/ 2632 h 7729"/>
                <a:gd name="T2" fmla="*/ 5932 w 8517"/>
                <a:gd name="T3" fmla="*/ 1311 h 7729"/>
                <a:gd name="T4" fmla="*/ 4661 w 8517"/>
                <a:gd name="T5" fmla="*/ 0 h 7729"/>
                <a:gd name="T6" fmla="*/ 2630 w 8517"/>
                <a:gd name="T7" fmla="*/ 1317 h 7729"/>
                <a:gd name="T8" fmla="*/ 941 w 8517"/>
                <a:gd name="T9" fmla="*/ 2243 h 7729"/>
                <a:gd name="T10" fmla="*/ 480 w 8517"/>
                <a:gd name="T11" fmla="*/ 3397 h 7729"/>
                <a:gd name="T12" fmla="*/ 1042 w 8517"/>
                <a:gd name="T13" fmla="*/ 5238 h 7729"/>
                <a:gd name="T14" fmla="*/ 1532 w 8517"/>
                <a:gd name="T15" fmla="*/ 7555 h 7729"/>
                <a:gd name="T16" fmla="*/ 2332 w 8517"/>
                <a:gd name="T17" fmla="*/ 6226 h 7729"/>
                <a:gd name="T18" fmla="*/ 2776 w 8517"/>
                <a:gd name="T19" fmla="*/ 7229 h 7729"/>
                <a:gd name="T20" fmla="*/ 3633 w 8517"/>
                <a:gd name="T21" fmla="*/ 7233 h 7729"/>
                <a:gd name="T22" fmla="*/ 4081 w 8517"/>
                <a:gd name="T23" fmla="*/ 6226 h 7729"/>
                <a:gd name="T24" fmla="*/ 4546 w 8517"/>
                <a:gd name="T25" fmla="*/ 7605 h 7729"/>
                <a:gd name="T26" fmla="*/ 4747 w 8517"/>
                <a:gd name="T27" fmla="*/ 6576 h 7729"/>
                <a:gd name="T28" fmla="*/ 5191 w 8517"/>
                <a:gd name="T29" fmla="*/ 7198 h 7729"/>
                <a:gd name="T30" fmla="*/ 5661 w 8517"/>
                <a:gd name="T31" fmla="*/ 7610 h 7729"/>
                <a:gd name="T32" fmla="*/ 6076 w 8517"/>
                <a:gd name="T33" fmla="*/ 6435 h 7729"/>
                <a:gd name="T34" fmla="*/ 6658 w 8517"/>
                <a:gd name="T35" fmla="*/ 7599 h 7729"/>
                <a:gd name="T36" fmla="*/ 7540 w 8517"/>
                <a:gd name="T37" fmla="*/ 6322 h 7729"/>
                <a:gd name="T38" fmla="*/ 8029 w 8517"/>
                <a:gd name="T39" fmla="*/ 5179 h 7729"/>
                <a:gd name="T40" fmla="*/ 3016 w 8517"/>
                <a:gd name="T41" fmla="*/ 3937 h 7729"/>
                <a:gd name="T42" fmla="*/ 3475 w 8517"/>
                <a:gd name="T43" fmla="*/ 3641 h 7729"/>
                <a:gd name="T44" fmla="*/ 3784 w 8517"/>
                <a:gd name="T45" fmla="*/ 4446 h 7729"/>
                <a:gd name="T46" fmla="*/ 2750 w 8517"/>
                <a:gd name="T47" fmla="*/ 5038 h 7729"/>
                <a:gd name="T48" fmla="*/ 2972 w 8517"/>
                <a:gd name="T49" fmla="*/ 5611 h 7729"/>
                <a:gd name="T50" fmla="*/ 3491 w 8517"/>
                <a:gd name="T51" fmla="*/ 5842 h 7729"/>
                <a:gd name="T52" fmla="*/ 3403 w 8517"/>
                <a:gd name="T53" fmla="*/ 7111 h 7729"/>
                <a:gd name="T54" fmla="*/ 5141 w 8517"/>
                <a:gd name="T55" fmla="*/ 4717 h 7729"/>
                <a:gd name="T56" fmla="*/ 6031 w 8517"/>
                <a:gd name="T57" fmla="*/ 4794 h 7729"/>
                <a:gd name="T58" fmla="*/ 5944 w 8517"/>
                <a:gd name="T59" fmla="*/ 5500 h 7729"/>
                <a:gd name="T60" fmla="*/ 5141 w 8517"/>
                <a:gd name="T61" fmla="*/ 4998 h 7729"/>
                <a:gd name="T62" fmla="*/ 5586 w 8517"/>
                <a:gd name="T63" fmla="*/ 5937 h 7729"/>
                <a:gd name="T64" fmla="*/ 5577 w 8517"/>
                <a:gd name="T65" fmla="*/ 7340 h 7729"/>
                <a:gd name="T66" fmla="*/ 8268 w 8517"/>
                <a:gd name="T67" fmla="*/ 4661 h 7729"/>
                <a:gd name="T68" fmla="*/ 7017 w 8517"/>
                <a:gd name="T69" fmla="*/ 6095 h 7729"/>
                <a:gd name="T70" fmla="*/ 6368 w 8517"/>
                <a:gd name="T71" fmla="*/ 6270 h 7729"/>
                <a:gd name="T72" fmla="*/ 6011 w 8517"/>
                <a:gd name="T73" fmla="*/ 6049 h 7729"/>
                <a:gd name="T74" fmla="*/ 6281 w 8517"/>
                <a:gd name="T75" fmla="*/ 4967 h 7729"/>
                <a:gd name="T76" fmla="*/ 4891 w 8517"/>
                <a:gd name="T77" fmla="*/ 4636 h 7729"/>
                <a:gd name="T78" fmla="*/ 5169 w 8517"/>
                <a:gd name="T79" fmla="*/ 5756 h 7729"/>
                <a:gd name="T80" fmla="*/ 4635 w 8517"/>
                <a:gd name="T81" fmla="*/ 6351 h 7729"/>
                <a:gd name="T82" fmla="*/ 3690 w 8517"/>
                <a:gd name="T83" fmla="*/ 5313 h 7729"/>
                <a:gd name="T84" fmla="*/ 4033 w 8517"/>
                <a:gd name="T85" fmla="*/ 3950 h 7729"/>
                <a:gd name="T86" fmla="*/ 2380 w 8517"/>
                <a:gd name="T87" fmla="*/ 4301 h 7729"/>
                <a:gd name="T88" fmla="*/ 2625 w 8517"/>
                <a:gd name="T89" fmla="*/ 5835 h 7729"/>
                <a:gd name="T90" fmla="*/ 1181 w 8517"/>
                <a:gd name="T91" fmla="*/ 6850 h 7729"/>
                <a:gd name="T92" fmla="*/ 1021 w 8517"/>
                <a:gd name="T93" fmla="*/ 4962 h 7729"/>
                <a:gd name="T94" fmla="*/ 1010 w 8517"/>
                <a:gd name="T95" fmla="*/ 3607 h 7729"/>
                <a:gd name="T96" fmla="*/ 1140 w 8517"/>
                <a:gd name="T97" fmla="*/ 1708 h 7729"/>
                <a:gd name="T98" fmla="*/ 3399 w 8517"/>
                <a:gd name="T99" fmla="*/ 1266 h 7729"/>
                <a:gd name="T100" fmla="*/ 4930 w 8517"/>
                <a:gd name="T101" fmla="*/ 503 h 7729"/>
                <a:gd name="T102" fmla="*/ 6484 w 8517"/>
                <a:gd name="T103" fmla="*/ 1167 h 7729"/>
                <a:gd name="T104" fmla="*/ 7006 w 8517"/>
                <a:gd name="T105" fmla="*/ 2795 h 7729"/>
                <a:gd name="T106" fmla="*/ 8268 w 8517"/>
                <a:gd name="T107" fmla="*/ 4661 h 7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17" h="7729">
                  <a:moveTo>
                    <a:pt x="8037" y="3397"/>
                  </a:moveTo>
                  <a:lnTo>
                    <a:pt x="7526" y="3358"/>
                  </a:lnTo>
                  <a:cubicBezTo>
                    <a:pt x="7509" y="3357"/>
                    <a:pt x="7495" y="3346"/>
                    <a:pt x="7491" y="3330"/>
                  </a:cubicBezTo>
                  <a:cubicBezTo>
                    <a:pt x="7426" y="3105"/>
                    <a:pt x="7337" y="2885"/>
                    <a:pt x="7226" y="2677"/>
                  </a:cubicBezTo>
                  <a:cubicBezTo>
                    <a:pt x="7218" y="2663"/>
                    <a:pt x="7220" y="2645"/>
                    <a:pt x="7231" y="2632"/>
                  </a:cubicBezTo>
                  <a:lnTo>
                    <a:pt x="7576" y="2243"/>
                  </a:lnTo>
                  <a:cubicBezTo>
                    <a:pt x="7757" y="2038"/>
                    <a:pt x="7748" y="1726"/>
                    <a:pt x="7554" y="1532"/>
                  </a:cubicBezTo>
                  <a:lnTo>
                    <a:pt x="7027" y="1004"/>
                  </a:lnTo>
                  <a:cubicBezTo>
                    <a:pt x="6836" y="814"/>
                    <a:pt x="6526" y="802"/>
                    <a:pt x="6321" y="977"/>
                  </a:cubicBezTo>
                  <a:lnTo>
                    <a:pt x="5932" y="1311"/>
                  </a:lnTo>
                  <a:cubicBezTo>
                    <a:pt x="5920" y="1322"/>
                    <a:pt x="5901" y="1324"/>
                    <a:pt x="5887" y="1316"/>
                  </a:cubicBezTo>
                  <a:cubicBezTo>
                    <a:pt x="5682" y="1202"/>
                    <a:pt x="5463" y="1110"/>
                    <a:pt x="5238" y="1042"/>
                  </a:cubicBezTo>
                  <a:cubicBezTo>
                    <a:pt x="5223" y="1037"/>
                    <a:pt x="5212" y="1022"/>
                    <a:pt x="5211" y="1006"/>
                  </a:cubicBezTo>
                  <a:lnTo>
                    <a:pt x="5179" y="488"/>
                  </a:lnTo>
                  <a:cubicBezTo>
                    <a:pt x="5162" y="214"/>
                    <a:pt x="4935" y="0"/>
                    <a:pt x="4661" y="0"/>
                  </a:cubicBezTo>
                  <a:lnTo>
                    <a:pt x="3915" y="0"/>
                  </a:lnTo>
                  <a:cubicBezTo>
                    <a:pt x="3645" y="0"/>
                    <a:pt x="3418" y="211"/>
                    <a:pt x="3397" y="480"/>
                  </a:cubicBezTo>
                  <a:lnTo>
                    <a:pt x="3358" y="991"/>
                  </a:lnTo>
                  <a:cubicBezTo>
                    <a:pt x="3357" y="1008"/>
                    <a:pt x="3346" y="1022"/>
                    <a:pt x="3330" y="1026"/>
                  </a:cubicBezTo>
                  <a:cubicBezTo>
                    <a:pt x="3087" y="1096"/>
                    <a:pt x="2851" y="1194"/>
                    <a:pt x="2630" y="1317"/>
                  </a:cubicBezTo>
                  <a:cubicBezTo>
                    <a:pt x="2616" y="1324"/>
                    <a:pt x="2598" y="1322"/>
                    <a:pt x="2585" y="1311"/>
                  </a:cubicBezTo>
                  <a:lnTo>
                    <a:pt x="2196" y="977"/>
                  </a:lnTo>
                  <a:cubicBezTo>
                    <a:pt x="1991" y="802"/>
                    <a:pt x="1682" y="814"/>
                    <a:pt x="1491" y="1004"/>
                  </a:cubicBezTo>
                  <a:lnTo>
                    <a:pt x="963" y="1532"/>
                  </a:lnTo>
                  <a:cubicBezTo>
                    <a:pt x="769" y="1726"/>
                    <a:pt x="760" y="2038"/>
                    <a:pt x="941" y="2243"/>
                  </a:cubicBezTo>
                  <a:lnTo>
                    <a:pt x="1286" y="2632"/>
                  </a:lnTo>
                  <a:cubicBezTo>
                    <a:pt x="1297" y="2645"/>
                    <a:pt x="1299" y="2663"/>
                    <a:pt x="1292" y="2677"/>
                  </a:cubicBezTo>
                  <a:cubicBezTo>
                    <a:pt x="1180" y="2885"/>
                    <a:pt x="1091" y="3105"/>
                    <a:pt x="1027" y="3330"/>
                  </a:cubicBezTo>
                  <a:cubicBezTo>
                    <a:pt x="1022" y="3346"/>
                    <a:pt x="1008" y="3357"/>
                    <a:pt x="991" y="3358"/>
                  </a:cubicBezTo>
                  <a:lnTo>
                    <a:pt x="480" y="3397"/>
                  </a:lnTo>
                  <a:cubicBezTo>
                    <a:pt x="211" y="3418"/>
                    <a:pt x="0" y="3645"/>
                    <a:pt x="0" y="3915"/>
                  </a:cubicBezTo>
                  <a:lnTo>
                    <a:pt x="0" y="4661"/>
                  </a:lnTo>
                  <a:cubicBezTo>
                    <a:pt x="0" y="4935"/>
                    <a:pt x="215" y="5163"/>
                    <a:pt x="488" y="5179"/>
                  </a:cubicBezTo>
                  <a:lnTo>
                    <a:pt x="1006" y="5211"/>
                  </a:lnTo>
                  <a:cubicBezTo>
                    <a:pt x="1023" y="5212"/>
                    <a:pt x="1037" y="5223"/>
                    <a:pt x="1042" y="5238"/>
                  </a:cubicBezTo>
                  <a:cubicBezTo>
                    <a:pt x="1110" y="5463"/>
                    <a:pt x="1203" y="5682"/>
                    <a:pt x="1316" y="5887"/>
                  </a:cubicBezTo>
                  <a:cubicBezTo>
                    <a:pt x="1324" y="5902"/>
                    <a:pt x="1322" y="5920"/>
                    <a:pt x="1311" y="5932"/>
                  </a:cubicBezTo>
                  <a:lnTo>
                    <a:pt x="977" y="6322"/>
                  </a:lnTo>
                  <a:cubicBezTo>
                    <a:pt x="802" y="6526"/>
                    <a:pt x="814" y="6836"/>
                    <a:pt x="1004" y="7027"/>
                  </a:cubicBezTo>
                  <a:lnTo>
                    <a:pt x="1532" y="7555"/>
                  </a:lnTo>
                  <a:cubicBezTo>
                    <a:pt x="1579" y="7602"/>
                    <a:pt x="1634" y="7639"/>
                    <a:pt x="1695" y="7665"/>
                  </a:cubicBezTo>
                  <a:cubicBezTo>
                    <a:pt x="1758" y="7692"/>
                    <a:pt x="1831" y="7663"/>
                    <a:pt x="1858" y="7599"/>
                  </a:cubicBezTo>
                  <a:cubicBezTo>
                    <a:pt x="1868" y="7576"/>
                    <a:pt x="1871" y="7552"/>
                    <a:pt x="1867" y="7529"/>
                  </a:cubicBezTo>
                  <a:lnTo>
                    <a:pt x="1867" y="6875"/>
                  </a:lnTo>
                  <a:cubicBezTo>
                    <a:pt x="1867" y="6580"/>
                    <a:pt x="2054" y="6319"/>
                    <a:pt x="2332" y="6226"/>
                  </a:cubicBezTo>
                  <a:lnTo>
                    <a:pt x="2594" y="6137"/>
                  </a:lnTo>
                  <a:cubicBezTo>
                    <a:pt x="2645" y="6121"/>
                    <a:pt x="2692" y="6097"/>
                    <a:pt x="2735" y="6067"/>
                  </a:cubicBezTo>
                  <a:cubicBezTo>
                    <a:pt x="2830" y="6096"/>
                    <a:pt x="2928" y="6116"/>
                    <a:pt x="3027" y="6126"/>
                  </a:cubicBezTo>
                  <a:lnTo>
                    <a:pt x="2749" y="7111"/>
                  </a:lnTo>
                  <a:cubicBezTo>
                    <a:pt x="2737" y="7152"/>
                    <a:pt x="2747" y="7197"/>
                    <a:pt x="2776" y="7229"/>
                  </a:cubicBezTo>
                  <a:lnTo>
                    <a:pt x="3097" y="7586"/>
                  </a:lnTo>
                  <a:cubicBezTo>
                    <a:pt x="3120" y="7612"/>
                    <a:pt x="3152" y="7627"/>
                    <a:pt x="3186" y="7628"/>
                  </a:cubicBezTo>
                  <a:lnTo>
                    <a:pt x="3190" y="7628"/>
                  </a:lnTo>
                  <a:cubicBezTo>
                    <a:pt x="3223" y="7628"/>
                    <a:pt x="3255" y="7615"/>
                    <a:pt x="3278" y="7591"/>
                  </a:cubicBezTo>
                  <a:lnTo>
                    <a:pt x="3633" y="7233"/>
                  </a:lnTo>
                  <a:cubicBezTo>
                    <a:pt x="3666" y="7200"/>
                    <a:pt x="3677" y="7152"/>
                    <a:pt x="3664" y="7108"/>
                  </a:cubicBezTo>
                  <a:lnTo>
                    <a:pt x="3355" y="6122"/>
                  </a:lnTo>
                  <a:cubicBezTo>
                    <a:pt x="3458" y="6109"/>
                    <a:pt x="3560" y="6086"/>
                    <a:pt x="3658" y="6052"/>
                  </a:cubicBezTo>
                  <a:cubicBezTo>
                    <a:pt x="3707" y="6089"/>
                    <a:pt x="3761" y="6118"/>
                    <a:pt x="3819" y="6137"/>
                  </a:cubicBezTo>
                  <a:lnTo>
                    <a:pt x="4081" y="6226"/>
                  </a:lnTo>
                  <a:cubicBezTo>
                    <a:pt x="4259" y="6286"/>
                    <a:pt x="4406" y="6418"/>
                    <a:pt x="4484" y="6589"/>
                  </a:cubicBezTo>
                  <a:cubicBezTo>
                    <a:pt x="4524" y="6676"/>
                    <a:pt x="4545" y="6768"/>
                    <a:pt x="4546" y="6862"/>
                  </a:cubicBezTo>
                  <a:cubicBezTo>
                    <a:pt x="4546" y="6865"/>
                    <a:pt x="4546" y="6867"/>
                    <a:pt x="4546" y="6869"/>
                  </a:cubicBezTo>
                  <a:cubicBezTo>
                    <a:pt x="4546" y="6871"/>
                    <a:pt x="4546" y="6873"/>
                    <a:pt x="4546" y="6875"/>
                  </a:cubicBezTo>
                  <a:lnTo>
                    <a:pt x="4546" y="7605"/>
                  </a:lnTo>
                  <a:cubicBezTo>
                    <a:pt x="4546" y="7673"/>
                    <a:pt x="4602" y="7729"/>
                    <a:pt x="4671" y="7729"/>
                  </a:cubicBezTo>
                  <a:cubicBezTo>
                    <a:pt x="4740" y="7729"/>
                    <a:pt x="4796" y="7673"/>
                    <a:pt x="4796" y="7605"/>
                  </a:cubicBezTo>
                  <a:lnTo>
                    <a:pt x="4796" y="6875"/>
                  </a:lnTo>
                  <a:cubicBezTo>
                    <a:pt x="4796" y="6868"/>
                    <a:pt x="4796" y="6862"/>
                    <a:pt x="4796" y="6856"/>
                  </a:cubicBezTo>
                  <a:cubicBezTo>
                    <a:pt x="4794" y="6760"/>
                    <a:pt x="4777" y="6666"/>
                    <a:pt x="4747" y="6576"/>
                  </a:cubicBezTo>
                  <a:cubicBezTo>
                    <a:pt x="4788" y="6547"/>
                    <a:pt x="4834" y="6523"/>
                    <a:pt x="4883" y="6507"/>
                  </a:cubicBezTo>
                  <a:lnTo>
                    <a:pt x="5096" y="6435"/>
                  </a:lnTo>
                  <a:cubicBezTo>
                    <a:pt x="5136" y="6422"/>
                    <a:pt x="5173" y="6404"/>
                    <a:pt x="5207" y="6381"/>
                  </a:cubicBezTo>
                  <a:cubicBezTo>
                    <a:pt x="5274" y="6401"/>
                    <a:pt x="5341" y="6415"/>
                    <a:pt x="5410" y="6424"/>
                  </a:cubicBezTo>
                  <a:lnTo>
                    <a:pt x="5191" y="7198"/>
                  </a:lnTo>
                  <a:cubicBezTo>
                    <a:pt x="5180" y="7239"/>
                    <a:pt x="5190" y="7283"/>
                    <a:pt x="5218" y="7315"/>
                  </a:cubicBezTo>
                  <a:lnTo>
                    <a:pt x="5479" y="7606"/>
                  </a:lnTo>
                  <a:cubicBezTo>
                    <a:pt x="5502" y="7631"/>
                    <a:pt x="5535" y="7646"/>
                    <a:pt x="5569" y="7647"/>
                  </a:cubicBezTo>
                  <a:cubicBezTo>
                    <a:pt x="5570" y="7647"/>
                    <a:pt x="5571" y="7647"/>
                    <a:pt x="5572" y="7647"/>
                  </a:cubicBezTo>
                  <a:cubicBezTo>
                    <a:pt x="5605" y="7647"/>
                    <a:pt x="5637" y="7634"/>
                    <a:pt x="5661" y="7610"/>
                  </a:cubicBezTo>
                  <a:lnTo>
                    <a:pt x="5949" y="7319"/>
                  </a:lnTo>
                  <a:cubicBezTo>
                    <a:pt x="5982" y="7286"/>
                    <a:pt x="5993" y="7238"/>
                    <a:pt x="5979" y="7194"/>
                  </a:cubicBezTo>
                  <a:lnTo>
                    <a:pt x="5737" y="6420"/>
                  </a:lnTo>
                  <a:cubicBezTo>
                    <a:pt x="5809" y="6409"/>
                    <a:pt x="5879" y="6393"/>
                    <a:pt x="5949" y="6369"/>
                  </a:cubicBezTo>
                  <a:cubicBezTo>
                    <a:pt x="5987" y="6398"/>
                    <a:pt x="6030" y="6420"/>
                    <a:pt x="6076" y="6435"/>
                  </a:cubicBezTo>
                  <a:lnTo>
                    <a:pt x="6288" y="6507"/>
                  </a:lnTo>
                  <a:cubicBezTo>
                    <a:pt x="6505" y="6580"/>
                    <a:pt x="6651" y="6783"/>
                    <a:pt x="6651" y="7012"/>
                  </a:cubicBezTo>
                  <a:lnTo>
                    <a:pt x="6651" y="7522"/>
                  </a:lnTo>
                  <a:cubicBezTo>
                    <a:pt x="6651" y="7523"/>
                    <a:pt x="6651" y="7523"/>
                    <a:pt x="6651" y="7524"/>
                  </a:cubicBezTo>
                  <a:cubicBezTo>
                    <a:pt x="6645" y="7548"/>
                    <a:pt x="6647" y="7574"/>
                    <a:pt x="6658" y="7599"/>
                  </a:cubicBezTo>
                  <a:cubicBezTo>
                    <a:pt x="6678" y="7647"/>
                    <a:pt x="6724" y="7675"/>
                    <a:pt x="6773" y="7675"/>
                  </a:cubicBezTo>
                  <a:cubicBezTo>
                    <a:pt x="6789" y="7675"/>
                    <a:pt x="6805" y="7672"/>
                    <a:pt x="6821" y="7665"/>
                  </a:cubicBezTo>
                  <a:cubicBezTo>
                    <a:pt x="6883" y="7639"/>
                    <a:pt x="6938" y="7602"/>
                    <a:pt x="6985" y="7555"/>
                  </a:cubicBezTo>
                  <a:lnTo>
                    <a:pt x="7513" y="7027"/>
                  </a:lnTo>
                  <a:cubicBezTo>
                    <a:pt x="7704" y="6836"/>
                    <a:pt x="7716" y="6526"/>
                    <a:pt x="7540" y="6322"/>
                  </a:cubicBezTo>
                  <a:lnTo>
                    <a:pt x="7206" y="5932"/>
                  </a:lnTo>
                  <a:cubicBezTo>
                    <a:pt x="7195" y="5920"/>
                    <a:pt x="7193" y="5902"/>
                    <a:pt x="7201" y="5887"/>
                  </a:cubicBezTo>
                  <a:cubicBezTo>
                    <a:pt x="7315" y="5682"/>
                    <a:pt x="7407" y="5463"/>
                    <a:pt x="7476" y="5238"/>
                  </a:cubicBezTo>
                  <a:cubicBezTo>
                    <a:pt x="7480" y="5223"/>
                    <a:pt x="7495" y="5212"/>
                    <a:pt x="7512" y="5211"/>
                  </a:cubicBezTo>
                  <a:lnTo>
                    <a:pt x="8029" y="5179"/>
                  </a:lnTo>
                  <a:cubicBezTo>
                    <a:pt x="8303" y="5163"/>
                    <a:pt x="8517" y="4935"/>
                    <a:pt x="8517" y="4661"/>
                  </a:cubicBezTo>
                  <a:lnTo>
                    <a:pt x="8517" y="3915"/>
                  </a:lnTo>
                  <a:cubicBezTo>
                    <a:pt x="8517" y="3645"/>
                    <a:pt x="8306" y="3418"/>
                    <a:pt x="8037" y="3397"/>
                  </a:cubicBezTo>
                  <a:close/>
                  <a:moveTo>
                    <a:pt x="3784" y="4184"/>
                  </a:moveTo>
                  <a:lnTo>
                    <a:pt x="3016" y="3937"/>
                  </a:lnTo>
                  <a:cubicBezTo>
                    <a:pt x="2984" y="3927"/>
                    <a:pt x="2949" y="3930"/>
                    <a:pt x="2920" y="3945"/>
                  </a:cubicBezTo>
                  <a:lnTo>
                    <a:pt x="2629" y="4097"/>
                  </a:lnTo>
                  <a:lnTo>
                    <a:pt x="2629" y="3950"/>
                  </a:lnTo>
                  <a:cubicBezTo>
                    <a:pt x="2629" y="3780"/>
                    <a:pt x="2768" y="3641"/>
                    <a:pt x="2938" y="3641"/>
                  </a:cubicBezTo>
                  <a:lnTo>
                    <a:pt x="3475" y="3641"/>
                  </a:lnTo>
                  <a:cubicBezTo>
                    <a:pt x="3645" y="3641"/>
                    <a:pt x="3784" y="3780"/>
                    <a:pt x="3784" y="3950"/>
                  </a:cubicBezTo>
                  <a:lnTo>
                    <a:pt x="3784" y="4184"/>
                  </a:lnTo>
                  <a:close/>
                  <a:moveTo>
                    <a:pt x="2629" y="4378"/>
                  </a:moveTo>
                  <a:lnTo>
                    <a:pt x="2989" y="4190"/>
                  </a:lnTo>
                  <a:lnTo>
                    <a:pt x="3784" y="4446"/>
                  </a:lnTo>
                  <a:lnTo>
                    <a:pt x="3784" y="4822"/>
                  </a:lnTo>
                  <a:cubicBezTo>
                    <a:pt x="3784" y="4910"/>
                    <a:pt x="3737" y="4992"/>
                    <a:pt x="3663" y="5038"/>
                  </a:cubicBezTo>
                  <a:lnTo>
                    <a:pt x="3337" y="5236"/>
                  </a:lnTo>
                  <a:cubicBezTo>
                    <a:pt x="3257" y="5285"/>
                    <a:pt x="3156" y="5285"/>
                    <a:pt x="3076" y="5236"/>
                  </a:cubicBezTo>
                  <a:lnTo>
                    <a:pt x="2750" y="5038"/>
                  </a:lnTo>
                  <a:cubicBezTo>
                    <a:pt x="2676" y="4992"/>
                    <a:pt x="2629" y="4910"/>
                    <a:pt x="2629" y="4822"/>
                  </a:cubicBezTo>
                  <a:lnTo>
                    <a:pt x="2629" y="4378"/>
                  </a:lnTo>
                  <a:close/>
                  <a:moveTo>
                    <a:pt x="3201" y="5884"/>
                  </a:moveTo>
                  <a:cubicBezTo>
                    <a:pt x="3104" y="5886"/>
                    <a:pt x="3009" y="5876"/>
                    <a:pt x="2915" y="5856"/>
                  </a:cubicBezTo>
                  <a:cubicBezTo>
                    <a:pt x="2952" y="5781"/>
                    <a:pt x="2972" y="5697"/>
                    <a:pt x="2972" y="5611"/>
                  </a:cubicBezTo>
                  <a:lnTo>
                    <a:pt x="2972" y="5464"/>
                  </a:lnTo>
                  <a:cubicBezTo>
                    <a:pt x="3046" y="5503"/>
                    <a:pt x="3126" y="5523"/>
                    <a:pt x="3206" y="5523"/>
                  </a:cubicBezTo>
                  <a:cubicBezTo>
                    <a:pt x="3287" y="5523"/>
                    <a:pt x="3367" y="5503"/>
                    <a:pt x="3441" y="5464"/>
                  </a:cubicBezTo>
                  <a:lnTo>
                    <a:pt x="3441" y="5611"/>
                  </a:lnTo>
                  <a:cubicBezTo>
                    <a:pt x="3441" y="5692"/>
                    <a:pt x="3458" y="5771"/>
                    <a:pt x="3491" y="5842"/>
                  </a:cubicBezTo>
                  <a:cubicBezTo>
                    <a:pt x="3396" y="5867"/>
                    <a:pt x="3299" y="5881"/>
                    <a:pt x="3201" y="5884"/>
                  </a:cubicBezTo>
                  <a:close/>
                  <a:moveTo>
                    <a:pt x="3194" y="7321"/>
                  </a:moveTo>
                  <a:lnTo>
                    <a:pt x="3007" y="7113"/>
                  </a:lnTo>
                  <a:lnTo>
                    <a:pt x="3196" y="6448"/>
                  </a:lnTo>
                  <a:lnTo>
                    <a:pt x="3403" y="7111"/>
                  </a:lnTo>
                  <a:lnTo>
                    <a:pt x="3194" y="7321"/>
                  </a:lnTo>
                  <a:close/>
                  <a:moveTo>
                    <a:pt x="6031" y="4794"/>
                  </a:moveTo>
                  <a:lnTo>
                    <a:pt x="5438" y="4603"/>
                  </a:lnTo>
                  <a:cubicBezTo>
                    <a:pt x="5406" y="4593"/>
                    <a:pt x="5372" y="4596"/>
                    <a:pt x="5342" y="4611"/>
                  </a:cubicBezTo>
                  <a:lnTo>
                    <a:pt x="5141" y="4717"/>
                  </a:lnTo>
                  <a:lnTo>
                    <a:pt x="5141" y="4636"/>
                  </a:lnTo>
                  <a:cubicBezTo>
                    <a:pt x="5141" y="4511"/>
                    <a:pt x="5242" y="4408"/>
                    <a:pt x="5368" y="4408"/>
                  </a:cubicBezTo>
                  <a:lnTo>
                    <a:pt x="5804" y="4408"/>
                  </a:lnTo>
                  <a:cubicBezTo>
                    <a:pt x="5929" y="4408"/>
                    <a:pt x="6031" y="4511"/>
                    <a:pt x="6031" y="4636"/>
                  </a:cubicBezTo>
                  <a:lnTo>
                    <a:pt x="6031" y="4794"/>
                  </a:lnTo>
                  <a:close/>
                  <a:moveTo>
                    <a:pt x="5141" y="4998"/>
                  </a:moveTo>
                  <a:lnTo>
                    <a:pt x="5411" y="4857"/>
                  </a:lnTo>
                  <a:lnTo>
                    <a:pt x="6031" y="5056"/>
                  </a:lnTo>
                  <a:lnTo>
                    <a:pt x="6031" y="5345"/>
                  </a:lnTo>
                  <a:cubicBezTo>
                    <a:pt x="6031" y="5408"/>
                    <a:pt x="5998" y="5467"/>
                    <a:pt x="5944" y="5500"/>
                  </a:cubicBezTo>
                  <a:lnTo>
                    <a:pt x="5680" y="5661"/>
                  </a:lnTo>
                  <a:cubicBezTo>
                    <a:pt x="5622" y="5696"/>
                    <a:pt x="5550" y="5696"/>
                    <a:pt x="5492" y="5661"/>
                  </a:cubicBezTo>
                  <a:lnTo>
                    <a:pt x="5227" y="5500"/>
                  </a:lnTo>
                  <a:cubicBezTo>
                    <a:pt x="5174" y="5467"/>
                    <a:pt x="5141" y="5408"/>
                    <a:pt x="5141" y="5345"/>
                  </a:cubicBezTo>
                  <a:lnTo>
                    <a:pt x="5141" y="4998"/>
                  </a:lnTo>
                  <a:close/>
                  <a:moveTo>
                    <a:pt x="5581" y="6183"/>
                  </a:moveTo>
                  <a:cubicBezTo>
                    <a:pt x="5514" y="6185"/>
                    <a:pt x="5448" y="6179"/>
                    <a:pt x="5382" y="6167"/>
                  </a:cubicBezTo>
                  <a:cubicBezTo>
                    <a:pt x="5406" y="6110"/>
                    <a:pt x="5419" y="6048"/>
                    <a:pt x="5419" y="5985"/>
                  </a:cubicBezTo>
                  <a:lnTo>
                    <a:pt x="5419" y="5903"/>
                  </a:lnTo>
                  <a:cubicBezTo>
                    <a:pt x="5472" y="5926"/>
                    <a:pt x="5529" y="5937"/>
                    <a:pt x="5586" y="5937"/>
                  </a:cubicBezTo>
                  <a:cubicBezTo>
                    <a:pt x="5643" y="5937"/>
                    <a:pt x="5699" y="5926"/>
                    <a:pt x="5753" y="5903"/>
                  </a:cubicBezTo>
                  <a:lnTo>
                    <a:pt x="5753" y="5985"/>
                  </a:lnTo>
                  <a:cubicBezTo>
                    <a:pt x="5753" y="6045"/>
                    <a:pt x="5764" y="6103"/>
                    <a:pt x="5785" y="6157"/>
                  </a:cubicBezTo>
                  <a:cubicBezTo>
                    <a:pt x="5718" y="6173"/>
                    <a:pt x="5650" y="6182"/>
                    <a:pt x="5581" y="6183"/>
                  </a:cubicBezTo>
                  <a:close/>
                  <a:moveTo>
                    <a:pt x="5577" y="7340"/>
                  </a:moveTo>
                  <a:lnTo>
                    <a:pt x="5450" y="7199"/>
                  </a:lnTo>
                  <a:lnTo>
                    <a:pt x="5578" y="6747"/>
                  </a:lnTo>
                  <a:lnTo>
                    <a:pt x="5719" y="7197"/>
                  </a:lnTo>
                  <a:lnTo>
                    <a:pt x="5577" y="7340"/>
                  </a:lnTo>
                  <a:close/>
                  <a:moveTo>
                    <a:pt x="8268" y="4661"/>
                  </a:moveTo>
                  <a:cubicBezTo>
                    <a:pt x="8268" y="4803"/>
                    <a:pt x="8156" y="4922"/>
                    <a:pt x="8014" y="4930"/>
                  </a:cubicBezTo>
                  <a:lnTo>
                    <a:pt x="7496" y="4962"/>
                  </a:lnTo>
                  <a:cubicBezTo>
                    <a:pt x="7376" y="4969"/>
                    <a:pt x="7272" y="5051"/>
                    <a:pt x="7237" y="5166"/>
                  </a:cubicBezTo>
                  <a:cubicBezTo>
                    <a:pt x="7174" y="5374"/>
                    <a:pt x="7088" y="5576"/>
                    <a:pt x="6983" y="5766"/>
                  </a:cubicBezTo>
                  <a:cubicBezTo>
                    <a:pt x="6924" y="5871"/>
                    <a:pt x="6938" y="6003"/>
                    <a:pt x="7017" y="6095"/>
                  </a:cubicBezTo>
                  <a:lnTo>
                    <a:pt x="7351" y="6484"/>
                  </a:lnTo>
                  <a:cubicBezTo>
                    <a:pt x="7442" y="6591"/>
                    <a:pt x="7436" y="6751"/>
                    <a:pt x="7337" y="6850"/>
                  </a:cubicBezTo>
                  <a:lnTo>
                    <a:pt x="6900" y="7287"/>
                  </a:lnTo>
                  <a:lnTo>
                    <a:pt x="6900" y="7012"/>
                  </a:lnTo>
                  <a:cubicBezTo>
                    <a:pt x="6900" y="6675"/>
                    <a:pt x="6686" y="6377"/>
                    <a:pt x="6368" y="6270"/>
                  </a:cubicBezTo>
                  <a:lnTo>
                    <a:pt x="6200" y="6214"/>
                  </a:lnTo>
                  <a:cubicBezTo>
                    <a:pt x="6685" y="5731"/>
                    <a:pt x="6979" y="5080"/>
                    <a:pt x="7013" y="4402"/>
                  </a:cubicBezTo>
                  <a:cubicBezTo>
                    <a:pt x="7017" y="4333"/>
                    <a:pt x="6964" y="4275"/>
                    <a:pt x="6895" y="4271"/>
                  </a:cubicBezTo>
                  <a:cubicBezTo>
                    <a:pt x="6826" y="4268"/>
                    <a:pt x="6768" y="4321"/>
                    <a:pt x="6764" y="4390"/>
                  </a:cubicBezTo>
                  <a:cubicBezTo>
                    <a:pt x="6733" y="5012"/>
                    <a:pt x="6460" y="5609"/>
                    <a:pt x="6011" y="6049"/>
                  </a:cubicBezTo>
                  <a:cubicBezTo>
                    <a:pt x="6005" y="6029"/>
                    <a:pt x="6002" y="6007"/>
                    <a:pt x="6002" y="5985"/>
                  </a:cubicBezTo>
                  <a:lnTo>
                    <a:pt x="6002" y="5756"/>
                  </a:lnTo>
                  <a:lnTo>
                    <a:pt x="6074" y="5713"/>
                  </a:lnTo>
                  <a:cubicBezTo>
                    <a:pt x="6202" y="5635"/>
                    <a:pt x="6281" y="5494"/>
                    <a:pt x="6281" y="5345"/>
                  </a:cubicBezTo>
                  <a:lnTo>
                    <a:pt x="6281" y="4967"/>
                  </a:lnTo>
                  <a:lnTo>
                    <a:pt x="6281" y="4966"/>
                  </a:lnTo>
                  <a:lnTo>
                    <a:pt x="6281" y="4636"/>
                  </a:lnTo>
                  <a:cubicBezTo>
                    <a:pt x="6281" y="4373"/>
                    <a:pt x="6067" y="4159"/>
                    <a:pt x="5804" y="4159"/>
                  </a:cubicBezTo>
                  <a:lnTo>
                    <a:pt x="5368" y="4159"/>
                  </a:lnTo>
                  <a:cubicBezTo>
                    <a:pt x="5105" y="4159"/>
                    <a:pt x="4891" y="4373"/>
                    <a:pt x="4891" y="4636"/>
                  </a:cubicBezTo>
                  <a:lnTo>
                    <a:pt x="4891" y="4920"/>
                  </a:lnTo>
                  <a:lnTo>
                    <a:pt x="4891" y="4921"/>
                  </a:lnTo>
                  <a:lnTo>
                    <a:pt x="4891" y="5345"/>
                  </a:lnTo>
                  <a:cubicBezTo>
                    <a:pt x="4891" y="5494"/>
                    <a:pt x="4970" y="5635"/>
                    <a:pt x="5097" y="5713"/>
                  </a:cubicBezTo>
                  <a:lnTo>
                    <a:pt x="5169" y="5756"/>
                  </a:lnTo>
                  <a:lnTo>
                    <a:pt x="5169" y="5985"/>
                  </a:lnTo>
                  <a:cubicBezTo>
                    <a:pt x="5169" y="6048"/>
                    <a:pt x="5143" y="6108"/>
                    <a:pt x="5098" y="6150"/>
                  </a:cubicBezTo>
                  <a:cubicBezTo>
                    <a:pt x="5074" y="6172"/>
                    <a:pt x="5047" y="6188"/>
                    <a:pt x="5017" y="6199"/>
                  </a:cubicBezTo>
                  <a:lnTo>
                    <a:pt x="4804" y="6270"/>
                  </a:lnTo>
                  <a:cubicBezTo>
                    <a:pt x="4744" y="6291"/>
                    <a:pt x="4687" y="6318"/>
                    <a:pt x="4635" y="6351"/>
                  </a:cubicBezTo>
                  <a:cubicBezTo>
                    <a:pt x="4521" y="6183"/>
                    <a:pt x="4354" y="6054"/>
                    <a:pt x="4160" y="5989"/>
                  </a:cubicBezTo>
                  <a:lnTo>
                    <a:pt x="3898" y="5901"/>
                  </a:lnTo>
                  <a:cubicBezTo>
                    <a:pt x="3851" y="5885"/>
                    <a:pt x="3810" y="5859"/>
                    <a:pt x="3775" y="5823"/>
                  </a:cubicBezTo>
                  <a:cubicBezTo>
                    <a:pt x="3720" y="5766"/>
                    <a:pt x="3690" y="5690"/>
                    <a:pt x="3690" y="5611"/>
                  </a:cubicBezTo>
                  <a:lnTo>
                    <a:pt x="3690" y="5313"/>
                  </a:lnTo>
                  <a:lnTo>
                    <a:pt x="3793" y="5251"/>
                  </a:lnTo>
                  <a:cubicBezTo>
                    <a:pt x="3941" y="5160"/>
                    <a:pt x="4033" y="4996"/>
                    <a:pt x="4033" y="4822"/>
                  </a:cubicBezTo>
                  <a:lnTo>
                    <a:pt x="4033" y="4357"/>
                  </a:lnTo>
                  <a:lnTo>
                    <a:pt x="4033" y="4356"/>
                  </a:lnTo>
                  <a:lnTo>
                    <a:pt x="4033" y="3950"/>
                  </a:lnTo>
                  <a:cubicBezTo>
                    <a:pt x="4033" y="3642"/>
                    <a:pt x="3783" y="3391"/>
                    <a:pt x="3475" y="3391"/>
                  </a:cubicBezTo>
                  <a:lnTo>
                    <a:pt x="2938" y="3391"/>
                  </a:lnTo>
                  <a:cubicBezTo>
                    <a:pt x="2630" y="3391"/>
                    <a:pt x="2380" y="3642"/>
                    <a:pt x="2380" y="3950"/>
                  </a:cubicBezTo>
                  <a:lnTo>
                    <a:pt x="2380" y="4301"/>
                  </a:lnTo>
                  <a:lnTo>
                    <a:pt x="2380" y="4301"/>
                  </a:lnTo>
                  <a:lnTo>
                    <a:pt x="2380" y="4822"/>
                  </a:lnTo>
                  <a:cubicBezTo>
                    <a:pt x="2380" y="4996"/>
                    <a:pt x="2472" y="5160"/>
                    <a:pt x="2620" y="5251"/>
                  </a:cubicBezTo>
                  <a:lnTo>
                    <a:pt x="2723" y="5313"/>
                  </a:lnTo>
                  <a:lnTo>
                    <a:pt x="2723" y="5611"/>
                  </a:lnTo>
                  <a:cubicBezTo>
                    <a:pt x="2723" y="5696"/>
                    <a:pt x="2687" y="5778"/>
                    <a:pt x="2625" y="5835"/>
                  </a:cubicBezTo>
                  <a:cubicBezTo>
                    <a:pt x="2593" y="5865"/>
                    <a:pt x="2556" y="5887"/>
                    <a:pt x="2515" y="5901"/>
                  </a:cubicBezTo>
                  <a:lnTo>
                    <a:pt x="2253" y="5989"/>
                  </a:lnTo>
                  <a:cubicBezTo>
                    <a:pt x="1873" y="6117"/>
                    <a:pt x="1617" y="6473"/>
                    <a:pt x="1617" y="6875"/>
                  </a:cubicBezTo>
                  <a:lnTo>
                    <a:pt x="1617" y="7287"/>
                  </a:lnTo>
                  <a:lnTo>
                    <a:pt x="1181" y="6850"/>
                  </a:lnTo>
                  <a:cubicBezTo>
                    <a:pt x="1082" y="6751"/>
                    <a:pt x="1076" y="6591"/>
                    <a:pt x="1167" y="6484"/>
                  </a:cubicBezTo>
                  <a:lnTo>
                    <a:pt x="1501" y="6095"/>
                  </a:lnTo>
                  <a:cubicBezTo>
                    <a:pt x="1579" y="6003"/>
                    <a:pt x="1593" y="5871"/>
                    <a:pt x="1535" y="5766"/>
                  </a:cubicBezTo>
                  <a:cubicBezTo>
                    <a:pt x="1429" y="5576"/>
                    <a:pt x="1344" y="5374"/>
                    <a:pt x="1280" y="5166"/>
                  </a:cubicBezTo>
                  <a:cubicBezTo>
                    <a:pt x="1246" y="5051"/>
                    <a:pt x="1141" y="4969"/>
                    <a:pt x="1021" y="4962"/>
                  </a:cubicBezTo>
                  <a:lnTo>
                    <a:pt x="503" y="4930"/>
                  </a:lnTo>
                  <a:cubicBezTo>
                    <a:pt x="361" y="4922"/>
                    <a:pt x="250" y="4803"/>
                    <a:pt x="250" y="4661"/>
                  </a:cubicBezTo>
                  <a:lnTo>
                    <a:pt x="250" y="3915"/>
                  </a:lnTo>
                  <a:cubicBezTo>
                    <a:pt x="250" y="3775"/>
                    <a:pt x="359" y="3657"/>
                    <a:pt x="499" y="3646"/>
                  </a:cubicBezTo>
                  <a:lnTo>
                    <a:pt x="1010" y="3607"/>
                  </a:lnTo>
                  <a:cubicBezTo>
                    <a:pt x="1130" y="3598"/>
                    <a:pt x="1233" y="3514"/>
                    <a:pt x="1266" y="3399"/>
                  </a:cubicBezTo>
                  <a:cubicBezTo>
                    <a:pt x="1326" y="3190"/>
                    <a:pt x="1409" y="2987"/>
                    <a:pt x="1512" y="2795"/>
                  </a:cubicBezTo>
                  <a:cubicBezTo>
                    <a:pt x="1568" y="2689"/>
                    <a:pt x="1553" y="2557"/>
                    <a:pt x="1473" y="2467"/>
                  </a:cubicBezTo>
                  <a:lnTo>
                    <a:pt x="1128" y="2078"/>
                  </a:lnTo>
                  <a:cubicBezTo>
                    <a:pt x="1034" y="1971"/>
                    <a:pt x="1039" y="1809"/>
                    <a:pt x="1140" y="1708"/>
                  </a:cubicBezTo>
                  <a:lnTo>
                    <a:pt x="1667" y="1181"/>
                  </a:lnTo>
                  <a:cubicBezTo>
                    <a:pt x="1766" y="1082"/>
                    <a:pt x="1927" y="1075"/>
                    <a:pt x="2033" y="1167"/>
                  </a:cubicBezTo>
                  <a:lnTo>
                    <a:pt x="2423" y="1501"/>
                  </a:lnTo>
                  <a:cubicBezTo>
                    <a:pt x="2514" y="1579"/>
                    <a:pt x="2646" y="1593"/>
                    <a:pt x="2751" y="1535"/>
                  </a:cubicBezTo>
                  <a:cubicBezTo>
                    <a:pt x="2956" y="1421"/>
                    <a:pt x="3174" y="1331"/>
                    <a:pt x="3399" y="1266"/>
                  </a:cubicBezTo>
                  <a:cubicBezTo>
                    <a:pt x="3514" y="1233"/>
                    <a:pt x="3598" y="1130"/>
                    <a:pt x="3607" y="1010"/>
                  </a:cubicBezTo>
                  <a:lnTo>
                    <a:pt x="3646" y="499"/>
                  </a:lnTo>
                  <a:cubicBezTo>
                    <a:pt x="3657" y="359"/>
                    <a:pt x="3775" y="250"/>
                    <a:pt x="3915" y="250"/>
                  </a:cubicBezTo>
                  <a:lnTo>
                    <a:pt x="4661" y="250"/>
                  </a:lnTo>
                  <a:cubicBezTo>
                    <a:pt x="4803" y="250"/>
                    <a:pt x="4921" y="361"/>
                    <a:pt x="4930" y="503"/>
                  </a:cubicBezTo>
                  <a:lnTo>
                    <a:pt x="4962" y="1021"/>
                  </a:lnTo>
                  <a:cubicBezTo>
                    <a:pt x="4969" y="1141"/>
                    <a:pt x="5051" y="1245"/>
                    <a:pt x="5166" y="1280"/>
                  </a:cubicBezTo>
                  <a:cubicBezTo>
                    <a:pt x="5374" y="1344"/>
                    <a:pt x="5576" y="1429"/>
                    <a:pt x="5766" y="1535"/>
                  </a:cubicBezTo>
                  <a:cubicBezTo>
                    <a:pt x="5871" y="1593"/>
                    <a:pt x="6003" y="1579"/>
                    <a:pt x="6095" y="1501"/>
                  </a:cubicBezTo>
                  <a:lnTo>
                    <a:pt x="6484" y="1167"/>
                  </a:lnTo>
                  <a:cubicBezTo>
                    <a:pt x="6590" y="1076"/>
                    <a:pt x="6751" y="1082"/>
                    <a:pt x="6850" y="1181"/>
                  </a:cubicBezTo>
                  <a:lnTo>
                    <a:pt x="7378" y="1708"/>
                  </a:lnTo>
                  <a:cubicBezTo>
                    <a:pt x="7478" y="1809"/>
                    <a:pt x="7483" y="1971"/>
                    <a:pt x="7389" y="2078"/>
                  </a:cubicBezTo>
                  <a:lnTo>
                    <a:pt x="7045" y="2467"/>
                  </a:lnTo>
                  <a:cubicBezTo>
                    <a:pt x="6965" y="2557"/>
                    <a:pt x="6949" y="2689"/>
                    <a:pt x="7006" y="2795"/>
                  </a:cubicBezTo>
                  <a:cubicBezTo>
                    <a:pt x="7109" y="2987"/>
                    <a:pt x="7191" y="3190"/>
                    <a:pt x="7251" y="3399"/>
                  </a:cubicBezTo>
                  <a:cubicBezTo>
                    <a:pt x="7284" y="3514"/>
                    <a:pt x="7387" y="3598"/>
                    <a:pt x="7507" y="3607"/>
                  </a:cubicBezTo>
                  <a:lnTo>
                    <a:pt x="8018" y="3646"/>
                  </a:lnTo>
                  <a:cubicBezTo>
                    <a:pt x="8158" y="3657"/>
                    <a:pt x="8268" y="3775"/>
                    <a:pt x="8268" y="3915"/>
                  </a:cubicBezTo>
                  <a:lnTo>
                    <a:pt x="8268" y="4661"/>
                  </a:lnTo>
                  <a:close/>
                  <a:moveTo>
                    <a:pt x="8268" y="4661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50">
              <a:extLst>
                <a:ext uri="{FF2B5EF4-FFF2-40B4-BE49-F238E27FC236}">
                  <a16:creationId xmlns:a16="http://schemas.microsoft.com/office/drawing/2014/main" id="{4EB13728-C54B-45B3-A0C9-820700A361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7" y="987"/>
              <a:ext cx="2648" cy="2103"/>
            </a:xfrm>
            <a:custGeom>
              <a:avLst/>
              <a:gdLst>
                <a:gd name="T0" fmla="*/ 2641 w 5517"/>
                <a:gd name="T1" fmla="*/ 71 h 4381"/>
                <a:gd name="T2" fmla="*/ 837 w 5517"/>
                <a:gd name="T3" fmla="*/ 877 h 4381"/>
                <a:gd name="T4" fmla="*/ 30 w 5517"/>
                <a:gd name="T5" fmla="*/ 2682 h 4381"/>
                <a:gd name="T6" fmla="*/ 468 w 5517"/>
                <a:gd name="T7" fmla="*/ 4324 h 4381"/>
                <a:gd name="T8" fmla="*/ 573 w 5517"/>
                <a:gd name="T9" fmla="*/ 4381 h 4381"/>
                <a:gd name="T10" fmla="*/ 641 w 5517"/>
                <a:gd name="T11" fmla="*/ 4361 h 4381"/>
                <a:gd name="T12" fmla="*/ 678 w 5517"/>
                <a:gd name="T13" fmla="*/ 4188 h 4381"/>
                <a:gd name="T14" fmla="*/ 279 w 5517"/>
                <a:gd name="T15" fmla="*/ 2695 h 4381"/>
                <a:gd name="T16" fmla="*/ 1013 w 5517"/>
                <a:gd name="T17" fmla="*/ 1054 h 4381"/>
                <a:gd name="T18" fmla="*/ 2654 w 5517"/>
                <a:gd name="T19" fmla="*/ 320 h 4381"/>
                <a:gd name="T20" fmla="*/ 5260 w 5517"/>
                <a:gd name="T21" fmla="*/ 2412 h 4381"/>
                <a:gd name="T22" fmla="*/ 5403 w 5517"/>
                <a:gd name="T23" fmla="*/ 2515 h 4381"/>
                <a:gd name="T24" fmla="*/ 5506 w 5517"/>
                <a:gd name="T25" fmla="*/ 2372 h 4381"/>
                <a:gd name="T26" fmla="*/ 2641 w 5517"/>
                <a:gd name="T27" fmla="*/ 71 h 4381"/>
                <a:gd name="T28" fmla="*/ 2641 w 5517"/>
                <a:gd name="T29" fmla="*/ 71 h 4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17" h="4381">
                  <a:moveTo>
                    <a:pt x="2641" y="71"/>
                  </a:moveTo>
                  <a:cubicBezTo>
                    <a:pt x="1963" y="105"/>
                    <a:pt x="1322" y="392"/>
                    <a:pt x="837" y="877"/>
                  </a:cubicBezTo>
                  <a:cubicBezTo>
                    <a:pt x="351" y="1363"/>
                    <a:pt x="64" y="2004"/>
                    <a:pt x="30" y="2682"/>
                  </a:cubicBezTo>
                  <a:cubicBezTo>
                    <a:pt x="0" y="3268"/>
                    <a:pt x="152" y="3836"/>
                    <a:pt x="468" y="4324"/>
                  </a:cubicBezTo>
                  <a:cubicBezTo>
                    <a:pt x="492" y="4361"/>
                    <a:pt x="532" y="4381"/>
                    <a:pt x="573" y="4381"/>
                  </a:cubicBezTo>
                  <a:cubicBezTo>
                    <a:pt x="596" y="4381"/>
                    <a:pt x="620" y="4374"/>
                    <a:pt x="641" y="4361"/>
                  </a:cubicBezTo>
                  <a:cubicBezTo>
                    <a:pt x="699" y="4323"/>
                    <a:pt x="715" y="4246"/>
                    <a:pt x="678" y="4188"/>
                  </a:cubicBezTo>
                  <a:cubicBezTo>
                    <a:pt x="390" y="3744"/>
                    <a:pt x="252" y="3228"/>
                    <a:pt x="279" y="2695"/>
                  </a:cubicBezTo>
                  <a:cubicBezTo>
                    <a:pt x="310" y="2079"/>
                    <a:pt x="571" y="1496"/>
                    <a:pt x="1013" y="1054"/>
                  </a:cubicBezTo>
                  <a:cubicBezTo>
                    <a:pt x="1455" y="612"/>
                    <a:pt x="2038" y="351"/>
                    <a:pt x="2654" y="320"/>
                  </a:cubicBezTo>
                  <a:cubicBezTo>
                    <a:pt x="3932" y="255"/>
                    <a:pt x="5051" y="1155"/>
                    <a:pt x="5260" y="2412"/>
                  </a:cubicBezTo>
                  <a:cubicBezTo>
                    <a:pt x="5271" y="2480"/>
                    <a:pt x="5335" y="2526"/>
                    <a:pt x="5403" y="2515"/>
                  </a:cubicBezTo>
                  <a:cubicBezTo>
                    <a:pt x="5471" y="2504"/>
                    <a:pt x="5517" y="2440"/>
                    <a:pt x="5506" y="2372"/>
                  </a:cubicBezTo>
                  <a:cubicBezTo>
                    <a:pt x="5277" y="989"/>
                    <a:pt x="4045" y="0"/>
                    <a:pt x="2641" y="71"/>
                  </a:cubicBezTo>
                  <a:close/>
                  <a:moveTo>
                    <a:pt x="2641" y="71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8" name="object 15">
            <a:extLst>
              <a:ext uri="{FF2B5EF4-FFF2-40B4-BE49-F238E27FC236}">
                <a16:creationId xmlns:a16="http://schemas.microsoft.com/office/drawing/2014/main" id="{16797EB0-D030-4663-983A-BC83F900B5E1}"/>
              </a:ext>
            </a:extLst>
          </p:cNvPr>
          <p:cNvSpPr txBox="1"/>
          <p:nvPr/>
        </p:nvSpPr>
        <p:spPr>
          <a:xfrm>
            <a:off x="4470241" y="2119292"/>
            <a:ext cx="7366103" cy="894756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300"/>
              </a:spcAft>
            </a:pP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Мониторинг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предмети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ва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бошқа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чора</a:t>
            </a:r>
            <a:r>
              <a:rPr lang="en-US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-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тадбирлар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ураш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стур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/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йўл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аритас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андлари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ураш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изими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олат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ўғриси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исобот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ер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араёни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ўлиқ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ажарилиш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ураш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стури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андлар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ажармаслик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абаблар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ҳлил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илиш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29" name="object 12">
            <a:extLst>
              <a:ext uri="{FF2B5EF4-FFF2-40B4-BE49-F238E27FC236}">
                <a16:creationId xmlns:a16="http://schemas.microsoft.com/office/drawing/2014/main" id="{1C1C6512-CC5E-4674-8237-EDAF72173898}"/>
              </a:ext>
            </a:extLst>
          </p:cNvPr>
          <p:cNvSpPr/>
          <p:nvPr/>
        </p:nvSpPr>
        <p:spPr>
          <a:xfrm>
            <a:off x="3655082" y="207111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0" name="Group 1419">
            <a:extLst>
              <a:ext uri="{FF2B5EF4-FFF2-40B4-BE49-F238E27FC236}">
                <a16:creationId xmlns:a16="http://schemas.microsoft.com/office/drawing/2014/main" id="{815FF204-F23C-4CE7-9D77-80C203A28B9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42500" y="2209297"/>
            <a:ext cx="598963" cy="414400"/>
            <a:chOff x="1472" y="2215"/>
            <a:chExt cx="172" cy="119"/>
          </a:xfrm>
          <a:solidFill>
            <a:schemeClr val="bg2">
              <a:lumMod val="25000"/>
            </a:schemeClr>
          </a:solidFill>
        </p:grpSpPr>
        <p:sp>
          <p:nvSpPr>
            <p:cNvPr id="31" name="Freeform 1420">
              <a:extLst>
                <a:ext uri="{FF2B5EF4-FFF2-40B4-BE49-F238E27FC236}">
                  <a16:creationId xmlns:a16="http://schemas.microsoft.com/office/drawing/2014/main" id="{0E5C26A8-38E6-4DA8-ACB2-0946D04DF9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72" y="2215"/>
              <a:ext cx="172" cy="119"/>
            </a:xfrm>
            <a:custGeom>
              <a:avLst/>
              <a:gdLst>
                <a:gd name="T0" fmla="*/ 5246 w 6400"/>
                <a:gd name="T1" fmla="*/ 652 h 4424"/>
                <a:gd name="T2" fmla="*/ 4295 w 6400"/>
                <a:gd name="T3" fmla="*/ 209 h 4424"/>
                <a:gd name="T4" fmla="*/ 3922 w 6400"/>
                <a:gd name="T5" fmla="*/ 0 h 4424"/>
                <a:gd name="T6" fmla="*/ 3483 w 6400"/>
                <a:gd name="T7" fmla="*/ 1205 h 4424"/>
                <a:gd name="T8" fmla="*/ 2917 w 6400"/>
                <a:gd name="T9" fmla="*/ 438 h 4424"/>
                <a:gd name="T10" fmla="*/ 2105 w 6400"/>
                <a:gd name="T11" fmla="*/ 209 h 4424"/>
                <a:gd name="T12" fmla="*/ 1154 w 6400"/>
                <a:gd name="T13" fmla="*/ 652 h 4424"/>
                <a:gd name="T14" fmla="*/ 1005 w 6400"/>
                <a:gd name="T15" fmla="*/ 1110 h 4424"/>
                <a:gd name="T16" fmla="*/ 1336 w 6400"/>
                <a:gd name="T17" fmla="*/ 764 h 4424"/>
                <a:gd name="T18" fmla="*/ 2703 w 6400"/>
                <a:gd name="T19" fmla="*/ 1150 h 4424"/>
                <a:gd name="T20" fmla="*/ 2703 w 6400"/>
                <a:gd name="T21" fmla="*/ 2206 h 4424"/>
                <a:gd name="T22" fmla="*/ 798 w 6400"/>
                <a:gd name="T23" fmla="*/ 1666 h 4424"/>
                <a:gd name="T24" fmla="*/ 920 w 6400"/>
                <a:gd name="T25" fmla="*/ 1253 h 4424"/>
                <a:gd name="T26" fmla="*/ 142 w 6400"/>
                <a:gd name="T27" fmla="*/ 2339 h 4424"/>
                <a:gd name="T28" fmla="*/ 1458 w 6400"/>
                <a:gd name="T29" fmla="*/ 4424 h 4424"/>
                <a:gd name="T30" fmla="*/ 2917 w 6400"/>
                <a:gd name="T31" fmla="*/ 2681 h 4424"/>
                <a:gd name="T32" fmla="*/ 3483 w 6400"/>
                <a:gd name="T33" fmla="*/ 2966 h 4424"/>
                <a:gd name="T34" fmla="*/ 6400 w 6400"/>
                <a:gd name="T35" fmla="*/ 2966 h 4424"/>
                <a:gd name="T36" fmla="*/ 2703 w 6400"/>
                <a:gd name="T37" fmla="*/ 550 h 4424"/>
                <a:gd name="T38" fmla="*/ 2478 w 6400"/>
                <a:gd name="T39" fmla="*/ 214 h 4424"/>
                <a:gd name="T40" fmla="*/ 2703 w 6400"/>
                <a:gd name="T41" fmla="*/ 550 h 4424"/>
                <a:gd name="T42" fmla="*/ 214 w 6400"/>
                <a:gd name="T43" fmla="*/ 2966 h 4424"/>
                <a:gd name="T44" fmla="*/ 2703 w 6400"/>
                <a:gd name="T45" fmla="*/ 2966 h 4424"/>
                <a:gd name="T46" fmla="*/ 2917 w 6400"/>
                <a:gd name="T47" fmla="*/ 2056 h 4424"/>
                <a:gd name="T48" fmla="*/ 3483 w 6400"/>
                <a:gd name="T49" fmla="*/ 1419 h 4424"/>
                <a:gd name="T50" fmla="*/ 2917 w 6400"/>
                <a:gd name="T51" fmla="*/ 2056 h 4424"/>
                <a:gd name="T52" fmla="*/ 2917 w 6400"/>
                <a:gd name="T53" fmla="*/ 2467 h 4424"/>
                <a:gd name="T54" fmla="*/ 3483 w 6400"/>
                <a:gd name="T55" fmla="*/ 2270 h 4424"/>
                <a:gd name="T56" fmla="*/ 3697 w 6400"/>
                <a:gd name="T57" fmla="*/ 438 h 4424"/>
                <a:gd name="T58" fmla="*/ 4071 w 6400"/>
                <a:gd name="T59" fmla="*/ 271 h 4424"/>
                <a:gd name="T60" fmla="*/ 3697 w 6400"/>
                <a:gd name="T61" fmla="*/ 438 h 4424"/>
                <a:gd name="T62" fmla="*/ 3697 w 6400"/>
                <a:gd name="T63" fmla="*/ 1150 h 4424"/>
                <a:gd name="T64" fmla="*/ 5064 w 6400"/>
                <a:gd name="T65" fmla="*/ 764 h 4424"/>
                <a:gd name="T66" fmla="*/ 4942 w 6400"/>
                <a:gd name="T67" fmla="*/ 1508 h 4424"/>
                <a:gd name="T68" fmla="*/ 3697 w 6400"/>
                <a:gd name="T69" fmla="*/ 1150 h 4424"/>
                <a:gd name="T70" fmla="*/ 3697 w 6400"/>
                <a:gd name="T71" fmla="*/ 2966 h 4424"/>
                <a:gd name="T72" fmla="*/ 6186 w 6400"/>
                <a:gd name="T73" fmla="*/ 2966 h 4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400" h="4424">
                  <a:moveTo>
                    <a:pt x="6250" y="2323"/>
                  </a:moveTo>
                  <a:cubicBezTo>
                    <a:pt x="6207" y="2234"/>
                    <a:pt x="5270" y="690"/>
                    <a:pt x="5246" y="652"/>
                  </a:cubicBezTo>
                  <a:cubicBezTo>
                    <a:pt x="5071" y="368"/>
                    <a:pt x="4768" y="198"/>
                    <a:pt x="4435" y="198"/>
                  </a:cubicBezTo>
                  <a:cubicBezTo>
                    <a:pt x="4388" y="198"/>
                    <a:pt x="4341" y="202"/>
                    <a:pt x="4295" y="209"/>
                  </a:cubicBezTo>
                  <a:cubicBezTo>
                    <a:pt x="4295" y="209"/>
                    <a:pt x="4295" y="208"/>
                    <a:pt x="4295" y="208"/>
                  </a:cubicBezTo>
                  <a:cubicBezTo>
                    <a:pt x="4215" y="78"/>
                    <a:pt x="4075" y="0"/>
                    <a:pt x="3922" y="0"/>
                  </a:cubicBezTo>
                  <a:cubicBezTo>
                    <a:pt x="3680" y="0"/>
                    <a:pt x="3483" y="196"/>
                    <a:pt x="3483" y="438"/>
                  </a:cubicBezTo>
                  <a:lnTo>
                    <a:pt x="3483" y="1205"/>
                  </a:lnTo>
                  <a:lnTo>
                    <a:pt x="2917" y="1205"/>
                  </a:lnTo>
                  <a:lnTo>
                    <a:pt x="2917" y="438"/>
                  </a:lnTo>
                  <a:cubicBezTo>
                    <a:pt x="2917" y="196"/>
                    <a:pt x="2720" y="0"/>
                    <a:pt x="2478" y="0"/>
                  </a:cubicBezTo>
                  <a:cubicBezTo>
                    <a:pt x="2325" y="0"/>
                    <a:pt x="2186" y="77"/>
                    <a:pt x="2105" y="209"/>
                  </a:cubicBezTo>
                  <a:cubicBezTo>
                    <a:pt x="2059" y="202"/>
                    <a:pt x="2012" y="198"/>
                    <a:pt x="1965" y="198"/>
                  </a:cubicBezTo>
                  <a:cubicBezTo>
                    <a:pt x="1632" y="198"/>
                    <a:pt x="1329" y="368"/>
                    <a:pt x="1154" y="652"/>
                  </a:cubicBezTo>
                  <a:cubicBezTo>
                    <a:pt x="1152" y="655"/>
                    <a:pt x="1144" y="667"/>
                    <a:pt x="968" y="963"/>
                  </a:cubicBezTo>
                  <a:cubicBezTo>
                    <a:pt x="938" y="1014"/>
                    <a:pt x="954" y="1079"/>
                    <a:pt x="1005" y="1110"/>
                  </a:cubicBezTo>
                  <a:cubicBezTo>
                    <a:pt x="1056" y="1140"/>
                    <a:pt x="1122" y="1123"/>
                    <a:pt x="1152" y="1073"/>
                  </a:cubicBezTo>
                  <a:cubicBezTo>
                    <a:pt x="1297" y="829"/>
                    <a:pt x="1332" y="771"/>
                    <a:pt x="1336" y="764"/>
                  </a:cubicBezTo>
                  <a:cubicBezTo>
                    <a:pt x="1472" y="544"/>
                    <a:pt x="1707" y="413"/>
                    <a:pt x="1965" y="413"/>
                  </a:cubicBezTo>
                  <a:cubicBezTo>
                    <a:pt x="2372" y="413"/>
                    <a:pt x="2703" y="743"/>
                    <a:pt x="2703" y="1150"/>
                  </a:cubicBezTo>
                  <a:lnTo>
                    <a:pt x="2703" y="1150"/>
                  </a:lnTo>
                  <a:lnTo>
                    <a:pt x="2703" y="2206"/>
                  </a:lnTo>
                  <a:cubicBezTo>
                    <a:pt x="2446" y="1787"/>
                    <a:pt x="1984" y="1508"/>
                    <a:pt x="1458" y="1508"/>
                  </a:cubicBezTo>
                  <a:cubicBezTo>
                    <a:pt x="1221" y="1508"/>
                    <a:pt x="997" y="1565"/>
                    <a:pt x="798" y="1666"/>
                  </a:cubicBezTo>
                  <a:cubicBezTo>
                    <a:pt x="849" y="1580"/>
                    <a:pt x="903" y="1490"/>
                    <a:pt x="957" y="1399"/>
                  </a:cubicBezTo>
                  <a:cubicBezTo>
                    <a:pt x="987" y="1349"/>
                    <a:pt x="971" y="1283"/>
                    <a:pt x="920" y="1253"/>
                  </a:cubicBezTo>
                  <a:cubicBezTo>
                    <a:pt x="869" y="1222"/>
                    <a:pt x="803" y="1239"/>
                    <a:pt x="773" y="1290"/>
                  </a:cubicBezTo>
                  <a:cubicBezTo>
                    <a:pt x="545" y="1671"/>
                    <a:pt x="187" y="2244"/>
                    <a:pt x="142" y="2339"/>
                  </a:cubicBezTo>
                  <a:cubicBezTo>
                    <a:pt x="51" y="2529"/>
                    <a:pt x="0" y="2742"/>
                    <a:pt x="0" y="2966"/>
                  </a:cubicBezTo>
                  <a:cubicBezTo>
                    <a:pt x="0" y="3770"/>
                    <a:pt x="654" y="4424"/>
                    <a:pt x="1458" y="4424"/>
                  </a:cubicBezTo>
                  <a:cubicBezTo>
                    <a:pt x="2263" y="4424"/>
                    <a:pt x="2917" y="3770"/>
                    <a:pt x="2917" y="2966"/>
                  </a:cubicBezTo>
                  <a:lnTo>
                    <a:pt x="2917" y="2681"/>
                  </a:lnTo>
                  <a:lnTo>
                    <a:pt x="3483" y="2681"/>
                  </a:lnTo>
                  <a:lnTo>
                    <a:pt x="3483" y="2966"/>
                  </a:lnTo>
                  <a:cubicBezTo>
                    <a:pt x="3483" y="3770"/>
                    <a:pt x="4137" y="4424"/>
                    <a:pt x="4942" y="4424"/>
                  </a:cubicBezTo>
                  <a:cubicBezTo>
                    <a:pt x="5746" y="4424"/>
                    <a:pt x="6400" y="3770"/>
                    <a:pt x="6400" y="2966"/>
                  </a:cubicBezTo>
                  <a:cubicBezTo>
                    <a:pt x="6400" y="2735"/>
                    <a:pt x="6346" y="2517"/>
                    <a:pt x="6250" y="2323"/>
                  </a:cubicBezTo>
                  <a:close/>
                  <a:moveTo>
                    <a:pt x="2703" y="550"/>
                  </a:moveTo>
                  <a:cubicBezTo>
                    <a:pt x="2604" y="428"/>
                    <a:pt x="2476" y="332"/>
                    <a:pt x="2329" y="271"/>
                  </a:cubicBezTo>
                  <a:cubicBezTo>
                    <a:pt x="2369" y="234"/>
                    <a:pt x="2422" y="214"/>
                    <a:pt x="2478" y="214"/>
                  </a:cubicBezTo>
                  <a:cubicBezTo>
                    <a:pt x="2602" y="214"/>
                    <a:pt x="2703" y="314"/>
                    <a:pt x="2703" y="438"/>
                  </a:cubicBezTo>
                  <a:lnTo>
                    <a:pt x="2703" y="550"/>
                  </a:lnTo>
                  <a:close/>
                  <a:moveTo>
                    <a:pt x="1458" y="4210"/>
                  </a:moveTo>
                  <a:cubicBezTo>
                    <a:pt x="772" y="4210"/>
                    <a:pt x="214" y="3652"/>
                    <a:pt x="214" y="2966"/>
                  </a:cubicBezTo>
                  <a:cubicBezTo>
                    <a:pt x="214" y="2280"/>
                    <a:pt x="772" y="1722"/>
                    <a:pt x="1458" y="1722"/>
                  </a:cubicBezTo>
                  <a:cubicBezTo>
                    <a:pt x="2144" y="1722"/>
                    <a:pt x="2703" y="2280"/>
                    <a:pt x="2703" y="2966"/>
                  </a:cubicBezTo>
                  <a:cubicBezTo>
                    <a:pt x="2703" y="3652"/>
                    <a:pt x="2144" y="4210"/>
                    <a:pt x="1458" y="4210"/>
                  </a:cubicBezTo>
                  <a:close/>
                  <a:moveTo>
                    <a:pt x="2917" y="2056"/>
                  </a:moveTo>
                  <a:lnTo>
                    <a:pt x="2917" y="1419"/>
                  </a:lnTo>
                  <a:lnTo>
                    <a:pt x="3483" y="1419"/>
                  </a:lnTo>
                  <a:lnTo>
                    <a:pt x="3483" y="2056"/>
                  </a:lnTo>
                  <a:lnTo>
                    <a:pt x="2917" y="2056"/>
                  </a:lnTo>
                  <a:close/>
                  <a:moveTo>
                    <a:pt x="3483" y="2467"/>
                  </a:moveTo>
                  <a:lnTo>
                    <a:pt x="2917" y="2467"/>
                  </a:lnTo>
                  <a:lnTo>
                    <a:pt x="2917" y="2270"/>
                  </a:lnTo>
                  <a:lnTo>
                    <a:pt x="3483" y="2270"/>
                  </a:lnTo>
                  <a:lnTo>
                    <a:pt x="3483" y="2467"/>
                  </a:lnTo>
                  <a:close/>
                  <a:moveTo>
                    <a:pt x="3697" y="438"/>
                  </a:moveTo>
                  <a:cubicBezTo>
                    <a:pt x="3697" y="314"/>
                    <a:pt x="3798" y="214"/>
                    <a:pt x="3922" y="214"/>
                  </a:cubicBezTo>
                  <a:cubicBezTo>
                    <a:pt x="3978" y="214"/>
                    <a:pt x="4031" y="235"/>
                    <a:pt x="4071" y="271"/>
                  </a:cubicBezTo>
                  <a:cubicBezTo>
                    <a:pt x="3925" y="332"/>
                    <a:pt x="3796" y="428"/>
                    <a:pt x="3697" y="550"/>
                  </a:cubicBezTo>
                  <a:lnTo>
                    <a:pt x="3697" y="438"/>
                  </a:lnTo>
                  <a:close/>
                  <a:moveTo>
                    <a:pt x="3697" y="1150"/>
                  </a:moveTo>
                  <a:lnTo>
                    <a:pt x="3697" y="1150"/>
                  </a:lnTo>
                  <a:cubicBezTo>
                    <a:pt x="3697" y="743"/>
                    <a:pt x="4028" y="413"/>
                    <a:pt x="4435" y="413"/>
                  </a:cubicBezTo>
                  <a:cubicBezTo>
                    <a:pt x="4693" y="413"/>
                    <a:pt x="4928" y="544"/>
                    <a:pt x="5064" y="764"/>
                  </a:cubicBezTo>
                  <a:cubicBezTo>
                    <a:pt x="5077" y="785"/>
                    <a:pt x="5344" y="1234"/>
                    <a:pt x="5602" y="1666"/>
                  </a:cubicBezTo>
                  <a:cubicBezTo>
                    <a:pt x="5403" y="1565"/>
                    <a:pt x="5179" y="1508"/>
                    <a:pt x="4942" y="1508"/>
                  </a:cubicBezTo>
                  <a:cubicBezTo>
                    <a:pt x="4416" y="1508"/>
                    <a:pt x="3954" y="1787"/>
                    <a:pt x="3697" y="2206"/>
                  </a:cubicBezTo>
                  <a:lnTo>
                    <a:pt x="3697" y="1150"/>
                  </a:lnTo>
                  <a:close/>
                  <a:moveTo>
                    <a:pt x="4942" y="4210"/>
                  </a:moveTo>
                  <a:cubicBezTo>
                    <a:pt x="4256" y="4210"/>
                    <a:pt x="3697" y="3652"/>
                    <a:pt x="3697" y="2966"/>
                  </a:cubicBezTo>
                  <a:cubicBezTo>
                    <a:pt x="3697" y="2280"/>
                    <a:pt x="4256" y="1722"/>
                    <a:pt x="4942" y="1722"/>
                  </a:cubicBezTo>
                  <a:cubicBezTo>
                    <a:pt x="5628" y="1722"/>
                    <a:pt x="6186" y="2280"/>
                    <a:pt x="6186" y="2966"/>
                  </a:cubicBezTo>
                  <a:cubicBezTo>
                    <a:pt x="6186" y="3652"/>
                    <a:pt x="5628" y="4210"/>
                    <a:pt x="4942" y="421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421">
              <a:extLst>
                <a:ext uri="{FF2B5EF4-FFF2-40B4-BE49-F238E27FC236}">
                  <a16:creationId xmlns:a16="http://schemas.microsoft.com/office/drawing/2014/main" id="{DA636CD1-0A8D-4B50-8648-6A280216F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8" y="2268"/>
              <a:ext cx="54" cy="53"/>
            </a:xfrm>
            <a:custGeom>
              <a:avLst/>
              <a:gdLst>
                <a:gd name="T0" fmla="*/ 1937 w 1995"/>
                <a:gd name="T1" fmla="*/ 661 h 1996"/>
                <a:gd name="T2" fmla="*/ 1800 w 1995"/>
                <a:gd name="T3" fmla="*/ 596 h 1996"/>
                <a:gd name="T4" fmla="*/ 1735 w 1995"/>
                <a:gd name="T5" fmla="*/ 733 h 1996"/>
                <a:gd name="T6" fmla="*/ 1781 w 1995"/>
                <a:gd name="T7" fmla="*/ 998 h 1996"/>
                <a:gd name="T8" fmla="*/ 998 w 1995"/>
                <a:gd name="T9" fmla="*/ 1781 h 1996"/>
                <a:gd name="T10" fmla="*/ 214 w 1995"/>
                <a:gd name="T11" fmla="*/ 998 h 1996"/>
                <a:gd name="T12" fmla="*/ 998 w 1995"/>
                <a:gd name="T13" fmla="*/ 215 h 1996"/>
                <a:gd name="T14" fmla="*/ 1571 w 1995"/>
                <a:gd name="T15" fmla="*/ 464 h 1996"/>
                <a:gd name="T16" fmla="*/ 1723 w 1995"/>
                <a:gd name="T17" fmla="*/ 470 h 1996"/>
                <a:gd name="T18" fmla="*/ 1728 w 1995"/>
                <a:gd name="T19" fmla="*/ 319 h 1996"/>
                <a:gd name="T20" fmla="*/ 998 w 1995"/>
                <a:gd name="T21" fmla="*/ 0 h 1996"/>
                <a:gd name="T22" fmla="*/ 0 w 1995"/>
                <a:gd name="T23" fmla="*/ 998 h 1996"/>
                <a:gd name="T24" fmla="*/ 998 w 1995"/>
                <a:gd name="T25" fmla="*/ 1996 h 1996"/>
                <a:gd name="T26" fmla="*/ 1995 w 1995"/>
                <a:gd name="T27" fmla="*/ 998 h 1996"/>
                <a:gd name="T28" fmla="*/ 1937 w 1995"/>
                <a:gd name="T29" fmla="*/ 661 h 1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95" h="1996">
                  <a:moveTo>
                    <a:pt x="1937" y="661"/>
                  </a:moveTo>
                  <a:cubicBezTo>
                    <a:pt x="1917" y="605"/>
                    <a:pt x="1855" y="576"/>
                    <a:pt x="1800" y="596"/>
                  </a:cubicBezTo>
                  <a:cubicBezTo>
                    <a:pt x="1744" y="616"/>
                    <a:pt x="1715" y="677"/>
                    <a:pt x="1735" y="733"/>
                  </a:cubicBezTo>
                  <a:cubicBezTo>
                    <a:pt x="1766" y="818"/>
                    <a:pt x="1781" y="907"/>
                    <a:pt x="1781" y="998"/>
                  </a:cubicBezTo>
                  <a:cubicBezTo>
                    <a:pt x="1781" y="1430"/>
                    <a:pt x="1430" y="1781"/>
                    <a:pt x="998" y="1781"/>
                  </a:cubicBezTo>
                  <a:cubicBezTo>
                    <a:pt x="566" y="1781"/>
                    <a:pt x="214" y="1430"/>
                    <a:pt x="214" y="998"/>
                  </a:cubicBezTo>
                  <a:cubicBezTo>
                    <a:pt x="214" y="566"/>
                    <a:pt x="566" y="215"/>
                    <a:pt x="998" y="215"/>
                  </a:cubicBezTo>
                  <a:cubicBezTo>
                    <a:pt x="1214" y="215"/>
                    <a:pt x="1423" y="306"/>
                    <a:pt x="1571" y="464"/>
                  </a:cubicBezTo>
                  <a:cubicBezTo>
                    <a:pt x="1612" y="508"/>
                    <a:pt x="1679" y="510"/>
                    <a:pt x="1723" y="470"/>
                  </a:cubicBezTo>
                  <a:cubicBezTo>
                    <a:pt x="1766" y="430"/>
                    <a:pt x="1768" y="362"/>
                    <a:pt x="1728" y="319"/>
                  </a:cubicBezTo>
                  <a:cubicBezTo>
                    <a:pt x="1540" y="116"/>
                    <a:pt x="1274" y="0"/>
                    <a:pt x="998" y="0"/>
                  </a:cubicBezTo>
                  <a:cubicBezTo>
                    <a:pt x="447" y="0"/>
                    <a:pt x="0" y="448"/>
                    <a:pt x="0" y="998"/>
                  </a:cubicBezTo>
                  <a:cubicBezTo>
                    <a:pt x="0" y="1548"/>
                    <a:pt x="447" y="1996"/>
                    <a:pt x="998" y="1996"/>
                  </a:cubicBezTo>
                  <a:cubicBezTo>
                    <a:pt x="1548" y="1996"/>
                    <a:pt x="1995" y="1548"/>
                    <a:pt x="1995" y="998"/>
                  </a:cubicBezTo>
                  <a:cubicBezTo>
                    <a:pt x="1995" y="882"/>
                    <a:pt x="1975" y="769"/>
                    <a:pt x="1937" y="66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422">
              <a:extLst>
                <a:ext uri="{FF2B5EF4-FFF2-40B4-BE49-F238E27FC236}">
                  <a16:creationId xmlns:a16="http://schemas.microsoft.com/office/drawing/2014/main" id="{49AD5794-E15F-4E15-AEB8-FF4C4E26C9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4" y="2268"/>
              <a:ext cx="54" cy="53"/>
            </a:xfrm>
            <a:custGeom>
              <a:avLst/>
              <a:gdLst>
                <a:gd name="T0" fmla="*/ 997 w 1995"/>
                <a:gd name="T1" fmla="*/ 0 h 1996"/>
                <a:gd name="T2" fmla="*/ 0 w 1995"/>
                <a:gd name="T3" fmla="*/ 998 h 1996"/>
                <a:gd name="T4" fmla="*/ 997 w 1995"/>
                <a:gd name="T5" fmla="*/ 1996 h 1996"/>
                <a:gd name="T6" fmla="*/ 1995 w 1995"/>
                <a:gd name="T7" fmla="*/ 998 h 1996"/>
                <a:gd name="T8" fmla="*/ 997 w 1995"/>
                <a:gd name="T9" fmla="*/ 0 h 1996"/>
                <a:gd name="T10" fmla="*/ 997 w 1995"/>
                <a:gd name="T11" fmla="*/ 1781 h 1996"/>
                <a:gd name="T12" fmla="*/ 214 w 1995"/>
                <a:gd name="T13" fmla="*/ 998 h 1996"/>
                <a:gd name="T14" fmla="*/ 997 w 1995"/>
                <a:gd name="T15" fmla="*/ 215 h 1996"/>
                <a:gd name="T16" fmla="*/ 1781 w 1995"/>
                <a:gd name="T17" fmla="*/ 998 h 1996"/>
                <a:gd name="T18" fmla="*/ 997 w 1995"/>
                <a:gd name="T19" fmla="*/ 1781 h 1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95" h="1996">
                  <a:moveTo>
                    <a:pt x="997" y="0"/>
                  </a:moveTo>
                  <a:cubicBezTo>
                    <a:pt x="447" y="0"/>
                    <a:pt x="0" y="448"/>
                    <a:pt x="0" y="998"/>
                  </a:cubicBezTo>
                  <a:cubicBezTo>
                    <a:pt x="0" y="1548"/>
                    <a:pt x="447" y="1996"/>
                    <a:pt x="997" y="1996"/>
                  </a:cubicBezTo>
                  <a:cubicBezTo>
                    <a:pt x="1548" y="1996"/>
                    <a:pt x="1995" y="1548"/>
                    <a:pt x="1995" y="998"/>
                  </a:cubicBezTo>
                  <a:cubicBezTo>
                    <a:pt x="1995" y="448"/>
                    <a:pt x="1548" y="0"/>
                    <a:pt x="997" y="0"/>
                  </a:cubicBezTo>
                  <a:close/>
                  <a:moveTo>
                    <a:pt x="997" y="1781"/>
                  </a:moveTo>
                  <a:cubicBezTo>
                    <a:pt x="565" y="1781"/>
                    <a:pt x="214" y="1430"/>
                    <a:pt x="214" y="998"/>
                  </a:cubicBezTo>
                  <a:cubicBezTo>
                    <a:pt x="214" y="566"/>
                    <a:pt x="565" y="215"/>
                    <a:pt x="997" y="215"/>
                  </a:cubicBezTo>
                  <a:cubicBezTo>
                    <a:pt x="1429" y="215"/>
                    <a:pt x="1781" y="566"/>
                    <a:pt x="1781" y="998"/>
                  </a:cubicBezTo>
                  <a:cubicBezTo>
                    <a:pt x="1781" y="1430"/>
                    <a:pt x="1429" y="1781"/>
                    <a:pt x="997" y="178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E3F6F05-E888-416A-8819-B1B6C6A796C7}"/>
              </a:ext>
            </a:extLst>
          </p:cNvPr>
          <p:cNvSpPr/>
          <p:nvPr/>
        </p:nvSpPr>
        <p:spPr>
          <a:xfrm>
            <a:off x="431998" y="4722286"/>
            <a:ext cx="2981723" cy="1745548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/>
          <a:lstStyle/>
          <a:p>
            <a:pPr>
              <a:spcAft>
                <a:spcPts val="600"/>
              </a:spcAft>
            </a:pPr>
            <a:r>
              <a:rPr lang="ru-RU" sz="1200" dirty="0">
                <a:solidFill>
                  <a:schemeClr val="tx2"/>
                </a:solidFill>
              </a:rPr>
              <a:t>Коррупцияга </a:t>
            </a:r>
            <a:r>
              <a:rPr lang="ru-RU" sz="1200" dirty="0" err="1">
                <a:solidFill>
                  <a:schemeClr val="tx2"/>
                </a:solidFill>
              </a:rPr>
              <a:t>қарш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ураш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астури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ажарилма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егишл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андлар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елгус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йилги</a:t>
            </a:r>
            <a:r>
              <a:rPr lang="ru-RU" sz="1200" dirty="0">
                <a:solidFill>
                  <a:schemeClr val="tx2"/>
                </a:solidFill>
              </a:rPr>
              <a:t> коррупцияга </a:t>
            </a:r>
            <a:r>
              <a:rPr lang="ru-RU" sz="1200" dirty="0" err="1">
                <a:solidFill>
                  <a:schemeClr val="tx2"/>
                </a:solidFill>
              </a:rPr>
              <a:t>қарш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ураш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астури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иритиш</a:t>
            </a:r>
            <a:r>
              <a:rPr lang="ru-RU" sz="1200" dirty="0">
                <a:solidFill>
                  <a:schemeClr val="tx2"/>
                </a:solidFill>
              </a:rPr>
              <a:t>, </a:t>
            </a:r>
            <a:r>
              <a:rPr lang="ru-RU" sz="1200" dirty="0" err="1">
                <a:solidFill>
                  <a:schemeClr val="tx2"/>
                </a:solidFill>
              </a:rPr>
              <a:t>шунингдек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ушбу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андлар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ажарилиш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учу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жавобга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л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шахслар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интизом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жазо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чоралар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ўллаш</a:t>
            </a:r>
            <a:endParaRPr lang="ru-RU" sz="1200" dirty="0">
              <a:solidFill>
                <a:schemeClr val="tx2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73A42B8-3F86-4CC2-9CB9-F19BC4B9F3D6}"/>
              </a:ext>
            </a:extLst>
          </p:cNvPr>
          <p:cNvGrpSpPr/>
          <p:nvPr/>
        </p:nvGrpSpPr>
        <p:grpSpPr>
          <a:xfrm>
            <a:off x="-2" y="4092359"/>
            <a:ext cx="3413724" cy="573322"/>
            <a:chOff x="-3" y="1138806"/>
            <a:chExt cx="9575803" cy="1463040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8EA1397-D95E-4C25-BC51-7AC99693FAEE}"/>
                </a:ext>
              </a:extLst>
            </p:cNvPr>
            <p:cNvSpPr/>
            <p:nvPr/>
          </p:nvSpPr>
          <p:spPr>
            <a:xfrm>
              <a:off x="-3" y="1138806"/>
              <a:ext cx="1282562" cy="1463040"/>
            </a:xfrm>
            <a:prstGeom prst="rect">
              <a:avLst/>
            </a:prstGeom>
            <a:solidFill>
              <a:srgbClr val="CDF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86C77AEB-A5A4-435A-91FE-34F8EECA3F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Blur radius="3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" t="25090" r="277" b="26127"/>
            <a:stretch/>
          </p:blipFill>
          <p:spPr>
            <a:xfrm>
              <a:off x="0" y="1138806"/>
              <a:ext cx="9575800" cy="1458253"/>
            </a:xfrm>
            <a:prstGeom prst="roundRect">
              <a:avLst>
                <a:gd name="adj" fmla="val 50000"/>
              </a:avLst>
            </a:prstGeom>
          </p:spPr>
        </p:pic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906622C9-ACB2-4A63-9FEF-BCC968B8C06B}"/>
              </a:ext>
            </a:extLst>
          </p:cNvPr>
          <p:cNvSpPr txBox="1"/>
          <p:nvPr/>
        </p:nvSpPr>
        <p:spPr>
          <a:xfrm>
            <a:off x="416561" y="4098929"/>
            <a:ext cx="1327179" cy="55475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Натижа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: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A754155-1979-4826-AF68-3BF8BCB6BF71}"/>
              </a:ext>
            </a:extLst>
          </p:cNvPr>
          <p:cNvGrpSpPr/>
          <p:nvPr/>
        </p:nvGrpSpPr>
        <p:grpSpPr>
          <a:xfrm rot="5400000">
            <a:off x="2870031" y="4202967"/>
            <a:ext cx="238043" cy="377590"/>
            <a:chOff x="3841139" y="1940745"/>
            <a:chExt cx="238043" cy="442712"/>
          </a:xfrm>
          <a:solidFill>
            <a:srgbClr val="1BD7D3"/>
          </a:solidFill>
        </p:grpSpPr>
        <p:sp>
          <p:nvSpPr>
            <p:cNvPr id="40" name="Arrow: Chevron 39">
              <a:extLst>
                <a:ext uri="{FF2B5EF4-FFF2-40B4-BE49-F238E27FC236}">
                  <a16:creationId xmlns:a16="http://schemas.microsoft.com/office/drawing/2014/main" id="{B6313B73-04B9-420E-BF9F-A8846FA156C1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41" name="Arrow: Chevron 40">
              <a:extLst>
                <a:ext uri="{FF2B5EF4-FFF2-40B4-BE49-F238E27FC236}">
                  <a16:creationId xmlns:a16="http://schemas.microsoft.com/office/drawing/2014/main" id="{547246AC-976A-4C52-B510-BBA92FE51332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42" name="Picture 2" descr="https://w7.pngwing.com/pngs/564/452/png-transparent-flag-of-uzbekistan-emoji-flag-of-albania-emoji-flag-text-logo.png">
            <a:extLst>
              <a:ext uri="{FF2B5EF4-FFF2-40B4-BE49-F238E27FC236}">
                <a16:creationId xmlns:a16="http://schemas.microsoft.com/office/drawing/2014/main" id="{56C0D602-A787-430A-BF96-2C0CE34DF17F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93" t="2618" r="24782" b="2590"/>
          <a:stretch/>
        </p:blipFill>
        <p:spPr bwMode="auto">
          <a:xfrm>
            <a:off x="10811994" y="624763"/>
            <a:ext cx="612000" cy="612000"/>
          </a:xfrm>
          <a:prstGeom prst="flowChartConnector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07502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41808D-7828-4283-844A-5837A645F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</a:t>
            </a:r>
            <a:r>
              <a:rPr lang="ru-RU" dirty="0"/>
              <a:t> </a:t>
            </a:r>
            <a:r>
              <a:rPr lang="ru-RU" dirty="0" err="1"/>
              <a:t>тизимини</a:t>
            </a:r>
            <a:r>
              <a:rPr lang="ru-RU" dirty="0"/>
              <a:t> мониторинг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назорат</a:t>
            </a:r>
            <a:r>
              <a:rPr lang="ru-RU" dirty="0"/>
              <a:t> </a:t>
            </a:r>
            <a:r>
              <a:rPr lang="ru-RU" dirty="0" err="1"/>
              <a:t>қилиш</a:t>
            </a:r>
            <a:r>
              <a:rPr lang="ru-RU" dirty="0"/>
              <a:t>: Ўзбекистон </a:t>
            </a:r>
            <a:r>
              <a:rPr lang="ru-RU" dirty="0" err="1"/>
              <a:t>Республикасида</a:t>
            </a:r>
            <a:r>
              <a:rPr lang="ru-RU" dirty="0"/>
              <a:t> </a:t>
            </a:r>
            <a:r>
              <a:rPr lang="ru-RU" dirty="0" err="1"/>
              <a:t>амалга</a:t>
            </a:r>
            <a:r>
              <a:rPr lang="ru-RU" dirty="0"/>
              <a:t> </a:t>
            </a:r>
            <a:r>
              <a:rPr lang="ru-RU" dirty="0" err="1"/>
              <a:t>ошириш</a:t>
            </a:r>
            <a:r>
              <a:rPr lang="ru-RU" dirty="0"/>
              <a:t> </a:t>
            </a:r>
            <a:r>
              <a:rPr lang="ru-RU" dirty="0" err="1"/>
              <a:t>амалиёти</a:t>
            </a:r>
            <a:r>
              <a:rPr lang="ru-RU" dirty="0"/>
              <a:t> (7/8)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F0A20D0-59E2-4ACC-BD4E-0CBE67FD2E8F}"/>
              </a:ext>
            </a:extLst>
          </p:cNvPr>
          <p:cNvGrpSpPr/>
          <p:nvPr/>
        </p:nvGrpSpPr>
        <p:grpSpPr>
          <a:xfrm>
            <a:off x="443080" y="1282696"/>
            <a:ext cx="11306008" cy="736607"/>
            <a:chOff x="3784798" y="1289128"/>
            <a:chExt cx="7964290" cy="440386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568A2802-8596-49BB-82DD-4275D0CC9225}"/>
                </a:ext>
              </a:extLst>
            </p:cNvPr>
            <p:cNvSpPr/>
            <p:nvPr/>
          </p:nvSpPr>
          <p:spPr>
            <a:xfrm>
              <a:off x="3921193" y="1348907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CF7F2A2F-154C-437E-9559-ABB867A93D1D}"/>
                </a:ext>
              </a:extLst>
            </p:cNvPr>
            <p:cNvSpPr/>
            <p:nvPr/>
          </p:nvSpPr>
          <p:spPr>
            <a:xfrm>
              <a:off x="3784798" y="1289128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Давлат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орга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ходимлар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омонидан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коррупцияга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арш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ураши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сиёсат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артиб-таомиллариг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риоя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этилиши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назорат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илиш</a:t>
              </a:r>
              <a:r>
                <a:rPr lang="en-US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(1/2)</a:t>
              </a:r>
            </a:p>
          </p:txBody>
        </p:sp>
      </p:grpSp>
      <p:sp>
        <p:nvSpPr>
          <p:cNvPr id="15" name="object 15">
            <a:extLst>
              <a:ext uri="{FF2B5EF4-FFF2-40B4-BE49-F238E27FC236}">
                <a16:creationId xmlns:a16="http://schemas.microsoft.com/office/drawing/2014/main" id="{BAD7A6EC-4D34-47CB-A745-5DDBEA91192E}"/>
              </a:ext>
            </a:extLst>
          </p:cNvPr>
          <p:cNvSpPr txBox="1"/>
          <p:nvPr/>
        </p:nvSpPr>
        <p:spPr>
          <a:xfrm>
            <a:off x="1271993" y="2119292"/>
            <a:ext cx="2141729" cy="48695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uz-Cyrl-UZ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Масъул шахс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 </a:t>
            </a:r>
          </a:p>
          <a:p>
            <a:pPr marL="10319">
              <a:spcAft>
                <a:spcPts val="600"/>
              </a:spcAft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Комплаенс-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инмас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6" name="object 12">
            <a:extLst>
              <a:ext uri="{FF2B5EF4-FFF2-40B4-BE49-F238E27FC236}">
                <a16:creationId xmlns:a16="http://schemas.microsoft.com/office/drawing/2014/main" id="{600179B2-E61F-4560-AC45-1B7781E70F4C}"/>
              </a:ext>
            </a:extLst>
          </p:cNvPr>
          <p:cNvSpPr/>
          <p:nvPr/>
        </p:nvSpPr>
        <p:spPr>
          <a:xfrm>
            <a:off x="456832" y="207111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15">
            <a:extLst>
              <a:ext uri="{FF2B5EF4-FFF2-40B4-BE49-F238E27FC236}">
                <a16:creationId xmlns:a16="http://schemas.microsoft.com/office/drawing/2014/main" id="{5A5B9D7E-C501-46B3-B25A-53971C7B8402}"/>
              </a:ext>
            </a:extLst>
          </p:cNvPr>
          <p:cNvSpPr txBox="1"/>
          <p:nvPr/>
        </p:nvSpPr>
        <p:spPr>
          <a:xfrm>
            <a:off x="1271993" y="3056941"/>
            <a:ext cx="2141730" cy="48695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Даврийлик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 </a:t>
            </a:r>
          </a:p>
          <a:p>
            <a:pPr marL="10319">
              <a:spcAft>
                <a:spcPts val="600"/>
              </a:spcAft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чоракда</a:t>
            </a:r>
            <a:endParaRPr lang="ru-RU"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8" name="object 12">
            <a:extLst>
              <a:ext uri="{FF2B5EF4-FFF2-40B4-BE49-F238E27FC236}">
                <a16:creationId xmlns:a16="http://schemas.microsoft.com/office/drawing/2014/main" id="{0C42D8A0-267A-4A15-BD97-1C466096438B}"/>
              </a:ext>
            </a:extLst>
          </p:cNvPr>
          <p:cNvSpPr/>
          <p:nvPr/>
        </p:nvSpPr>
        <p:spPr>
          <a:xfrm>
            <a:off x="456832" y="298810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9" name="Group 379">
            <a:extLst>
              <a:ext uri="{FF2B5EF4-FFF2-40B4-BE49-F238E27FC236}">
                <a16:creationId xmlns:a16="http://schemas.microsoft.com/office/drawing/2014/main" id="{02881CEA-AEB7-4CEE-83EB-EFF771830C6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3080" y="3070945"/>
            <a:ext cx="590071" cy="596415"/>
            <a:chOff x="1156" y="3368"/>
            <a:chExt cx="279" cy="282"/>
          </a:xfrm>
          <a:solidFill>
            <a:schemeClr val="bg2">
              <a:lumMod val="25000"/>
            </a:schemeClr>
          </a:solidFill>
        </p:grpSpPr>
        <p:sp>
          <p:nvSpPr>
            <p:cNvPr id="20" name="Freeform 380">
              <a:extLst>
                <a:ext uri="{FF2B5EF4-FFF2-40B4-BE49-F238E27FC236}">
                  <a16:creationId xmlns:a16="http://schemas.microsoft.com/office/drawing/2014/main" id="{1DBD727B-FDFC-4832-BA7C-0267FCEA5F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69" y="3516"/>
              <a:ext cx="96" cy="93"/>
            </a:xfrm>
            <a:custGeom>
              <a:avLst/>
              <a:gdLst>
                <a:gd name="T0" fmla="*/ 2440 w 2899"/>
                <a:gd name="T1" fmla="*/ 437 h 2811"/>
                <a:gd name="T2" fmla="*/ 2262 w 2899"/>
                <a:gd name="T3" fmla="*/ 444 h 2811"/>
                <a:gd name="T4" fmla="*/ 2269 w 2899"/>
                <a:gd name="T5" fmla="*/ 621 h 2811"/>
                <a:gd name="T6" fmla="*/ 2341 w 2899"/>
                <a:gd name="T7" fmla="*/ 693 h 2811"/>
                <a:gd name="T8" fmla="*/ 2631 w 2899"/>
                <a:gd name="T9" fmla="*/ 1496 h 2811"/>
                <a:gd name="T10" fmla="*/ 2269 w 2899"/>
                <a:gd name="T11" fmla="*/ 2269 h 2811"/>
                <a:gd name="T12" fmla="*/ 694 w 2899"/>
                <a:gd name="T13" fmla="*/ 2197 h 2811"/>
                <a:gd name="T14" fmla="*/ 765 w 2899"/>
                <a:gd name="T15" fmla="*/ 622 h 2811"/>
                <a:gd name="T16" fmla="*/ 1835 w 2899"/>
                <a:gd name="T17" fmla="*/ 376 h 2811"/>
                <a:gd name="T18" fmla="*/ 1991 w 2899"/>
                <a:gd name="T19" fmla="*/ 292 h 2811"/>
                <a:gd name="T20" fmla="*/ 1906 w 2899"/>
                <a:gd name="T21" fmla="*/ 135 h 2811"/>
                <a:gd name="T22" fmla="*/ 596 w 2899"/>
                <a:gd name="T23" fmla="*/ 436 h 2811"/>
                <a:gd name="T24" fmla="*/ 508 w 2899"/>
                <a:gd name="T25" fmla="*/ 2366 h 2811"/>
                <a:gd name="T26" fmla="*/ 1518 w 2899"/>
                <a:gd name="T27" fmla="*/ 2811 h 2811"/>
                <a:gd name="T28" fmla="*/ 2439 w 2899"/>
                <a:gd name="T29" fmla="*/ 2454 h 2811"/>
                <a:gd name="T30" fmla="*/ 2882 w 2899"/>
                <a:gd name="T31" fmla="*/ 1507 h 2811"/>
                <a:gd name="T32" fmla="*/ 2526 w 2899"/>
                <a:gd name="T33" fmla="*/ 523 h 2811"/>
                <a:gd name="T34" fmla="*/ 2440 w 2899"/>
                <a:gd name="T35" fmla="*/ 437 h 2811"/>
                <a:gd name="T36" fmla="*/ 2440 w 2899"/>
                <a:gd name="T37" fmla="*/ 437 h 2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99" h="2811">
                  <a:moveTo>
                    <a:pt x="2440" y="437"/>
                  </a:moveTo>
                  <a:cubicBezTo>
                    <a:pt x="2389" y="390"/>
                    <a:pt x="2310" y="393"/>
                    <a:pt x="2262" y="444"/>
                  </a:cubicBezTo>
                  <a:cubicBezTo>
                    <a:pt x="2215" y="494"/>
                    <a:pt x="2218" y="574"/>
                    <a:pt x="2269" y="621"/>
                  </a:cubicBezTo>
                  <a:cubicBezTo>
                    <a:pt x="2294" y="645"/>
                    <a:pt x="2318" y="669"/>
                    <a:pt x="2341" y="693"/>
                  </a:cubicBezTo>
                  <a:cubicBezTo>
                    <a:pt x="2541" y="913"/>
                    <a:pt x="2645" y="1198"/>
                    <a:pt x="2631" y="1496"/>
                  </a:cubicBezTo>
                  <a:cubicBezTo>
                    <a:pt x="2618" y="1793"/>
                    <a:pt x="2489" y="2068"/>
                    <a:pt x="2269" y="2269"/>
                  </a:cubicBezTo>
                  <a:cubicBezTo>
                    <a:pt x="1815" y="2683"/>
                    <a:pt x="1108" y="2651"/>
                    <a:pt x="694" y="2197"/>
                  </a:cubicBezTo>
                  <a:cubicBezTo>
                    <a:pt x="279" y="1743"/>
                    <a:pt x="311" y="1037"/>
                    <a:pt x="765" y="622"/>
                  </a:cubicBezTo>
                  <a:cubicBezTo>
                    <a:pt x="1057" y="356"/>
                    <a:pt x="1456" y="264"/>
                    <a:pt x="1835" y="376"/>
                  </a:cubicBezTo>
                  <a:cubicBezTo>
                    <a:pt x="1901" y="396"/>
                    <a:pt x="1971" y="358"/>
                    <a:pt x="1991" y="292"/>
                  </a:cubicBezTo>
                  <a:cubicBezTo>
                    <a:pt x="2011" y="225"/>
                    <a:pt x="1973" y="155"/>
                    <a:pt x="1906" y="135"/>
                  </a:cubicBezTo>
                  <a:cubicBezTo>
                    <a:pt x="1450" y="0"/>
                    <a:pt x="947" y="115"/>
                    <a:pt x="596" y="436"/>
                  </a:cubicBezTo>
                  <a:cubicBezTo>
                    <a:pt x="39" y="944"/>
                    <a:pt x="0" y="1811"/>
                    <a:pt x="508" y="2366"/>
                  </a:cubicBezTo>
                  <a:cubicBezTo>
                    <a:pt x="777" y="2661"/>
                    <a:pt x="1147" y="2811"/>
                    <a:pt x="1518" y="2811"/>
                  </a:cubicBezTo>
                  <a:cubicBezTo>
                    <a:pt x="1847" y="2811"/>
                    <a:pt x="2177" y="2693"/>
                    <a:pt x="2439" y="2454"/>
                  </a:cubicBezTo>
                  <a:cubicBezTo>
                    <a:pt x="2708" y="2208"/>
                    <a:pt x="2866" y="1872"/>
                    <a:pt x="2882" y="1507"/>
                  </a:cubicBezTo>
                  <a:cubicBezTo>
                    <a:pt x="2899" y="1143"/>
                    <a:pt x="2772" y="793"/>
                    <a:pt x="2526" y="523"/>
                  </a:cubicBezTo>
                  <a:cubicBezTo>
                    <a:pt x="2498" y="493"/>
                    <a:pt x="2470" y="465"/>
                    <a:pt x="2440" y="437"/>
                  </a:cubicBezTo>
                  <a:close/>
                  <a:moveTo>
                    <a:pt x="2440" y="437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81">
              <a:extLst>
                <a:ext uri="{FF2B5EF4-FFF2-40B4-BE49-F238E27FC236}">
                  <a16:creationId xmlns:a16="http://schemas.microsoft.com/office/drawing/2014/main" id="{228EBFEE-F85D-424B-A9D1-3D87182BF3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5" y="3452"/>
              <a:ext cx="49" cy="49"/>
            </a:xfrm>
            <a:custGeom>
              <a:avLst/>
              <a:gdLst>
                <a:gd name="T0" fmla="*/ 882 w 1469"/>
                <a:gd name="T1" fmla="*/ 15 h 1469"/>
                <a:gd name="T2" fmla="*/ 734 w 1469"/>
                <a:gd name="T3" fmla="*/ 0 h 1469"/>
                <a:gd name="T4" fmla="*/ 586 w 1469"/>
                <a:gd name="T5" fmla="*/ 15 h 1469"/>
                <a:gd name="T6" fmla="*/ 0 w 1469"/>
                <a:gd name="T7" fmla="*/ 735 h 1469"/>
                <a:gd name="T8" fmla="*/ 734 w 1469"/>
                <a:gd name="T9" fmla="*/ 1469 h 1469"/>
                <a:gd name="T10" fmla="*/ 1469 w 1469"/>
                <a:gd name="T11" fmla="*/ 735 h 1469"/>
                <a:gd name="T12" fmla="*/ 882 w 1469"/>
                <a:gd name="T13" fmla="*/ 15 h 1469"/>
                <a:gd name="T14" fmla="*/ 734 w 1469"/>
                <a:gd name="T15" fmla="*/ 1218 h 1469"/>
                <a:gd name="T16" fmla="*/ 252 w 1469"/>
                <a:gd name="T17" fmla="*/ 735 h 1469"/>
                <a:gd name="T18" fmla="*/ 734 w 1469"/>
                <a:gd name="T19" fmla="*/ 252 h 1469"/>
                <a:gd name="T20" fmla="*/ 1217 w 1469"/>
                <a:gd name="T21" fmla="*/ 735 h 1469"/>
                <a:gd name="T22" fmla="*/ 734 w 1469"/>
                <a:gd name="T23" fmla="*/ 1218 h 1469"/>
                <a:gd name="T24" fmla="*/ 734 w 1469"/>
                <a:gd name="T25" fmla="*/ 1218 h 1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69" h="1469">
                  <a:moveTo>
                    <a:pt x="882" y="15"/>
                  </a:moveTo>
                  <a:cubicBezTo>
                    <a:pt x="834" y="6"/>
                    <a:pt x="785" y="0"/>
                    <a:pt x="734" y="0"/>
                  </a:cubicBezTo>
                  <a:cubicBezTo>
                    <a:pt x="684" y="0"/>
                    <a:pt x="634" y="6"/>
                    <a:pt x="586" y="15"/>
                  </a:cubicBezTo>
                  <a:cubicBezTo>
                    <a:pt x="252" y="84"/>
                    <a:pt x="0" y="380"/>
                    <a:pt x="0" y="735"/>
                  </a:cubicBezTo>
                  <a:cubicBezTo>
                    <a:pt x="0" y="1140"/>
                    <a:pt x="329" y="1469"/>
                    <a:pt x="734" y="1469"/>
                  </a:cubicBezTo>
                  <a:cubicBezTo>
                    <a:pt x="1139" y="1469"/>
                    <a:pt x="1469" y="1140"/>
                    <a:pt x="1469" y="735"/>
                  </a:cubicBezTo>
                  <a:cubicBezTo>
                    <a:pt x="1469" y="380"/>
                    <a:pt x="1217" y="84"/>
                    <a:pt x="882" y="15"/>
                  </a:cubicBezTo>
                  <a:close/>
                  <a:moveTo>
                    <a:pt x="734" y="1218"/>
                  </a:moveTo>
                  <a:cubicBezTo>
                    <a:pt x="468" y="1218"/>
                    <a:pt x="252" y="1001"/>
                    <a:pt x="252" y="735"/>
                  </a:cubicBezTo>
                  <a:cubicBezTo>
                    <a:pt x="252" y="468"/>
                    <a:pt x="468" y="252"/>
                    <a:pt x="734" y="252"/>
                  </a:cubicBezTo>
                  <a:cubicBezTo>
                    <a:pt x="1001" y="252"/>
                    <a:pt x="1217" y="468"/>
                    <a:pt x="1217" y="735"/>
                  </a:cubicBezTo>
                  <a:cubicBezTo>
                    <a:pt x="1217" y="1001"/>
                    <a:pt x="1001" y="1218"/>
                    <a:pt x="734" y="1218"/>
                  </a:cubicBezTo>
                  <a:close/>
                  <a:moveTo>
                    <a:pt x="734" y="121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82">
              <a:extLst>
                <a:ext uri="{FF2B5EF4-FFF2-40B4-BE49-F238E27FC236}">
                  <a16:creationId xmlns:a16="http://schemas.microsoft.com/office/drawing/2014/main" id="{5B5F6CF3-14B4-422B-A90C-0DCDFB5B00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6" y="3368"/>
              <a:ext cx="279" cy="282"/>
            </a:xfrm>
            <a:custGeom>
              <a:avLst/>
              <a:gdLst>
                <a:gd name="T0" fmla="*/ 7982 w 8433"/>
                <a:gd name="T1" fmla="*/ 1329 h 8517"/>
                <a:gd name="T2" fmla="*/ 6247 w 8433"/>
                <a:gd name="T3" fmla="*/ 251 h 8517"/>
                <a:gd name="T4" fmla="*/ 6247 w 8433"/>
                <a:gd name="T5" fmla="*/ 0 h 8517"/>
                <a:gd name="T6" fmla="*/ 3586 w 8433"/>
                <a:gd name="T7" fmla="*/ 1250 h 8517"/>
                <a:gd name="T8" fmla="*/ 2858 w 8433"/>
                <a:gd name="T9" fmla="*/ 733 h 8517"/>
                <a:gd name="T10" fmla="*/ 1598 w 8433"/>
                <a:gd name="T11" fmla="*/ 1359 h 8517"/>
                <a:gd name="T12" fmla="*/ 409 w 8433"/>
                <a:gd name="T13" fmla="*/ 1962 h 8517"/>
                <a:gd name="T14" fmla="*/ 367 w 8433"/>
                <a:gd name="T15" fmla="*/ 2583 h 8517"/>
                <a:gd name="T16" fmla="*/ 551 w 8433"/>
                <a:gd name="T17" fmla="*/ 3958 h 8517"/>
                <a:gd name="T18" fmla="*/ 516 w 8433"/>
                <a:gd name="T19" fmla="*/ 4839 h 8517"/>
                <a:gd name="T20" fmla="*/ 1850 w 8433"/>
                <a:gd name="T21" fmla="*/ 5256 h 8517"/>
                <a:gd name="T22" fmla="*/ 2324 w 8433"/>
                <a:gd name="T23" fmla="*/ 6117 h 8517"/>
                <a:gd name="T24" fmla="*/ 2951 w 8433"/>
                <a:gd name="T25" fmla="*/ 6767 h 8517"/>
                <a:gd name="T26" fmla="*/ 3237 w 8433"/>
                <a:gd name="T27" fmla="*/ 7901 h 8517"/>
                <a:gd name="T28" fmla="*/ 4132 w 8433"/>
                <a:gd name="T29" fmla="*/ 8097 h 8517"/>
                <a:gd name="T30" fmla="*/ 5413 w 8433"/>
                <a:gd name="T31" fmla="*/ 8419 h 8517"/>
                <a:gd name="T32" fmla="*/ 5916 w 8433"/>
                <a:gd name="T33" fmla="*/ 8022 h 8517"/>
                <a:gd name="T34" fmla="*/ 7049 w 8433"/>
                <a:gd name="T35" fmla="*/ 7345 h 8517"/>
                <a:gd name="T36" fmla="*/ 7124 w 8433"/>
                <a:gd name="T37" fmla="*/ 6708 h 8517"/>
                <a:gd name="T38" fmla="*/ 7188 w 8433"/>
                <a:gd name="T39" fmla="*/ 5307 h 8517"/>
                <a:gd name="T40" fmla="*/ 7074 w 8433"/>
                <a:gd name="T41" fmla="*/ 4397 h 8517"/>
                <a:gd name="T42" fmla="*/ 2350 w 8433"/>
                <a:gd name="T43" fmla="*/ 5557 h 8517"/>
                <a:gd name="T44" fmla="*/ 2012 w 8433"/>
                <a:gd name="T45" fmla="*/ 5045 h 8517"/>
                <a:gd name="T46" fmla="*/ 1147 w 8433"/>
                <a:gd name="T47" fmla="*/ 5114 h 8517"/>
                <a:gd name="T48" fmla="*/ 890 w 8433"/>
                <a:gd name="T49" fmla="*/ 4300 h 8517"/>
                <a:gd name="T50" fmla="*/ 367 w 8433"/>
                <a:gd name="T51" fmla="*/ 3707 h 8517"/>
                <a:gd name="T52" fmla="*/ 633 w 8433"/>
                <a:gd name="T53" fmla="*/ 2835 h 8517"/>
                <a:gd name="T54" fmla="*/ 694 w 8433"/>
                <a:gd name="T55" fmla="*/ 2044 h 8517"/>
                <a:gd name="T56" fmla="*/ 1311 w 8433"/>
                <a:gd name="T57" fmla="*/ 1427 h 8517"/>
                <a:gd name="T58" fmla="*/ 2101 w 8433"/>
                <a:gd name="T59" fmla="*/ 1342 h 8517"/>
                <a:gd name="T60" fmla="*/ 2974 w 8433"/>
                <a:gd name="T61" fmla="*/ 1100 h 8517"/>
                <a:gd name="T62" fmla="*/ 3602 w 8433"/>
                <a:gd name="T63" fmla="*/ 1590 h 8517"/>
                <a:gd name="T64" fmla="*/ 4132 w 8433"/>
                <a:gd name="T65" fmla="*/ 1632 h 8517"/>
                <a:gd name="T66" fmla="*/ 4328 w 8433"/>
                <a:gd name="T67" fmla="*/ 3795 h 8517"/>
                <a:gd name="T68" fmla="*/ 3874 w 8433"/>
                <a:gd name="T69" fmla="*/ 3271 h 8517"/>
                <a:gd name="T70" fmla="*/ 2830 w 8433"/>
                <a:gd name="T71" fmla="*/ 4575 h 8517"/>
                <a:gd name="T72" fmla="*/ 2743 w 8433"/>
                <a:gd name="T73" fmla="*/ 5104 h 8517"/>
                <a:gd name="T74" fmla="*/ 3535 w 8433"/>
                <a:gd name="T75" fmla="*/ 3697 h 8517"/>
                <a:gd name="T76" fmla="*/ 2537 w 8433"/>
                <a:gd name="T77" fmla="*/ 4356 h 8517"/>
                <a:gd name="T78" fmla="*/ 7177 w 8433"/>
                <a:gd name="T79" fmla="*/ 5558 h 8517"/>
                <a:gd name="T80" fmla="*/ 7136 w 8433"/>
                <a:gd name="T81" fmla="*/ 6457 h 8517"/>
                <a:gd name="T82" fmla="*/ 6583 w 8433"/>
                <a:gd name="T83" fmla="*/ 7045 h 8517"/>
                <a:gd name="T84" fmla="*/ 6273 w 8433"/>
                <a:gd name="T85" fmla="*/ 7861 h 8517"/>
                <a:gd name="T86" fmla="*/ 5764 w 8433"/>
                <a:gd name="T87" fmla="*/ 7615 h 8517"/>
                <a:gd name="T88" fmla="*/ 5243 w 8433"/>
                <a:gd name="T89" fmla="*/ 8233 h 8517"/>
                <a:gd name="T90" fmla="*/ 4396 w 8433"/>
                <a:gd name="T91" fmla="*/ 7824 h 8517"/>
                <a:gd name="T92" fmla="*/ 3595 w 8433"/>
                <a:gd name="T93" fmla="*/ 7739 h 8517"/>
                <a:gd name="T94" fmla="*/ 2987 w 8433"/>
                <a:gd name="T95" fmla="*/ 7074 h 8517"/>
                <a:gd name="T96" fmla="*/ 2959 w 8433"/>
                <a:gd name="T97" fmla="*/ 6267 h 8517"/>
                <a:gd name="T98" fmla="*/ 2605 w 8433"/>
                <a:gd name="T99" fmla="*/ 5472 h 8517"/>
                <a:gd name="T100" fmla="*/ 3110 w 8433"/>
                <a:gd name="T101" fmla="*/ 5281 h 8517"/>
                <a:gd name="T102" fmla="*/ 3070 w 8433"/>
                <a:gd name="T103" fmla="*/ 4479 h 8517"/>
                <a:gd name="T104" fmla="*/ 3766 w 8433"/>
                <a:gd name="T105" fmla="*/ 3960 h 8517"/>
                <a:gd name="T106" fmla="*/ 4575 w 8433"/>
                <a:gd name="T107" fmla="*/ 3899 h 8517"/>
                <a:gd name="T108" fmla="*/ 6646 w 8433"/>
                <a:gd name="T109" fmla="*/ 4336 h 8517"/>
                <a:gd name="T110" fmla="*/ 6697 w 8433"/>
                <a:gd name="T111" fmla="*/ 4906 h 8517"/>
                <a:gd name="T112" fmla="*/ 7177 w 8433"/>
                <a:gd name="T113" fmla="*/ 5558 h 8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433" h="8517">
                  <a:moveTo>
                    <a:pt x="8433" y="2186"/>
                  </a:moveTo>
                  <a:cubicBezTo>
                    <a:pt x="8433" y="1847"/>
                    <a:pt x="8357" y="1521"/>
                    <a:pt x="8207" y="1217"/>
                  </a:cubicBezTo>
                  <a:cubicBezTo>
                    <a:pt x="8177" y="1155"/>
                    <a:pt x="8101" y="1130"/>
                    <a:pt x="8039" y="1160"/>
                  </a:cubicBezTo>
                  <a:cubicBezTo>
                    <a:pt x="7977" y="1191"/>
                    <a:pt x="7951" y="1267"/>
                    <a:pt x="7982" y="1329"/>
                  </a:cubicBezTo>
                  <a:cubicBezTo>
                    <a:pt x="8115" y="1597"/>
                    <a:pt x="8182" y="1886"/>
                    <a:pt x="8182" y="2186"/>
                  </a:cubicBezTo>
                  <a:cubicBezTo>
                    <a:pt x="8182" y="3253"/>
                    <a:pt x="7314" y="4121"/>
                    <a:pt x="6247" y="4121"/>
                  </a:cubicBezTo>
                  <a:cubicBezTo>
                    <a:pt x="5180" y="4121"/>
                    <a:pt x="4312" y="3253"/>
                    <a:pt x="4312" y="2186"/>
                  </a:cubicBezTo>
                  <a:cubicBezTo>
                    <a:pt x="4312" y="1119"/>
                    <a:pt x="5180" y="251"/>
                    <a:pt x="6247" y="251"/>
                  </a:cubicBezTo>
                  <a:cubicBezTo>
                    <a:pt x="6781" y="251"/>
                    <a:pt x="7297" y="475"/>
                    <a:pt x="7661" y="866"/>
                  </a:cubicBezTo>
                  <a:cubicBezTo>
                    <a:pt x="7709" y="917"/>
                    <a:pt x="7788" y="919"/>
                    <a:pt x="7839" y="872"/>
                  </a:cubicBezTo>
                  <a:cubicBezTo>
                    <a:pt x="7890" y="825"/>
                    <a:pt x="7892" y="745"/>
                    <a:pt x="7845" y="694"/>
                  </a:cubicBezTo>
                  <a:cubicBezTo>
                    <a:pt x="7433" y="253"/>
                    <a:pt x="6851" y="0"/>
                    <a:pt x="6247" y="0"/>
                  </a:cubicBezTo>
                  <a:cubicBezTo>
                    <a:pt x="5332" y="0"/>
                    <a:pt x="4546" y="565"/>
                    <a:pt x="4221" y="1365"/>
                  </a:cubicBezTo>
                  <a:lnTo>
                    <a:pt x="4105" y="1249"/>
                  </a:lnTo>
                  <a:cubicBezTo>
                    <a:pt x="4036" y="1180"/>
                    <a:pt x="3944" y="1142"/>
                    <a:pt x="3846" y="1142"/>
                  </a:cubicBezTo>
                  <a:cubicBezTo>
                    <a:pt x="3747" y="1142"/>
                    <a:pt x="3655" y="1180"/>
                    <a:pt x="3586" y="1250"/>
                  </a:cubicBezTo>
                  <a:lnTo>
                    <a:pt x="3489" y="1347"/>
                  </a:lnTo>
                  <a:cubicBezTo>
                    <a:pt x="3404" y="1305"/>
                    <a:pt x="3316" y="1269"/>
                    <a:pt x="3225" y="1239"/>
                  </a:cubicBezTo>
                  <a:lnTo>
                    <a:pt x="3225" y="1100"/>
                  </a:lnTo>
                  <a:cubicBezTo>
                    <a:pt x="3225" y="898"/>
                    <a:pt x="3060" y="733"/>
                    <a:pt x="2858" y="733"/>
                  </a:cubicBezTo>
                  <a:lnTo>
                    <a:pt x="2217" y="733"/>
                  </a:lnTo>
                  <a:cubicBezTo>
                    <a:pt x="2015" y="733"/>
                    <a:pt x="1850" y="898"/>
                    <a:pt x="1850" y="1100"/>
                  </a:cubicBezTo>
                  <a:lnTo>
                    <a:pt x="1850" y="1251"/>
                  </a:lnTo>
                  <a:cubicBezTo>
                    <a:pt x="1764" y="1281"/>
                    <a:pt x="1680" y="1317"/>
                    <a:pt x="1598" y="1359"/>
                  </a:cubicBezTo>
                  <a:lnTo>
                    <a:pt x="1489" y="1249"/>
                  </a:lnTo>
                  <a:cubicBezTo>
                    <a:pt x="1346" y="1106"/>
                    <a:pt x="1113" y="1106"/>
                    <a:pt x="970" y="1249"/>
                  </a:cubicBezTo>
                  <a:lnTo>
                    <a:pt x="516" y="1703"/>
                  </a:lnTo>
                  <a:cubicBezTo>
                    <a:pt x="447" y="1772"/>
                    <a:pt x="409" y="1864"/>
                    <a:pt x="409" y="1962"/>
                  </a:cubicBezTo>
                  <a:cubicBezTo>
                    <a:pt x="409" y="2061"/>
                    <a:pt x="447" y="2153"/>
                    <a:pt x="516" y="2222"/>
                  </a:cubicBezTo>
                  <a:lnTo>
                    <a:pt x="637" y="2342"/>
                  </a:lnTo>
                  <a:cubicBezTo>
                    <a:pt x="599" y="2421"/>
                    <a:pt x="567" y="2501"/>
                    <a:pt x="540" y="2583"/>
                  </a:cubicBezTo>
                  <a:lnTo>
                    <a:pt x="367" y="2583"/>
                  </a:lnTo>
                  <a:cubicBezTo>
                    <a:pt x="164" y="2583"/>
                    <a:pt x="0" y="2748"/>
                    <a:pt x="0" y="2950"/>
                  </a:cubicBezTo>
                  <a:lnTo>
                    <a:pt x="0" y="3591"/>
                  </a:lnTo>
                  <a:cubicBezTo>
                    <a:pt x="0" y="3794"/>
                    <a:pt x="164" y="3958"/>
                    <a:pt x="367" y="3958"/>
                  </a:cubicBezTo>
                  <a:lnTo>
                    <a:pt x="551" y="3958"/>
                  </a:lnTo>
                  <a:cubicBezTo>
                    <a:pt x="579" y="4037"/>
                    <a:pt x="611" y="4113"/>
                    <a:pt x="648" y="4188"/>
                  </a:cubicBezTo>
                  <a:lnTo>
                    <a:pt x="516" y="4319"/>
                  </a:lnTo>
                  <a:cubicBezTo>
                    <a:pt x="447" y="4388"/>
                    <a:pt x="409" y="4481"/>
                    <a:pt x="409" y="4579"/>
                  </a:cubicBezTo>
                  <a:cubicBezTo>
                    <a:pt x="409" y="4677"/>
                    <a:pt x="447" y="4769"/>
                    <a:pt x="516" y="4839"/>
                  </a:cubicBezTo>
                  <a:lnTo>
                    <a:pt x="970" y="5292"/>
                  </a:lnTo>
                  <a:cubicBezTo>
                    <a:pt x="1113" y="5435"/>
                    <a:pt x="1346" y="5435"/>
                    <a:pt x="1489" y="5292"/>
                  </a:cubicBezTo>
                  <a:lnTo>
                    <a:pt x="1620" y="5160"/>
                  </a:lnTo>
                  <a:cubicBezTo>
                    <a:pt x="1695" y="5197"/>
                    <a:pt x="1771" y="5229"/>
                    <a:pt x="1850" y="5256"/>
                  </a:cubicBezTo>
                  <a:lnTo>
                    <a:pt x="1850" y="5442"/>
                  </a:lnTo>
                  <a:cubicBezTo>
                    <a:pt x="1850" y="5644"/>
                    <a:pt x="2015" y="5808"/>
                    <a:pt x="2217" y="5808"/>
                  </a:cubicBezTo>
                  <a:lnTo>
                    <a:pt x="2338" y="5808"/>
                  </a:lnTo>
                  <a:lnTo>
                    <a:pt x="2324" y="6117"/>
                  </a:lnTo>
                  <a:cubicBezTo>
                    <a:pt x="2320" y="6216"/>
                    <a:pt x="2354" y="6311"/>
                    <a:pt x="2421" y="6385"/>
                  </a:cubicBezTo>
                  <a:cubicBezTo>
                    <a:pt x="2489" y="6459"/>
                    <a:pt x="2581" y="6502"/>
                    <a:pt x="2680" y="6506"/>
                  </a:cubicBezTo>
                  <a:lnTo>
                    <a:pt x="2856" y="6514"/>
                  </a:lnTo>
                  <a:cubicBezTo>
                    <a:pt x="2883" y="6600"/>
                    <a:pt x="2914" y="6685"/>
                    <a:pt x="2951" y="6767"/>
                  </a:cubicBezTo>
                  <a:lnTo>
                    <a:pt x="2818" y="6888"/>
                  </a:lnTo>
                  <a:cubicBezTo>
                    <a:pt x="2744" y="6955"/>
                    <a:pt x="2702" y="7047"/>
                    <a:pt x="2697" y="7147"/>
                  </a:cubicBezTo>
                  <a:cubicBezTo>
                    <a:pt x="2693" y="7247"/>
                    <a:pt x="2727" y="7342"/>
                    <a:pt x="2794" y="7415"/>
                  </a:cubicBezTo>
                  <a:lnTo>
                    <a:pt x="3237" y="7901"/>
                  </a:lnTo>
                  <a:cubicBezTo>
                    <a:pt x="3376" y="8052"/>
                    <a:pt x="3612" y="8063"/>
                    <a:pt x="3764" y="7924"/>
                  </a:cubicBezTo>
                  <a:lnTo>
                    <a:pt x="3906" y="7795"/>
                  </a:lnTo>
                  <a:cubicBezTo>
                    <a:pt x="3981" y="7836"/>
                    <a:pt x="4060" y="7872"/>
                    <a:pt x="4141" y="7904"/>
                  </a:cubicBezTo>
                  <a:lnTo>
                    <a:pt x="4132" y="8097"/>
                  </a:lnTo>
                  <a:cubicBezTo>
                    <a:pt x="4123" y="8302"/>
                    <a:pt x="4283" y="8477"/>
                    <a:pt x="4488" y="8486"/>
                  </a:cubicBezTo>
                  <a:lnTo>
                    <a:pt x="5145" y="8516"/>
                  </a:lnTo>
                  <a:cubicBezTo>
                    <a:pt x="5150" y="8517"/>
                    <a:pt x="5156" y="8517"/>
                    <a:pt x="5162" y="8517"/>
                  </a:cubicBezTo>
                  <a:cubicBezTo>
                    <a:pt x="5255" y="8517"/>
                    <a:pt x="5343" y="8482"/>
                    <a:pt x="5413" y="8419"/>
                  </a:cubicBezTo>
                  <a:cubicBezTo>
                    <a:pt x="5486" y="8351"/>
                    <a:pt x="5529" y="8260"/>
                    <a:pt x="5534" y="8161"/>
                  </a:cubicBezTo>
                  <a:lnTo>
                    <a:pt x="5543" y="7968"/>
                  </a:lnTo>
                  <a:cubicBezTo>
                    <a:pt x="5626" y="7944"/>
                    <a:pt x="5707" y="7915"/>
                    <a:pt x="5787" y="7881"/>
                  </a:cubicBezTo>
                  <a:lnTo>
                    <a:pt x="5916" y="8022"/>
                  </a:lnTo>
                  <a:cubicBezTo>
                    <a:pt x="5983" y="8096"/>
                    <a:pt x="6075" y="8139"/>
                    <a:pt x="6175" y="8143"/>
                  </a:cubicBezTo>
                  <a:cubicBezTo>
                    <a:pt x="6274" y="8148"/>
                    <a:pt x="6369" y="8113"/>
                    <a:pt x="6443" y="8046"/>
                  </a:cubicBezTo>
                  <a:lnTo>
                    <a:pt x="6928" y="7603"/>
                  </a:lnTo>
                  <a:cubicBezTo>
                    <a:pt x="7002" y="7536"/>
                    <a:pt x="7045" y="7444"/>
                    <a:pt x="7049" y="7345"/>
                  </a:cubicBezTo>
                  <a:cubicBezTo>
                    <a:pt x="7054" y="7245"/>
                    <a:pt x="7019" y="7150"/>
                    <a:pt x="6952" y="7076"/>
                  </a:cubicBezTo>
                  <a:lnTo>
                    <a:pt x="6831" y="6944"/>
                  </a:lnTo>
                  <a:cubicBezTo>
                    <a:pt x="6875" y="6865"/>
                    <a:pt x="6914" y="6783"/>
                    <a:pt x="6948" y="6700"/>
                  </a:cubicBezTo>
                  <a:lnTo>
                    <a:pt x="7124" y="6708"/>
                  </a:lnTo>
                  <a:cubicBezTo>
                    <a:pt x="7223" y="6713"/>
                    <a:pt x="7319" y="6678"/>
                    <a:pt x="7392" y="6611"/>
                  </a:cubicBezTo>
                  <a:cubicBezTo>
                    <a:pt x="7466" y="6544"/>
                    <a:pt x="7509" y="6452"/>
                    <a:pt x="7514" y="6353"/>
                  </a:cubicBezTo>
                  <a:lnTo>
                    <a:pt x="7544" y="5696"/>
                  </a:lnTo>
                  <a:cubicBezTo>
                    <a:pt x="7553" y="5490"/>
                    <a:pt x="7394" y="5316"/>
                    <a:pt x="7188" y="5307"/>
                  </a:cubicBezTo>
                  <a:lnTo>
                    <a:pt x="7028" y="5299"/>
                  </a:lnTo>
                  <a:cubicBezTo>
                    <a:pt x="7003" y="5207"/>
                    <a:pt x="6971" y="5117"/>
                    <a:pt x="6934" y="5030"/>
                  </a:cubicBezTo>
                  <a:lnTo>
                    <a:pt x="7050" y="4924"/>
                  </a:lnTo>
                  <a:cubicBezTo>
                    <a:pt x="7202" y="4786"/>
                    <a:pt x="7212" y="4549"/>
                    <a:pt x="7074" y="4397"/>
                  </a:cubicBezTo>
                  <a:lnTo>
                    <a:pt x="6946" y="4258"/>
                  </a:lnTo>
                  <a:cubicBezTo>
                    <a:pt x="7810" y="3965"/>
                    <a:pt x="8433" y="3147"/>
                    <a:pt x="8433" y="2186"/>
                  </a:cubicBezTo>
                  <a:close/>
                  <a:moveTo>
                    <a:pt x="2354" y="5460"/>
                  </a:moveTo>
                  <a:lnTo>
                    <a:pt x="2350" y="5557"/>
                  </a:lnTo>
                  <a:lnTo>
                    <a:pt x="2217" y="5557"/>
                  </a:lnTo>
                  <a:cubicBezTo>
                    <a:pt x="2154" y="5557"/>
                    <a:pt x="2101" y="5504"/>
                    <a:pt x="2101" y="5442"/>
                  </a:cubicBezTo>
                  <a:lnTo>
                    <a:pt x="2101" y="5165"/>
                  </a:lnTo>
                  <a:cubicBezTo>
                    <a:pt x="2101" y="5110"/>
                    <a:pt x="2065" y="5061"/>
                    <a:pt x="2012" y="5045"/>
                  </a:cubicBezTo>
                  <a:cubicBezTo>
                    <a:pt x="1889" y="5008"/>
                    <a:pt x="1769" y="4958"/>
                    <a:pt x="1657" y="4896"/>
                  </a:cubicBezTo>
                  <a:cubicBezTo>
                    <a:pt x="1608" y="4869"/>
                    <a:pt x="1547" y="4878"/>
                    <a:pt x="1507" y="4917"/>
                  </a:cubicBezTo>
                  <a:lnTo>
                    <a:pt x="1311" y="5114"/>
                  </a:lnTo>
                  <a:cubicBezTo>
                    <a:pt x="1266" y="5159"/>
                    <a:pt x="1193" y="5159"/>
                    <a:pt x="1147" y="5114"/>
                  </a:cubicBezTo>
                  <a:lnTo>
                    <a:pt x="694" y="4661"/>
                  </a:lnTo>
                  <a:cubicBezTo>
                    <a:pt x="672" y="4639"/>
                    <a:pt x="660" y="4610"/>
                    <a:pt x="660" y="4579"/>
                  </a:cubicBezTo>
                  <a:cubicBezTo>
                    <a:pt x="660" y="4548"/>
                    <a:pt x="672" y="4519"/>
                    <a:pt x="694" y="4497"/>
                  </a:cubicBezTo>
                  <a:lnTo>
                    <a:pt x="890" y="4300"/>
                  </a:lnTo>
                  <a:cubicBezTo>
                    <a:pt x="930" y="4261"/>
                    <a:pt x="939" y="4200"/>
                    <a:pt x="912" y="4151"/>
                  </a:cubicBezTo>
                  <a:cubicBezTo>
                    <a:pt x="851" y="4039"/>
                    <a:pt x="800" y="3920"/>
                    <a:pt x="763" y="3796"/>
                  </a:cubicBezTo>
                  <a:cubicBezTo>
                    <a:pt x="747" y="3743"/>
                    <a:pt x="698" y="3707"/>
                    <a:pt x="643" y="3707"/>
                  </a:cubicBezTo>
                  <a:lnTo>
                    <a:pt x="367" y="3707"/>
                  </a:lnTo>
                  <a:cubicBezTo>
                    <a:pt x="303" y="3707"/>
                    <a:pt x="251" y="3655"/>
                    <a:pt x="251" y="3591"/>
                  </a:cubicBezTo>
                  <a:lnTo>
                    <a:pt x="251" y="2950"/>
                  </a:lnTo>
                  <a:cubicBezTo>
                    <a:pt x="251" y="2886"/>
                    <a:pt x="303" y="2835"/>
                    <a:pt x="367" y="2835"/>
                  </a:cubicBezTo>
                  <a:lnTo>
                    <a:pt x="633" y="2835"/>
                  </a:lnTo>
                  <a:cubicBezTo>
                    <a:pt x="689" y="2835"/>
                    <a:pt x="738" y="2797"/>
                    <a:pt x="754" y="2743"/>
                  </a:cubicBezTo>
                  <a:cubicBezTo>
                    <a:pt x="789" y="2617"/>
                    <a:pt x="839" y="2494"/>
                    <a:pt x="901" y="2377"/>
                  </a:cubicBezTo>
                  <a:cubicBezTo>
                    <a:pt x="927" y="2328"/>
                    <a:pt x="918" y="2268"/>
                    <a:pt x="879" y="2229"/>
                  </a:cubicBezTo>
                  <a:lnTo>
                    <a:pt x="694" y="2044"/>
                  </a:lnTo>
                  <a:cubicBezTo>
                    <a:pt x="672" y="2022"/>
                    <a:pt x="660" y="1993"/>
                    <a:pt x="660" y="1962"/>
                  </a:cubicBezTo>
                  <a:cubicBezTo>
                    <a:pt x="660" y="1931"/>
                    <a:pt x="672" y="1902"/>
                    <a:pt x="694" y="1881"/>
                  </a:cubicBezTo>
                  <a:lnTo>
                    <a:pt x="1148" y="1427"/>
                  </a:lnTo>
                  <a:cubicBezTo>
                    <a:pt x="1192" y="1382"/>
                    <a:pt x="1266" y="1382"/>
                    <a:pt x="1311" y="1427"/>
                  </a:cubicBezTo>
                  <a:lnTo>
                    <a:pt x="1486" y="1602"/>
                  </a:lnTo>
                  <a:cubicBezTo>
                    <a:pt x="1526" y="1642"/>
                    <a:pt x="1587" y="1650"/>
                    <a:pt x="1636" y="1623"/>
                  </a:cubicBezTo>
                  <a:cubicBezTo>
                    <a:pt x="1757" y="1555"/>
                    <a:pt x="1883" y="1501"/>
                    <a:pt x="2012" y="1463"/>
                  </a:cubicBezTo>
                  <a:cubicBezTo>
                    <a:pt x="2065" y="1447"/>
                    <a:pt x="2101" y="1398"/>
                    <a:pt x="2101" y="1342"/>
                  </a:cubicBezTo>
                  <a:lnTo>
                    <a:pt x="2101" y="1100"/>
                  </a:lnTo>
                  <a:cubicBezTo>
                    <a:pt x="2101" y="1036"/>
                    <a:pt x="2153" y="985"/>
                    <a:pt x="2217" y="985"/>
                  </a:cubicBezTo>
                  <a:lnTo>
                    <a:pt x="2858" y="985"/>
                  </a:lnTo>
                  <a:cubicBezTo>
                    <a:pt x="2921" y="985"/>
                    <a:pt x="2974" y="1037"/>
                    <a:pt x="2974" y="1100"/>
                  </a:cubicBezTo>
                  <a:lnTo>
                    <a:pt x="2974" y="1332"/>
                  </a:lnTo>
                  <a:cubicBezTo>
                    <a:pt x="2974" y="1388"/>
                    <a:pt x="3011" y="1437"/>
                    <a:pt x="3065" y="1453"/>
                  </a:cubicBezTo>
                  <a:cubicBezTo>
                    <a:pt x="3201" y="1491"/>
                    <a:pt x="3331" y="1545"/>
                    <a:pt x="3452" y="1611"/>
                  </a:cubicBezTo>
                  <a:cubicBezTo>
                    <a:pt x="3501" y="1638"/>
                    <a:pt x="3562" y="1630"/>
                    <a:pt x="3602" y="1590"/>
                  </a:cubicBezTo>
                  <a:lnTo>
                    <a:pt x="3764" y="1427"/>
                  </a:lnTo>
                  <a:cubicBezTo>
                    <a:pt x="3785" y="1406"/>
                    <a:pt x="3814" y="1394"/>
                    <a:pt x="3846" y="1394"/>
                  </a:cubicBezTo>
                  <a:cubicBezTo>
                    <a:pt x="3877" y="1394"/>
                    <a:pt x="3906" y="1406"/>
                    <a:pt x="3927" y="1427"/>
                  </a:cubicBezTo>
                  <a:lnTo>
                    <a:pt x="4132" y="1632"/>
                  </a:lnTo>
                  <a:cubicBezTo>
                    <a:pt x="4085" y="1809"/>
                    <a:pt x="4060" y="1995"/>
                    <a:pt x="4060" y="2186"/>
                  </a:cubicBezTo>
                  <a:cubicBezTo>
                    <a:pt x="4060" y="2640"/>
                    <a:pt x="4200" y="3062"/>
                    <a:pt x="4437" y="3412"/>
                  </a:cubicBezTo>
                  <a:cubicBezTo>
                    <a:pt x="4376" y="3476"/>
                    <a:pt x="4338" y="3561"/>
                    <a:pt x="4334" y="3653"/>
                  </a:cubicBezTo>
                  <a:lnTo>
                    <a:pt x="4328" y="3795"/>
                  </a:lnTo>
                  <a:cubicBezTo>
                    <a:pt x="4232" y="3823"/>
                    <a:pt x="4139" y="3857"/>
                    <a:pt x="4049" y="3897"/>
                  </a:cubicBezTo>
                  <a:lnTo>
                    <a:pt x="3952" y="3791"/>
                  </a:lnTo>
                  <a:cubicBezTo>
                    <a:pt x="3911" y="3746"/>
                    <a:pt x="3861" y="3713"/>
                    <a:pt x="3806" y="3692"/>
                  </a:cubicBezTo>
                  <a:cubicBezTo>
                    <a:pt x="3851" y="3557"/>
                    <a:pt x="3874" y="3416"/>
                    <a:pt x="3874" y="3271"/>
                  </a:cubicBezTo>
                  <a:cubicBezTo>
                    <a:pt x="3874" y="2534"/>
                    <a:pt x="3274" y="1934"/>
                    <a:pt x="2537" y="1934"/>
                  </a:cubicBezTo>
                  <a:cubicBezTo>
                    <a:pt x="1800" y="1934"/>
                    <a:pt x="1201" y="2534"/>
                    <a:pt x="1201" y="3271"/>
                  </a:cubicBezTo>
                  <a:cubicBezTo>
                    <a:pt x="1201" y="4007"/>
                    <a:pt x="1800" y="4607"/>
                    <a:pt x="2537" y="4607"/>
                  </a:cubicBezTo>
                  <a:cubicBezTo>
                    <a:pt x="2636" y="4607"/>
                    <a:pt x="2734" y="4596"/>
                    <a:pt x="2830" y="4575"/>
                  </a:cubicBezTo>
                  <a:cubicBezTo>
                    <a:pt x="2844" y="4635"/>
                    <a:pt x="2874" y="4690"/>
                    <a:pt x="2916" y="4736"/>
                  </a:cubicBezTo>
                  <a:lnTo>
                    <a:pt x="3022" y="4852"/>
                  </a:lnTo>
                  <a:cubicBezTo>
                    <a:pt x="2976" y="4936"/>
                    <a:pt x="2937" y="5023"/>
                    <a:pt x="2903" y="5112"/>
                  </a:cubicBezTo>
                  <a:lnTo>
                    <a:pt x="2743" y="5104"/>
                  </a:lnTo>
                  <a:cubicBezTo>
                    <a:pt x="2644" y="5100"/>
                    <a:pt x="2549" y="5135"/>
                    <a:pt x="2475" y="5202"/>
                  </a:cubicBezTo>
                  <a:cubicBezTo>
                    <a:pt x="2401" y="5269"/>
                    <a:pt x="2358" y="5361"/>
                    <a:pt x="2354" y="5460"/>
                  </a:cubicBezTo>
                  <a:close/>
                  <a:moveTo>
                    <a:pt x="3622" y="3271"/>
                  </a:moveTo>
                  <a:cubicBezTo>
                    <a:pt x="3622" y="3419"/>
                    <a:pt x="3593" y="3563"/>
                    <a:pt x="3535" y="3697"/>
                  </a:cubicBezTo>
                  <a:cubicBezTo>
                    <a:pt x="3495" y="3714"/>
                    <a:pt x="3458" y="3737"/>
                    <a:pt x="3425" y="3766"/>
                  </a:cubicBezTo>
                  <a:lnTo>
                    <a:pt x="2940" y="4210"/>
                  </a:lnTo>
                  <a:cubicBezTo>
                    <a:pt x="2909" y="4238"/>
                    <a:pt x="2884" y="4270"/>
                    <a:pt x="2865" y="4305"/>
                  </a:cubicBezTo>
                  <a:cubicBezTo>
                    <a:pt x="2759" y="4339"/>
                    <a:pt x="2649" y="4356"/>
                    <a:pt x="2537" y="4356"/>
                  </a:cubicBezTo>
                  <a:cubicBezTo>
                    <a:pt x="1939" y="4356"/>
                    <a:pt x="1452" y="3869"/>
                    <a:pt x="1452" y="3271"/>
                  </a:cubicBezTo>
                  <a:cubicBezTo>
                    <a:pt x="1452" y="2672"/>
                    <a:pt x="1939" y="2186"/>
                    <a:pt x="2537" y="2186"/>
                  </a:cubicBezTo>
                  <a:cubicBezTo>
                    <a:pt x="3136" y="2186"/>
                    <a:pt x="3622" y="2672"/>
                    <a:pt x="3622" y="3271"/>
                  </a:cubicBezTo>
                  <a:close/>
                  <a:moveTo>
                    <a:pt x="7177" y="5558"/>
                  </a:moveTo>
                  <a:cubicBezTo>
                    <a:pt x="7243" y="5561"/>
                    <a:pt x="7296" y="5619"/>
                    <a:pt x="7293" y="5684"/>
                  </a:cubicBezTo>
                  <a:lnTo>
                    <a:pt x="7263" y="6341"/>
                  </a:lnTo>
                  <a:cubicBezTo>
                    <a:pt x="7261" y="6373"/>
                    <a:pt x="7247" y="6403"/>
                    <a:pt x="7223" y="6425"/>
                  </a:cubicBezTo>
                  <a:cubicBezTo>
                    <a:pt x="7199" y="6447"/>
                    <a:pt x="7168" y="6458"/>
                    <a:pt x="7136" y="6457"/>
                  </a:cubicBezTo>
                  <a:lnTo>
                    <a:pt x="6869" y="6445"/>
                  </a:lnTo>
                  <a:cubicBezTo>
                    <a:pt x="6813" y="6442"/>
                    <a:pt x="6763" y="6476"/>
                    <a:pt x="6744" y="6528"/>
                  </a:cubicBezTo>
                  <a:cubicBezTo>
                    <a:pt x="6699" y="6655"/>
                    <a:pt x="6640" y="6778"/>
                    <a:pt x="6569" y="6894"/>
                  </a:cubicBezTo>
                  <a:cubicBezTo>
                    <a:pt x="6539" y="6942"/>
                    <a:pt x="6545" y="7003"/>
                    <a:pt x="6583" y="7045"/>
                  </a:cubicBezTo>
                  <a:lnTo>
                    <a:pt x="6766" y="7245"/>
                  </a:lnTo>
                  <a:cubicBezTo>
                    <a:pt x="6788" y="7269"/>
                    <a:pt x="6799" y="7301"/>
                    <a:pt x="6798" y="7333"/>
                  </a:cubicBezTo>
                  <a:cubicBezTo>
                    <a:pt x="6796" y="7366"/>
                    <a:pt x="6783" y="7396"/>
                    <a:pt x="6759" y="7417"/>
                  </a:cubicBezTo>
                  <a:lnTo>
                    <a:pt x="6273" y="7861"/>
                  </a:lnTo>
                  <a:cubicBezTo>
                    <a:pt x="6250" y="7882"/>
                    <a:pt x="6218" y="7893"/>
                    <a:pt x="6186" y="7892"/>
                  </a:cubicBezTo>
                  <a:cubicBezTo>
                    <a:pt x="6153" y="7890"/>
                    <a:pt x="6124" y="7877"/>
                    <a:pt x="6102" y="7853"/>
                  </a:cubicBezTo>
                  <a:lnTo>
                    <a:pt x="5911" y="7644"/>
                  </a:lnTo>
                  <a:cubicBezTo>
                    <a:pt x="5874" y="7603"/>
                    <a:pt x="5814" y="7591"/>
                    <a:pt x="5764" y="7615"/>
                  </a:cubicBezTo>
                  <a:cubicBezTo>
                    <a:pt x="5645" y="7672"/>
                    <a:pt x="5519" y="7717"/>
                    <a:pt x="5392" y="7748"/>
                  </a:cubicBezTo>
                  <a:cubicBezTo>
                    <a:pt x="5337" y="7761"/>
                    <a:pt x="5298" y="7808"/>
                    <a:pt x="5296" y="7864"/>
                  </a:cubicBezTo>
                  <a:lnTo>
                    <a:pt x="5283" y="8149"/>
                  </a:lnTo>
                  <a:cubicBezTo>
                    <a:pt x="5281" y="8181"/>
                    <a:pt x="5267" y="8211"/>
                    <a:pt x="5243" y="8233"/>
                  </a:cubicBezTo>
                  <a:cubicBezTo>
                    <a:pt x="5219" y="8255"/>
                    <a:pt x="5188" y="8267"/>
                    <a:pt x="5156" y="8265"/>
                  </a:cubicBezTo>
                  <a:lnTo>
                    <a:pt x="4499" y="8235"/>
                  </a:lnTo>
                  <a:cubicBezTo>
                    <a:pt x="4433" y="8232"/>
                    <a:pt x="4381" y="8174"/>
                    <a:pt x="4383" y="8108"/>
                  </a:cubicBezTo>
                  <a:lnTo>
                    <a:pt x="4396" y="7824"/>
                  </a:lnTo>
                  <a:cubicBezTo>
                    <a:pt x="4399" y="7768"/>
                    <a:pt x="4364" y="7717"/>
                    <a:pt x="4312" y="7699"/>
                  </a:cubicBezTo>
                  <a:cubicBezTo>
                    <a:pt x="4184" y="7655"/>
                    <a:pt x="4064" y="7599"/>
                    <a:pt x="3953" y="7533"/>
                  </a:cubicBezTo>
                  <a:cubicBezTo>
                    <a:pt x="3905" y="7504"/>
                    <a:pt x="3844" y="7510"/>
                    <a:pt x="3803" y="7548"/>
                  </a:cubicBezTo>
                  <a:lnTo>
                    <a:pt x="3595" y="7739"/>
                  </a:lnTo>
                  <a:cubicBezTo>
                    <a:pt x="3545" y="7784"/>
                    <a:pt x="3468" y="7780"/>
                    <a:pt x="3423" y="7731"/>
                  </a:cubicBezTo>
                  <a:lnTo>
                    <a:pt x="2980" y="7246"/>
                  </a:lnTo>
                  <a:cubicBezTo>
                    <a:pt x="2958" y="7222"/>
                    <a:pt x="2947" y="7191"/>
                    <a:pt x="2948" y="7158"/>
                  </a:cubicBezTo>
                  <a:cubicBezTo>
                    <a:pt x="2950" y="7126"/>
                    <a:pt x="2964" y="7096"/>
                    <a:pt x="2987" y="7074"/>
                  </a:cubicBezTo>
                  <a:lnTo>
                    <a:pt x="3189" y="6891"/>
                  </a:lnTo>
                  <a:cubicBezTo>
                    <a:pt x="3230" y="6853"/>
                    <a:pt x="3241" y="6792"/>
                    <a:pt x="3216" y="6742"/>
                  </a:cubicBezTo>
                  <a:cubicBezTo>
                    <a:pt x="3156" y="6621"/>
                    <a:pt x="3108" y="6493"/>
                    <a:pt x="3075" y="6361"/>
                  </a:cubicBezTo>
                  <a:cubicBezTo>
                    <a:pt x="3061" y="6308"/>
                    <a:pt x="3014" y="6270"/>
                    <a:pt x="2959" y="6267"/>
                  </a:cubicBezTo>
                  <a:lnTo>
                    <a:pt x="2691" y="6255"/>
                  </a:lnTo>
                  <a:cubicBezTo>
                    <a:pt x="2659" y="6254"/>
                    <a:pt x="2629" y="6240"/>
                    <a:pt x="2607" y="6215"/>
                  </a:cubicBezTo>
                  <a:cubicBezTo>
                    <a:pt x="2585" y="6191"/>
                    <a:pt x="2574" y="6160"/>
                    <a:pt x="2575" y="6128"/>
                  </a:cubicBezTo>
                  <a:lnTo>
                    <a:pt x="2605" y="5472"/>
                  </a:lnTo>
                  <a:cubicBezTo>
                    <a:pt x="2607" y="5439"/>
                    <a:pt x="2621" y="5409"/>
                    <a:pt x="2645" y="5387"/>
                  </a:cubicBezTo>
                  <a:cubicBezTo>
                    <a:pt x="2669" y="5365"/>
                    <a:pt x="2700" y="5354"/>
                    <a:pt x="2732" y="5355"/>
                  </a:cubicBezTo>
                  <a:lnTo>
                    <a:pt x="2985" y="5367"/>
                  </a:lnTo>
                  <a:cubicBezTo>
                    <a:pt x="3041" y="5370"/>
                    <a:pt x="3093" y="5334"/>
                    <a:pt x="3110" y="5281"/>
                  </a:cubicBezTo>
                  <a:cubicBezTo>
                    <a:pt x="3154" y="5148"/>
                    <a:pt x="3212" y="5020"/>
                    <a:pt x="3284" y="4899"/>
                  </a:cubicBezTo>
                  <a:cubicBezTo>
                    <a:pt x="3312" y="4852"/>
                    <a:pt x="3306" y="4791"/>
                    <a:pt x="3269" y="4750"/>
                  </a:cubicBezTo>
                  <a:lnTo>
                    <a:pt x="3102" y="4567"/>
                  </a:lnTo>
                  <a:cubicBezTo>
                    <a:pt x="3080" y="4543"/>
                    <a:pt x="3069" y="4512"/>
                    <a:pt x="3070" y="4479"/>
                  </a:cubicBezTo>
                  <a:cubicBezTo>
                    <a:pt x="3072" y="4447"/>
                    <a:pt x="3086" y="4417"/>
                    <a:pt x="3109" y="4395"/>
                  </a:cubicBezTo>
                  <a:lnTo>
                    <a:pt x="3595" y="3952"/>
                  </a:lnTo>
                  <a:cubicBezTo>
                    <a:pt x="3619" y="3930"/>
                    <a:pt x="3650" y="3919"/>
                    <a:pt x="3682" y="3921"/>
                  </a:cubicBezTo>
                  <a:cubicBezTo>
                    <a:pt x="3715" y="3922"/>
                    <a:pt x="3745" y="3936"/>
                    <a:pt x="3766" y="3960"/>
                  </a:cubicBezTo>
                  <a:lnTo>
                    <a:pt x="3926" y="4135"/>
                  </a:lnTo>
                  <a:cubicBezTo>
                    <a:pt x="3964" y="4177"/>
                    <a:pt x="4025" y="4188"/>
                    <a:pt x="4076" y="4163"/>
                  </a:cubicBezTo>
                  <a:cubicBezTo>
                    <a:pt x="4202" y="4100"/>
                    <a:pt x="4338" y="4050"/>
                    <a:pt x="4479" y="4015"/>
                  </a:cubicBezTo>
                  <a:cubicBezTo>
                    <a:pt x="4533" y="4002"/>
                    <a:pt x="4572" y="3954"/>
                    <a:pt x="4575" y="3899"/>
                  </a:cubicBezTo>
                  <a:lnTo>
                    <a:pt x="4585" y="3664"/>
                  </a:lnTo>
                  <a:cubicBezTo>
                    <a:pt x="4586" y="3648"/>
                    <a:pt x="4590" y="3633"/>
                    <a:pt x="4597" y="3619"/>
                  </a:cubicBezTo>
                  <a:cubicBezTo>
                    <a:pt x="4998" y="4080"/>
                    <a:pt x="5589" y="4372"/>
                    <a:pt x="6247" y="4372"/>
                  </a:cubicBezTo>
                  <a:cubicBezTo>
                    <a:pt x="6383" y="4372"/>
                    <a:pt x="6517" y="4360"/>
                    <a:pt x="6646" y="4336"/>
                  </a:cubicBezTo>
                  <a:cubicBezTo>
                    <a:pt x="6655" y="4334"/>
                    <a:pt x="6664" y="4333"/>
                    <a:pt x="6673" y="4331"/>
                  </a:cubicBezTo>
                  <a:lnTo>
                    <a:pt x="6888" y="4567"/>
                  </a:lnTo>
                  <a:cubicBezTo>
                    <a:pt x="6933" y="4616"/>
                    <a:pt x="6930" y="4694"/>
                    <a:pt x="6880" y="4739"/>
                  </a:cubicBezTo>
                  <a:lnTo>
                    <a:pt x="6697" y="4906"/>
                  </a:lnTo>
                  <a:cubicBezTo>
                    <a:pt x="6656" y="4943"/>
                    <a:pt x="6645" y="5003"/>
                    <a:pt x="6669" y="5053"/>
                  </a:cubicBezTo>
                  <a:cubicBezTo>
                    <a:pt x="6729" y="5178"/>
                    <a:pt x="6775" y="5311"/>
                    <a:pt x="6807" y="5449"/>
                  </a:cubicBezTo>
                  <a:cubicBezTo>
                    <a:pt x="6820" y="5504"/>
                    <a:pt x="6867" y="5544"/>
                    <a:pt x="6924" y="5547"/>
                  </a:cubicBezTo>
                  <a:lnTo>
                    <a:pt x="7177" y="5558"/>
                  </a:lnTo>
                  <a:close/>
                  <a:moveTo>
                    <a:pt x="7177" y="555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83">
              <a:extLst>
                <a:ext uri="{FF2B5EF4-FFF2-40B4-BE49-F238E27FC236}">
                  <a16:creationId xmlns:a16="http://schemas.microsoft.com/office/drawing/2014/main" id="{2822706B-5C7B-4689-9139-F651F5D397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4" y="3538"/>
              <a:ext cx="50" cy="50"/>
            </a:xfrm>
            <a:custGeom>
              <a:avLst/>
              <a:gdLst>
                <a:gd name="T0" fmla="*/ 287 w 1507"/>
                <a:gd name="T1" fmla="*/ 174 h 1506"/>
                <a:gd name="T2" fmla="*/ 281 w 1507"/>
                <a:gd name="T3" fmla="*/ 179 h 1506"/>
                <a:gd name="T4" fmla="*/ 273 w 1507"/>
                <a:gd name="T5" fmla="*/ 186 h 1506"/>
                <a:gd name="T6" fmla="*/ 253 w 1507"/>
                <a:gd name="T7" fmla="*/ 204 h 1506"/>
                <a:gd name="T8" fmla="*/ 226 w 1507"/>
                <a:gd name="T9" fmla="*/ 230 h 1506"/>
                <a:gd name="T10" fmla="*/ 218 w 1507"/>
                <a:gd name="T11" fmla="*/ 237 h 1506"/>
                <a:gd name="T12" fmla="*/ 200 w 1507"/>
                <a:gd name="T13" fmla="*/ 257 h 1506"/>
                <a:gd name="T14" fmla="*/ 179 w 1507"/>
                <a:gd name="T15" fmla="*/ 281 h 1506"/>
                <a:gd name="T16" fmla="*/ 176 w 1507"/>
                <a:gd name="T17" fmla="*/ 285 h 1506"/>
                <a:gd name="T18" fmla="*/ 156 w 1507"/>
                <a:gd name="T19" fmla="*/ 311 h 1506"/>
                <a:gd name="T20" fmla="*/ 154 w 1507"/>
                <a:gd name="T21" fmla="*/ 314 h 1506"/>
                <a:gd name="T22" fmla="*/ 137 w 1507"/>
                <a:gd name="T23" fmla="*/ 337 h 1506"/>
                <a:gd name="T24" fmla="*/ 133 w 1507"/>
                <a:gd name="T25" fmla="*/ 344 h 1506"/>
                <a:gd name="T26" fmla="*/ 118 w 1507"/>
                <a:gd name="T27" fmla="*/ 366 h 1506"/>
                <a:gd name="T28" fmla="*/ 113 w 1507"/>
                <a:gd name="T29" fmla="*/ 375 h 1506"/>
                <a:gd name="T30" fmla="*/ 42 w 1507"/>
                <a:gd name="T31" fmla="*/ 535 h 1506"/>
                <a:gd name="T32" fmla="*/ 40 w 1507"/>
                <a:gd name="T33" fmla="*/ 541 h 1506"/>
                <a:gd name="T34" fmla="*/ 16 w 1507"/>
                <a:gd name="T35" fmla="*/ 648 h 1506"/>
                <a:gd name="T36" fmla="*/ 16 w 1507"/>
                <a:gd name="T37" fmla="*/ 649 h 1506"/>
                <a:gd name="T38" fmla="*/ 14 w 1507"/>
                <a:gd name="T39" fmla="*/ 665 h 1506"/>
                <a:gd name="T40" fmla="*/ 9 w 1507"/>
                <a:gd name="T41" fmla="*/ 723 h 1506"/>
                <a:gd name="T42" fmla="*/ 204 w 1507"/>
                <a:gd name="T43" fmla="*/ 1262 h 1506"/>
                <a:gd name="T44" fmla="*/ 759 w 1507"/>
                <a:gd name="T45" fmla="*/ 1506 h 1506"/>
                <a:gd name="T46" fmla="*/ 1263 w 1507"/>
                <a:gd name="T47" fmla="*/ 1311 h 1506"/>
                <a:gd name="T48" fmla="*/ 1291 w 1507"/>
                <a:gd name="T49" fmla="*/ 1284 h 1506"/>
                <a:gd name="T50" fmla="*/ 1507 w 1507"/>
                <a:gd name="T51" fmla="*/ 755 h 1506"/>
                <a:gd name="T52" fmla="*/ 1402 w 1507"/>
                <a:gd name="T53" fmla="*/ 374 h 1506"/>
                <a:gd name="T54" fmla="*/ 1311 w 1507"/>
                <a:gd name="T55" fmla="*/ 252 h 1506"/>
                <a:gd name="T56" fmla="*/ 792 w 1507"/>
                <a:gd name="T57" fmla="*/ 9 h 1506"/>
                <a:gd name="T58" fmla="*/ 287 w 1507"/>
                <a:gd name="T59" fmla="*/ 174 h 1506"/>
                <a:gd name="T60" fmla="*/ 1126 w 1507"/>
                <a:gd name="T61" fmla="*/ 421 h 1506"/>
                <a:gd name="T62" fmla="*/ 1094 w 1507"/>
                <a:gd name="T63" fmla="*/ 1125 h 1506"/>
                <a:gd name="T64" fmla="*/ 390 w 1507"/>
                <a:gd name="T65" fmla="*/ 1093 h 1506"/>
                <a:gd name="T66" fmla="*/ 261 w 1507"/>
                <a:gd name="T67" fmla="*/ 784 h 1506"/>
                <a:gd name="T68" fmla="*/ 260 w 1507"/>
                <a:gd name="T69" fmla="*/ 735 h 1506"/>
                <a:gd name="T70" fmla="*/ 422 w 1507"/>
                <a:gd name="T71" fmla="*/ 390 h 1506"/>
                <a:gd name="T72" fmla="*/ 422 w 1507"/>
                <a:gd name="T73" fmla="*/ 390 h 1506"/>
                <a:gd name="T74" fmla="*/ 758 w 1507"/>
                <a:gd name="T75" fmla="*/ 259 h 1506"/>
                <a:gd name="T76" fmla="*/ 781 w 1507"/>
                <a:gd name="T77" fmla="*/ 260 h 1506"/>
                <a:gd name="T78" fmla="*/ 1126 w 1507"/>
                <a:gd name="T79" fmla="*/ 421 h 1506"/>
                <a:gd name="T80" fmla="*/ 1126 w 1507"/>
                <a:gd name="T81" fmla="*/ 421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7" h="1506">
                  <a:moveTo>
                    <a:pt x="287" y="174"/>
                  </a:moveTo>
                  <a:cubicBezTo>
                    <a:pt x="285" y="176"/>
                    <a:pt x="283" y="178"/>
                    <a:pt x="281" y="179"/>
                  </a:cubicBezTo>
                  <a:cubicBezTo>
                    <a:pt x="278" y="182"/>
                    <a:pt x="276" y="184"/>
                    <a:pt x="273" y="186"/>
                  </a:cubicBezTo>
                  <a:cubicBezTo>
                    <a:pt x="266" y="192"/>
                    <a:pt x="260" y="198"/>
                    <a:pt x="253" y="204"/>
                  </a:cubicBezTo>
                  <a:cubicBezTo>
                    <a:pt x="244" y="212"/>
                    <a:pt x="235" y="221"/>
                    <a:pt x="226" y="230"/>
                  </a:cubicBezTo>
                  <a:cubicBezTo>
                    <a:pt x="223" y="232"/>
                    <a:pt x="221" y="235"/>
                    <a:pt x="218" y="237"/>
                  </a:cubicBezTo>
                  <a:cubicBezTo>
                    <a:pt x="212" y="244"/>
                    <a:pt x="206" y="250"/>
                    <a:pt x="200" y="257"/>
                  </a:cubicBezTo>
                  <a:cubicBezTo>
                    <a:pt x="193" y="265"/>
                    <a:pt x="186" y="273"/>
                    <a:pt x="179" y="281"/>
                  </a:cubicBezTo>
                  <a:cubicBezTo>
                    <a:pt x="178" y="282"/>
                    <a:pt x="177" y="283"/>
                    <a:pt x="176" y="285"/>
                  </a:cubicBezTo>
                  <a:cubicBezTo>
                    <a:pt x="169" y="293"/>
                    <a:pt x="162" y="302"/>
                    <a:pt x="156" y="311"/>
                  </a:cubicBezTo>
                  <a:cubicBezTo>
                    <a:pt x="155" y="312"/>
                    <a:pt x="154" y="313"/>
                    <a:pt x="154" y="314"/>
                  </a:cubicBezTo>
                  <a:cubicBezTo>
                    <a:pt x="148" y="322"/>
                    <a:pt x="143" y="329"/>
                    <a:pt x="137" y="337"/>
                  </a:cubicBezTo>
                  <a:cubicBezTo>
                    <a:pt x="136" y="339"/>
                    <a:pt x="134" y="342"/>
                    <a:pt x="133" y="344"/>
                  </a:cubicBezTo>
                  <a:cubicBezTo>
                    <a:pt x="128" y="351"/>
                    <a:pt x="123" y="359"/>
                    <a:pt x="118" y="366"/>
                  </a:cubicBezTo>
                  <a:cubicBezTo>
                    <a:pt x="117" y="369"/>
                    <a:pt x="115" y="372"/>
                    <a:pt x="113" y="375"/>
                  </a:cubicBezTo>
                  <a:cubicBezTo>
                    <a:pt x="83" y="425"/>
                    <a:pt x="59" y="479"/>
                    <a:pt x="42" y="535"/>
                  </a:cubicBezTo>
                  <a:cubicBezTo>
                    <a:pt x="41" y="537"/>
                    <a:pt x="41" y="539"/>
                    <a:pt x="40" y="541"/>
                  </a:cubicBezTo>
                  <a:cubicBezTo>
                    <a:pt x="30" y="576"/>
                    <a:pt x="22" y="612"/>
                    <a:pt x="16" y="648"/>
                  </a:cubicBezTo>
                  <a:cubicBezTo>
                    <a:pt x="16" y="648"/>
                    <a:pt x="16" y="649"/>
                    <a:pt x="16" y="649"/>
                  </a:cubicBezTo>
                  <a:cubicBezTo>
                    <a:pt x="15" y="654"/>
                    <a:pt x="15" y="660"/>
                    <a:pt x="14" y="665"/>
                  </a:cubicBezTo>
                  <a:cubicBezTo>
                    <a:pt x="12" y="684"/>
                    <a:pt x="10" y="704"/>
                    <a:pt x="9" y="723"/>
                  </a:cubicBezTo>
                  <a:cubicBezTo>
                    <a:pt x="0" y="923"/>
                    <a:pt x="69" y="1115"/>
                    <a:pt x="204" y="1262"/>
                  </a:cubicBezTo>
                  <a:cubicBezTo>
                    <a:pt x="352" y="1424"/>
                    <a:pt x="555" y="1506"/>
                    <a:pt x="759" y="1506"/>
                  </a:cubicBezTo>
                  <a:cubicBezTo>
                    <a:pt x="939" y="1506"/>
                    <a:pt x="1120" y="1442"/>
                    <a:pt x="1263" y="1311"/>
                  </a:cubicBezTo>
                  <a:cubicBezTo>
                    <a:pt x="1273" y="1302"/>
                    <a:pt x="1282" y="1293"/>
                    <a:pt x="1291" y="1284"/>
                  </a:cubicBezTo>
                  <a:cubicBezTo>
                    <a:pt x="1435" y="1139"/>
                    <a:pt x="1507" y="947"/>
                    <a:pt x="1507" y="755"/>
                  </a:cubicBezTo>
                  <a:cubicBezTo>
                    <a:pt x="1507" y="623"/>
                    <a:pt x="1472" y="491"/>
                    <a:pt x="1402" y="374"/>
                  </a:cubicBezTo>
                  <a:cubicBezTo>
                    <a:pt x="1376" y="331"/>
                    <a:pt x="1346" y="290"/>
                    <a:pt x="1311" y="252"/>
                  </a:cubicBezTo>
                  <a:cubicBezTo>
                    <a:pt x="1176" y="104"/>
                    <a:pt x="992" y="18"/>
                    <a:pt x="792" y="9"/>
                  </a:cubicBezTo>
                  <a:cubicBezTo>
                    <a:pt x="607" y="0"/>
                    <a:pt x="430" y="59"/>
                    <a:pt x="287" y="174"/>
                  </a:cubicBezTo>
                  <a:close/>
                  <a:moveTo>
                    <a:pt x="1126" y="421"/>
                  </a:moveTo>
                  <a:cubicBezTo>
                    <a:pt x="1311" y="624"/>
                    <a:pt x="1297" y="940"/>
                    <a:pt x="1094" y="1125"/>
                  </a:cubicBezTo>
                  <a:cubicBezTo>
                    <a:pt x="891" y="1310"/>
                    <a:pt x="575" y="1296"/>
                    <a:pt x="390" y="1093"/>
                  </a:cubicBezTo>
                  <a:cubicBezTo>
                    <a:pt x="312" y="1007"/>
                    <a:pt x="267" y="899"/>
                    <a:pt x="261" y="784"/>
                  </a:cubicBezTo>
                  <a:cubicBezTo>
                    <a:pt x="260" y="768"/>
                    <a:pt x="260" y="751"/>
                    <a:pt x="260" y="735"/>
                  </a:cubicBezTo>
                  <a:cubicBezTo>
                    <a:pt x="266" y="602"/>
                    <a:pt x="324" y="479"/>
                    <a:pt x="422" y="390"/>
                  </a:cubicBezTo>
                  <a:cubicBezTo>
                    <a:pt x="422" y="390"/>
                    <a:pt x="422" y="390"/>
                    <a:pt x="422" y="390"/>
                  </a:cubicBezTo>
                  <a:cubicBezTo>
                    <a:pt x="515" y="305"/>
                    <a:pt x="633" y="259"/>
                    <a:pt x="758" y="259"/>
                  </a:cubicBezTo>
                  <a:cubicBezTo>
                    <a:pt x="765" y="259"/>
                    <a:pt x="773" y="259"/>
                    <a:pt x="781" y="260"/>
                  </a:cubicBezTo>
                  <a:cubicBezTo>
                    <a:pt x="914" y="266"/>
                    <a:pt x="1036" y="323"/>
                    <a:pt x="1126" y="421"/>
                  </a:cubicBezTo>
                  <a:close/>
                  <a:moveTo>
                    <a:pt x="1126" y="42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384">
              <a:extLst>
                <a:ext uri="{FF2B5EF4-FFF2-40B4-BE49-F238E27FC236}">
                  <a16:creationId xmlns:a16="http://schemas.microsoft.com/office/drawing/2014/main" id="{9CB76CAE-DB5B-4CAA-909B-40164DC052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10" y="3388"/>
              <a:ext cx="105" cy="105"/>
            </a:xfrm>
            <a:custGeom>
              <a:avLst/>
              <a:gdLst>
                <a:gd name="T0" fmla="*/ 1583 w 3166"/>
                <a:gd name="T1" fmla="*/ 0 h 3166"/>
                <a:gd name="T2" fmla="*/ 0 w 3166"/>
                <a:gd name="T3" fmla="*/ 1583 h 3166"/>
                <a:gd name="T4" fmla="*/ 1583 w 3166"/>
                <a:gd name="T5" fmla="*/ 3166 h 3166"/>
                <a:gd name="T6" fmla="*/ 3166 w 3166"/>
                <a:gd name="T7" fmla="*/ 1583 h 3166"/>
                <a:gd name="T8" fmla="*/ 1583 w 3166"/>
                <a:gd name="T9" fmla="*/ 0 h 3166"/>
                <a:gd name="T10" fmla="*/ 2855 w 3166"/>
                <a:gd name="T11" fmla="*/ 1709 h 3166"/>
                <a:gd name="T12" fmla="*/ 2908 w 3166"/>
                <a:gd name="T13" fmla="*/ 1709 h 3166"/>
                <a:gd name="T14" fmla="*/ 1709 w 3166"/>
                <a:gd name="T15" fmla="*/ 2909 h 3166"/>
                <a:gd name="T16" fmla="*/ 1709 w 3166"/>
                <a:gd name="T17" fmla="*/ 2855 h 3166"/>
                <a:gd name="T18" fmla="*/ 1583 w 3166"/>
                <a:gd name="T19" fmla="*/ 2729 h 3166"/>
                <a:gd name="T20" fmla="*/ 1457 w 3166"/>
                <a:gd name="T21" fmla="*/ 2855 h 3166"/>
                <a:gd name="T22" fmla="*/ 1457 w 3166"/>
                <a:gd name="T23" fmla="*/ 2909 h 3166"/>
                <a:gd name="T24" fmla="*/ 258 w 3166"/>
                <a:gd name="T25" fmla="*/ 1709 h 3166"/>
                <a:gd name="T26" fmla="*/ 311 w 3166"/>
                <a:gd name="T27" fmla="*/ 1709 h 3166"/>
                <a:gd name="T28" fmla="*/ 437 w 3166"/>
                <a:gd name="T29" fmla="*/ 1583 h 3166"/>
                <a:gd name="T30" fmla="*/ 311 w 3166"/>
                <a:gd name="T31" fmla="*/ 1458 h 3166"/>
                <a:gd name="T32" fmla="*/ 258 w 3166"/>
                <a:gd name="T33" fmla="*/ 1458 h 3166"/>
                <a:gd name="T34" fmla="*/ 1457 w 3166"/>
                <a:gd name="T35" fmla="*/ 258 h 3166"/>
                <a:gd name="T36" fmla="*/ 1457 w 3166"/>
                <a:gd name="T37" fmla="*/ 312 h 3166"/>
                <a:gd name="T38" fmla="*/ 1583 w 3166"/>
                <a:gd name="T39" fmla="*/ 437 h 3166"/>
                <a:gd name="T40" fmla="*/ 1709 w 3166"/>
                <a:gd name="T41" fmla="*/ 312 h 3166"/>
                <a:gd name="T42" fmla="*/ 1709 w 3166"/>
                <a:gd name="T43" fmla="*/ 258 h 3166"/>
                <a:gd name="T44" fmla="*/ 2908 w 3166"/>
                <a:gd name="T45" fmla="*/ 1458 h 3166"/>
                <a:gd name="T46" fmla="*/ 2855 w 3166"/>
                <a:gd name="T47" fmla="*/ 1458 h 3166"/>
                <a:gd name="T48" fmla="*/ 2729 w 3166"/>
                <a:gd name="T49" fmla="*/ 1583 h 3166"/>
                <a:gd name="T50" fmla="*/ 2855 w 3166"/>
                <a:gd name="T51" fmla="*/ 1709 h 3166"/>
                <a:gd name="T52" fmla="*/ 2855 w 3166"/>
                <a:gd name="T53" fmla="*/ 1709 h 3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66" h="3166">
                  <a:moveTo>
                    <a:pt x="1583" y="0"/>
                  </a:moveTo>
                  <a:cubicBezTo>
                    <a:pt x="710" y="0"/>
                    <a:pt x="0" y="711"/>
                    <a:pt x="0" y="1583"/>
                  </a:cubicBezTo>
                  <a:cubicBezTo>
                    <a:pt x="0" y="2456"/>
                    <a:pt x="710" y="3166"/>
                    <a:pt x="1583" y="3166"/>
                  </a:cubicBezTo>
                  <a:cubicBezTo>
                    <a:pt x="2456" y="3166"/>
                    <a:pt x="3166" y="2456"/>
                    <a:pt x="3166" y="1583"/>
                  </a:cubicBezTo>
                  <a:cubicBezTo>
                    <a:pt x="3166" y="711"/>
                    <a:pt x="2456" y="0"/>
                    <a:pt x="1583" y="0"/>
                  </a:cubicBezTo>
                  <a:close/>
                  <a:moveTo>
                    <a:pt x="2855" y="1709"/>
                  </a:moveTo>
                  <a:lnTo>
                    <a:pt x="2908" y="1709"/>
                  </a:lnTo>
                  <a:cubicBezTo>
                    <a:pt x="2848" y="2343"/>
                    <a:pt x="2343" y="2849"/>
                    <a:pt x="1709" y="2909"/>
                  </a:cubicBezTo>
                  <a:lnTo>
                    <a:pt x="1709" y="2855"/>
                  </a:lnTo>
                  <a:cubicBezTo>
                    <a:pt x="1709" y="2786"/>
                    <a:pt x="1652" y="2729"/>
                    <a:pt x="1583" y="2729"/>
                  </a:cubicBezTo>
                  <a:cubicBezTo>
                    <a:pt x="1513" y="2729"/>
                    <a:pt x="1457" y="2786"/>
                    <a:pt x="1457" y="2855"/>
                  </a:cubicBezTo>
                  <a:lnTo>
                    <a:pt x="1457" y="2909"/>
                  </a:lnTo>
                  <a:cubicBezTo>
                    <a:pt x="823" y="2849"/>
                    <a:pt x="317" y="2343"/>
                    <a:pt x="258" y="1709"/>
                  </a:cubicBezTo>
                  <a:lnTo>
                    <a:pt x="311" y="1709"/>
                  </a:lnTo>
                  <a:cubicBezTo>
                    <a:pt x="381" y="1709"/>
                    <a:pt x="437" y="1653"/>
                    <a:pt x="437" y="1583"/>
                  </a:cubicBezTo>
                  <a:cubicBezTo>
                    <a:pt x="437" y="1514"/>
                    <a:pt x="381" y="1458"/>
                    <a:pt x="311" y="1458"/>
                  </a:cubicBezTo>
                  <a:lnTo>
                    <a:pt x="258" y="1458"/>
                  </a:lnTo>
                  <a:cubicBezTo>
                    <a:pt x="317" y="824"/>
                    <a:pt x="823" y="317"/>
                    <a:pt x="1457" y="258"/>
                  </a:cubicBezTo>
                  <a:lnTo>
                    <a:pt x="1457" y="312"/>
                  </a:lnTo>
                  <a:cubicBezTo>
                    <a:pt x="1457" y="381"/>
                    <a:pt x="1513" y="437"/>
                    <a:pt x="1583" y="437"/>
                  </a:cubicBezTo>
                  <a:cubicBezTo>
                    <a:pt x="1652" y="437"/>
                    <a:pt x="1709" y="381"/>
                    <a:pt x="1709" y="312"/>
                  </a:cubicBezTo>
                  <a:lnTo>
                    <a:pt x="1709" y="258"/>
                  </a:lnTo>
                  <a:cubicBezTo>
                    <a:pt x="2343" y="317"/>
                    <a:pt x="2848" y="824"/>
                    <a:pt x="2908" y="1458"/>
                  </a:cubicBezTo>
                  <a:lnTo>
                    <a:pt x="2855" y="1458"/>
                  </a:lnTo>
                  <a:cubicBezTo>
                    <a:pt x="2785" y="1458"/>
                    <a:pt x="2729" y="1514"/>
                    <a:pt x="2729" y="1583"/>
                  </a:cubicBezTo>
                  <a:cubicBezTo>
                    <a:pt x="2729" y="1653"/>
                    <a:pt x="2785" y="1709"/>
                    <a:pt x="2855" y="1709"/>
                  </a:cubicBezTo>
                  <a:close/>
                  <a:moveTo>
                    <a:pt x="2855" y="170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85">
              <a:extLst>
                <a:ext uri="{FF2B5EF4-FFF2-40B4-BE49-F238E27FC236}">
                  <a16:creationId xmlns:a16="http://schemas.microsoft.com/office/drawing/2014/main" id="{5221C9CD-D31B-469E-85AB-3BC76AEBC7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4" y="3416"/>
              <a:ext cx="23" cy="36"/>
            </a:xfrm>
            <a:custGeom>
              <a:avLst/>
              <a:gdLst>
                <a:gd name="T0" fmla="*/ 543 w 669"/>
                <a:gd name="T1" fmla="*/ 0 h 1086"/>
                <a:gd name="T2" fmla="*/ 417 w 669"/>
                <a:gd name="T3" fmla="*/ 125 h 1086"/>
                <a:gd name="T4" fmla="*/ 417 w 669"/>
                <a:gd name="T5" fmla="*/ 834 h 1086"/>
                <a:gd name="T6" fmla="*/ 126 w 669"/>
                <a:gd name="T7" fmla="*/ 834 h 1086"/>
                <a:gd name="T8" fmla="*/ 0 w 669"/>
                <a:gd name="T9" fmla="*/ 960 h 1086"/>
                <a:gd name="T10" fmla="*/ 126 w 669"/>
                <a:gd name="T11" fmla="*/ 1086 h 1086"/>
                <a:gd name="T12" fmla="*/ 543 w 669"/>
                <a:gd name="T13" fmla="*/ 1086 h 1086"/>
                <a:gd name="T14" fmla="*/ 669 w 669"/>
                <a:gd name="T15" fmla="*/ 960 h 1086"/>
                <a:gd name="T16" fmla="*/ 669 w 669"/>
                <a:gd name="T17" fmla="*/ 125 h 1086"/>
                <a:gd name="T18" fmla="*/ 543 w 669"/>
                <a:gd name="T19" fmla="*/ 0 h 1086"/>
                <a:gd name="T20" fmla="*/ 543 w 669"/>
                <a:gd name="T21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9" h="1086">
                  <a:moveTo>
                    <a:pt x="543" y="0"/>
                  </a:moveTo>
                  <a:cubicBezTo>
                    <a:pt x="473" y="0"/>
                    <a:pt x="417" y="56"/>
                    <a:pt x="417" y="125"/>
                  </a:cubicBezTo>
                  <a:lnTo>
                    <a:pt x="417" y="834"/>
                  </a:lnTo>
                  <a:lnTo>
                    <a:pt x="126" y="834"/>
                  </a:lnTo>
                  <a:cubicBezTo>
                    <a:pt x="56" y="834"/>
                    <a:pt x="0" y="891"/>
                    <a:pt x="0" y="960"/>
                  </a:cubicBezTo>
                  <a:cubicBezTo>
                    <a:pt x="0" y="1029"/>
                    <a:pt x="56" y="1086"/>
                    <a:pt x="126" y="1086"/>
                  </a:cubicBezTo>
                  <a:lnTo>
                    <a:pt x="543" y="1086"/>
                  </a:lnTo>
                  <a:cubicBezTo>
                    <a:pt x="612" y="1086"/>
                    <a:pt x="669" y="1029"/>
                    <a:pt x="669" y="960"/>
                  </a:cubicBezTo>
                  <a:lnTo>
                    <a:pt x="669" y="125"/>
                  </a:lnTo>
                  <a:cubicBezTo>
                    <a:pt x="669" y="56"/>
                    <a:pt x="612" y="0"/>
                    <a:pt x="543" y="0"/>
                  </a:cubicBezTo>
                  <a:close/>
                  <a:moveTo>
                    <a:pt x="543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Group 248">
            <a:extLst>
              <a:ext uri="{FF2B5EF4-FFF2-40B4-BE49-F238E27FC236}">
                <a16:creationId xmlns:a16="http://schemas.microsoft.com/office/drawing/2014/main" id="{9FC2D32A-9259-4523-8F01-93F42480F33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6153" y="2142579"/>
            <a:ext cx="584897" cy="530671"/>
            <a:chOff x="1780" y="300"/>
            <a:chExt cx="4088" cy="3709"/>
          </a:xfrm>
          <a:solidFill>
            <a:schemeClr val="bg2">
              <a:lumMod val="25000"/>
            </a:schemeClr>
          </a:solidFill>
        </p:grpSpPr>
        <p:sp>
          <p:nvSpPr>
            <p:cNvPr id="27" name="Freeform 249">
              <a:extLst>
                <a:ext uri="{FF2B5EF4-FFF2-40B4-BE49-F238E27FC236}">
                  <a16:creationId xmlns:a16="http://schemas.microsoft.com/office/drawing/2014/main" id="{A78FE85D-AB25-42C7-921C-B989D2CD3E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0" y="300"/>
              <a:ext cx="4088" cy="3709"/>
            </a:xfrm>
            <a:custGeom>
              <a:avLst/>
              <a:gdLst>
                <a:gd name="T0" fmla="*/ 7231 w 8517"/>
                <a:gd name="T1" fmla="*/ 2632 h 7729"/>
                <a:gd name="T2" fmla="*/ 5932 w 8517"/>
                <a:gd name="T3" fmla="*/ 1311 h 7729"/>
                <a:gd name="T4" fmla="*/ 4661 w 8517"/>
                <a:gd name="T5" fmla="*/ 0 h 7729"/>
                <a:gd name="T6" fmla="*/ 2630 w 8517"/>
                <a:gd name="T7" fmla="*/ 1317 h 7729"/>
                <a:gd name="T8" fmla="*/ 941 w 8517"/>
                <a:gd name="T9" fmla="*/ 2243 h 7729"/>
                <a:gd name="T10" fmla="*/ 480 w 8517"/>
                <a:gd name="T11" fmla="*/ 3397 h 7729"/>
                <a:gd name="T12" fmla="*/ 1042 w 8517"/>
                <a:gd name="T13" fmla="*/ 5238 h 7729"/>
                <a:gd name="T14" fmla="*/ 1532 w 8517"/>
                <a:gd name="T15" fmla="*/ 7555 h 7729"/>
                <a:gd name="T16" fmla="*/ 2332 w 8517"/>
                <a:gd name="T17" fmla="*/ 6226 h 7729"/>
                <a:gd name="T18" fmla="*/ 2776 w 8517"/>
                <a:gd name="T19" fmla="*/ 7229 h 7729"/>
                <a:gd name="T20" fmla="*/ 3633 w 8517"/>
                <a:gd name="T21" fmla="*/ 7233 h 7729"/>
                <a:gd name="T22" fmla="*/ 4081 w 8517"/>
                <a:gd name="T23" fmla="*/ 6226 h 7729"/>
                <a:gd name="T24" fmla="*/ 4546 w 8517"/>
                <a:gd name="T25" fmla="*/ 7605 h 7729"/>
                <a:gd name="T26" fmla="*/ 4747 w 8517"/>
                <a:gd name="T27" fmla="*/ 6576 h 7729"/>
                <a:gd name="T28" fmla="*/ 5191 w 8517"/>
                <a:gd name="T29" fmla="*/ 7198 h 7729"/>
                <a:gd name="T30" fmla="*/ 5661 w 8517"/>
                <a:gd name="T31" fmla="*/ 7610 h 7729"/>
                <a:gd name="T32" fmla="*/ 6076 w 8517"/>
                <a:gd name="T33" fmla="*/ 6435 h 7729"/>
                <a:gd name="T34" fmla="*/ 6658 w 8517"/>
                <a:gd name="T35" fmla="*/ 7599 h 7729"/>
                <a:gd name="T36" fmla="*/ 7540 w 8517"/>
                <a:gd name="T37" fmla="*/ 6322 h 7729"/>
                <a:gd name="T38" fmla="*/ 8029 w 8517"/>
                <a:gd name="T39" fmla="*/ 5179 h 7729"/>
                <a:gd name="T40" fmla="*/ 3016 w 8517"/>
                <a:gd name="T41" fmla="*/ 3937 h 7729"/>
                <a:gd name="T42" fmla="*/ 3475 w 8517"/>
                <a:gd name="T43" fmla="*/ 3641 h 7729"/>
                <a:gd name="T44" fmla="*/ 3784 w 8517"/>
                <a:gd name="T45" fmla="*/ 4446 h 7729"/>
                <a:gd name="T46" fmla="*/ 2750 w 8517"/>
                <a:gd name="T47" fmla="*/ 5038 h 7729"/>
                <a:gd name="T48" fmla="*/ 2972 w 8517"/>
                <a:gd name="T49" fmla="*/ 5611 h 7729"/>
                <a:gd name="T50" fmla="*/ 3491 w 8517"/>
                <a:gd name="T51" fmla="*/ 5842 h 7729"/>
                <a:gd name="T52" fmla="*/ 3403 w 8517"/>
                <a:gd name="T53" fmla="*/ 7111 h 7729"/>
                <a:gd name="T54" fmla="*/ 5141 w 8517"/>
                <a:gd name="T55" fmla="*/ 4717 h 7729"/>
                <a:gd name="T56" fmla="*/ 6031 w 8517"/>
                <a:gd name="T57" fmla="*/ 4794 h 7729"/>
                <a:gd name="T58" fmla="*/ 5944 w 8517"/>
                <a:gd name="T59" fmla="*/ 5500 h 7729"/>
                <a:gd name="T60" fmla="*/ 5141 w 8517"/>
                <a:gd name="T61" fmla="*/ 4998 h 7729"/>
                <a:gd name="T62" fmla="*/ 5586 w 8517"/>
                <a:gd name="T63" fmla="*/ 5937 h 7729"/>
                <a:gd name="T64" fmla="*/ 5577 w 8517"/>
                <a:gd name="T65" fmla="*/ 7340 h 7729"/>
                <a:gd name="T66" fmla="*/ 8268 w 8517"/>
                <a:gd name="T67" fmla="*/ 4661 h 7729"/>
                <a:gd name="T68" fmla="*/ 7017 w 8517"/>
                <a:gd name="T69" fmla="*/ 6095 h 7729"/>
                <a:gd name="T70" fmla="*/ 6368 w 8517"/>
                <a:gd name="T71" fmla="*/ 6270 h 7729"/>
                <a:gd name="T72" fmla="*/ 6011 w 8517"/>
                <a:gd name="T73" fmla="*/ 6049 h 7729"/>
                <a:gd name="T74" fmla="*/ 6281 w 8517"/>
                <a:gd name="T75" fmla="*/ 4967 h 7729"/>
                <a:gd name="T76" fmla="*/ 4891 w 8517"/>
                <a:gd name="T77" fmla="*/ 4636 h 7729"/>
                <a:gd name="T78" fmla="*/ 5169 w 8517"/>
                <a:gd name="T79" fmla="*/ 5756 h 7729"/>
                <a:gd name="T80" fmla="*/ 4635 w 8517"/>
                <a:gd name="T81" fmla="*/ 6351 h 7729"/>
                <a:gd name="T82" fmla="*/ 3690 w 8517"/>
                <a:gd name="T83" fmla="*/ 5313 h 7729"/>
                <a:gd name="T84" fmla="*/ 4033 w 8517"/>
                <a:gd name="T85" fmla="*/ 3950 h 7729"/>
                <a:gd name="T86" fmla="*/ 2380 w 8517"/>
                <a:gd name="T87" fmla="*/ 4301 h 7729"/>
                <a:gd name="T88" fmla="*/ 2625 w 8517"/>
                <a:gd name="T89" fmla="*/ 5835 h 7729"/>
                <a:gd name="T90" fmla="*/ 1181 w 8517"/>
                <a:gd name="T91" fmla="*/ 6850 h 7729"/>
                <a:gd name="T92" fmla="*/ 1021 w 8517"/>
                <a:gd name="T93" fmla="*/ 4962 h 7729"/>
                <a:gd name="T94" fmla="*/ 1010 w 8517"/>
                <a:gd name="T95" fmla="*/ 3607 h 7729"/>
                <a:gd name="T96" fmla="*/ 1140 w 8517"/>
                <a:gd name="T97" fmla="*/ 1708 h 7729"/>
                <a:gd name="T98" fmla="*/ 3399 w 8517"/>
                <a:gd name="T99" fmla="*/ 1266 h 7729"/>
                <a:gd name="T100" fmla="*/ 4930 w 8517"/>
                <a:gd name="T101" fmla="*/ 503 h 7729"/>
                <a:gd name="T102" fmla="*/ 6484 w 8517"/>
                <a:gd name="T103" fmla="*/ 1167 h 7729"/>
                <a:gd name="T104" fmla="*/ 7006 w 8517"/>
                <a:gd name="T105" fmla="*/ 2795 h 7729"/>
                <a:gd name="T106" fmla="*/ 8268 w 8517"/>
                <a:gd name="T107" fmla="*/ 4661 h 7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17" h="7729">
                  <a:moveTo>
                    <a:pt x="8037" y="3397"/>
                  </a:moveTo>
                  <a:lnTo>
                    <a:pt x="7526" y="3358"/>
                  </a:lnTo>
                  <a:cubicBezTo>
                    <a:pt x="7509" y="3357"/>
                    <a:pt x="7495" y="3346"/>
                    <a:pt x="7491" y="3330"/>
                  </a:cubicBezTo>
                  <a:cubicBezTo>
                    <a:pt x="7426" y="3105"/>
                    <a:pt x="7337" y="2885"/>
                    <a:pt x="7226" y="2677"/>
                  </a:cubicBezTo>
                  <a:cubicBezTo>
                    <a:pt x="7218" y="2663"/>
                    <a:pt x="7220" y="2645"/>
                    <a:pt x="7231" y="2632"/>
                  </a:cubicBezTo>
                  <a:lnTo>
                    <a:pt x="7576" y="2243"/>
                  </a:lnTo>
                  <a:cubicBezTo>
                    <a:pt x="7757" y="2038"/>
                    <a:pt x="7748" y="1726"/>
                    <a:pt x="7554" y="1532"/>
                  </a:cubicBezTo>
                  <a:lnTo>
                    <a:pt x="7027" y="1004"/>
                  </a:lnTo>
                  <a:cubicBezTo>
                    <a:pt x="6836" y="814"/>
                    <a:pt x="6526" y="802"/>
                    <a:pt x="6321" y="977"/>
                  </a:cubicBezTo>
                  <a:lnTo>
                    <a:pt x="5932" y="1311"/>
                  </a:lnTo>
                  <a:cubicBezTo>
                    <a:pt x="5920" y="1322"/>
                    <a:pt x="5901" y="1324"/>
                    <a:pt x="5887" y="1316"/>
                  </a:cubicBezTo>
                  <a:cubicBezTo>
                    <a:pt x="5682" y="1202"/>
                    <a:pt x="5463" y="1110"/>
                    <a:pt x="5238" y="1042"/>
                  </a:cubicBezTo>
                  <a:cubicBezTo>
                    <a:pt x="5223" y="1037"/>
                    <a:pt x="5212" y="1022"/>
                    <a:pt x="5211" y="1006"/>
                  </a:cubicBezTo>
                  <a:lnTo>
                    <a:pt x="5179" y="488"/>
                  </a:lnTo>
                  <a:cubicBezTo>
                    <a:pt x="5162" y="214"/>
                    <a:pt x="4935" y="0"/>
                    <a:pt x="4661" y="0"/>
                  </a:cubicBezTo>
                  <a:lnTo>
                    <a:pt x="3915" y="0"/>
                  </a:lnTo>
                  <a:cubicBezTo>
                    <a:pt x="3645" y="0"/>
                    <a:pt x="3418" y="211"/>
                    <a:pt x="3397" y="480"/>
                  </a:cubicBezTo>
                  <a:lnTo>
                    <a:pt x="3358" y="991"/>
                  </a:lnTo>
                  <a:cubicBezTo>
                    <a:pt x="3357" y="1008"/>
                    <a:pt x="3346" y="1022"/>
                    <a:pt x="3330" y="1026"/>
                  </a:cubicBezTo>
                  <a:cubicBezTo>
                    <a:pt x="3087" y="1096"/>
                    <a:pt x="2851" y="1194"/>
                    <a:pt x="2630" y="1317"/>
                  </a:cubicBezTo>
                  <a:cubicBezTo>
                    <a:pt x="2616" y="1324"/>
                    <a:pt x="2598" y="1322"/>
                    <a:pt x="2585" y="1311"/>
                  </a:cubicBezTo>
                  <a:lnTo>
                    <a:pt x="2196" y="977"/>
                  </a:lnTo>
                  <a:cubicBezTo>
                    <a:pt x="1991" y="802"/>
                    <a:pt x="1682" y="814"/>
                    <a:pt x="1491" y="1004"/>
                  </a:cubicBezTo>
                  <a:lnTo>
                    <a:pt x="963" y="1532"/>
                  </a:lnTo>
                  <a:cubicBezTo>
                    <a:pt x="769" y="1726"/>
                    <a:pt x="760" y="2038"/>
                    <a:pt x="941" y="2243"/>
                  </a:cubicBezTo>
                  <a:lnTo>
                    <a:pt x="1286" y="2632"/>
                  </a:lnTo>
                  <a:cubicBezTo>
                    <a:pt x="1297" y="2645"/>
                    <a:pt x="1299" y="2663"/>
                    <a:pt x="1292" y="2677"/>
                  </a:cubicBezTo>
                  <a:cubicBezTo>
                    <a:pt x="1180" y="2885"/>
                    <a:pt x="1091" y="3105"/>
                    <a:pt x="1027" y="3330"/>
                  </a:cubicBezTo>
                  <a:cubicBezTo>
                    <a:pt x="1022" y="3346"/>
                    <a:pt x="1008" y="3357"/>
                    <a:pt x="991" y="3358"/>
                  </a:cubicBezTo>
                  <a:lnTo>
                    <a:pt x="480" y="3397"/>
                  </a:lnTo>
                  <a:cubicBezTo>
                    <a:pt x="211" y="3418"/>
                    <a:pt x="0" y="3645"/>
                    <a:pt x="0" y="3915"/>
                  </a:cubicBezTo>
                  <a:lnTo>
                    <a:pt x="0" y="4661"/>
                  </a:lnTo>
                  <a:cubicBezTo>
                    <a:pt x="0" y="4935"/>
                    <a:pt x="215" y="5163"/>
                    <a:pt x="488" y="5179"/>
                  </a:cubicBezTo>
                  <a:lnTo>
                    <a:pt x="1006" y="5211"/>
                  </a:lnTo>
                  <a:cubicBezTo>
                    <a:pt x="1023" y="5212"/>
                    <a:pt x="1037" y="5223"/>
                    <a:pt x="1042" y="5238"/>
                  </a:cubicBezTo>
                  <a:cubicBezTo>
                    <a:pt x="1110" y="5463"/>
                    <a:pt x="1203" y="5682"/>
                    <a:pt x="1316" y="5887"/>
                  </a:cubicBezTo>
                  <a:cubicBezTo>
                    <a:pt x="1324" y="5902"/>
                    <a:pt x="1322" y="5920"/>
                    <a:pt x="1311" y="5932"/>
                  </a:cubicBezTo>
                  <a:lnTo>
                    <a:pt x="977" y="6322"/>
                  </a:lnTo>
                  <a:cubicBezTo>
                    <a:pt x="802" y="6526"/>
                    <a:pt x="814" y="6836"/>
                    <a:pt x="1004" y="7027"/>
                  </a:cubicBezTo>
                  <a:lnTo>
                    <a:pt x="1532" y="7555"/>
                  </a:lnTo>
                  <a:cubicBezTo>
                    <a:pt x="1579" y="7602"/>
                    <a:pt x="1634" y="7639"/>
                    <a:pt x="1695" y="7665"/>
                  </a:cubicBezTo>
                  <a:cubicBezTo>
                    <a:pt x="1758" y="7692"/>
                    <a:pt x="1831" y="7663"/>
                    <a:pt x="1858" y="7599"/>
                  </a:cubicBezTo>
                  <a:cubicBezTo>
                    <a:pt x="1868" y="7576"/>
                    <a:pt x="1871" y="7552"/>
                    <a:pt x="1867" y="7529"/>
                  </a:cubicBezTo>
                  <a:lnTo>
                    <a:pt x="1867" y="6875"/>
                  </a:lnTo>
                  <a:cubicBezTo>
                    <a:pt x="1867" y="6580"/>
                    <a:pt x="2054" y="6319"/>
                    <a:pt x="2332" y="6226"/>
                  </a:cubicBezTo>
                  <a:lnTo>
                    <a:pt x="2594" y="6137"/>
                  </a:lnTo>
                  <a:cubicBezTo>
                    <a:pt x="2645" y="6121"/>
                    <a:pt x="2692" y="6097"/>
                    <a:pt x="2735" y="6067"/>
                  </a:cubicBezTo>
                  <a:cubicBezTo>
                    <a:pt x="2830" y="6096"/>
                    <a:pt x="2928" y="6116"/>
                    <a:pt x="3027" y="6126"/>
                  </a:cubicBezTo>
                  <a:lnTo>
                    <a:pt x="2749" y="7111"/>
                  </a:lnTo>
                  <a:cubicBezTo>
                    <a:pt x="2737" y="7152"/>
                    <a:pt x="2747" y="7197"/>
                    <a:pt x="2776" y="7229"/>
                  </a:cubicBezTo>
                  <a:lnTo>
                    <a:pt x="3097" y="7586"/>
                  </a:lnTo>
                  <a:cubicBezTo>
                    <a:pt x="3120" y="7612"/>
                    <a:pt x="3152" y="7627"/>
                    <a:pt x="3186" y="7628"/>
                  </a:cubicBezTo>
                  <a:lnTo>
                    <a:pt x="3190" y="7628"/>
                  </a:lnTo>
                  <a:cubicBezTo>
                    <a:pt x="3223" y="7628"/>
                    <a:pt x="3255" y="7615"/>
                    <a:pt x="3278" y="7591"/>
                  </a:cubicBezTo>
                  <a:lnTo>
                    <a:pt x="3633" y="7233"/>
                  </a:lnTo>
                  <a:cubicBezTo>
                    <a:pt x="3666" y="7200"/>
                    <a:pt x="3677" y="7152"/>
                    <a:pt x="3664" y="7108"/>
                  </a:cubicBezTo>
                  <a:lnTo>
                    <a:pt x="3355" y="6122"/>
                  </a:lnTo>
                  <a:cubicBezTo>
                    <a:pt x="3458" y="6109"/>
                    <a:pt x="3560" y="6086"/>
                    <a:pt x="3658" y="6052"/>
                  </a:cubicBezTo>
                  <a:cubicBezTo>
                    <a:pt x="3707" y="6089"/>
                    <a:pt x="3761" y="6118"/>
                    <a:pt x="3819" y="6137"/>
                  </a:cubicBezTo>
                  <a:lnTo>
                    <a:pt x="4081" y="6226"/>
                  </a:lnTo>
                  <a:cubicBezTo>
                    <a:pt x="4259" y="6286"/>
                    <a:pt x="4406" y="6418"/>
                    <a:pt x="4484" y="6589"/>
                  </a:cubicBezTo>
                  <a:cubicBezTo>
                    <a:pt x="4524" y="6676"/>
                    <a:pt x="4545" y="6768"/>
                    <a:pt x="4546" y="6862"/>
                  </a:cubicBezTo>
                  <a:cubicBezTo>
                    <a:pt x="4546" y="6865"/>
                    <a:pt x="4546" y="6867"/>
                    <a:pt x="4546" y="6869"/>
                  </a:cubicBezTo>
                  <a:cubicBezTo>
                    <a:pt x="4546" y="6871"/>
                    <a:pt x="4546" y="6873"/>
                    <a:pt x="4546" y="6875"/>
                  </a:cubicBezTo>
                  <a:lnTo>
                    <a:pt x="4546" y="7605"/>
                  </a:lnTo>
                  <a:cubicBezTo>
                    <a:pt x="4546" y="7673"/>
                    <a:pt x="4602" y="7729"/>
                    <a:pt x="4671" y="7729"/>
                  </a:cubicBezTo>
                  <a:cubicBezTo>
                    <a:pt x="4740" y="7729"/>
                    <a:pt x="4796" y="7673"/>
                    <a:pt x="4796" y="7605"/>
                  </a:cubicBezTo>
                  <a:lnTo>
                    <a:pt x="4796" y="6875"/>
                  </a:lnTo>
                  <a:cubicBezTo>
                    <a:pt x="4796" y="6868"/>
                    <a:pt x="4796" y="6862"/>
                    <a:pt x="4796" y="6856"/>
                  </a:cubicBezTo>
                  <a:cubicBezTo>
                    <a:pt x="4794" y="6760"/>
                    <a:pt x="4777" y="6666"/>
                    <a:pt x="4747" y="6576"/>
                  </a:cubicBezTo>
                  <a:cubicBezTo>
                    <a:pt x="4788" y="6547"/>
                    <a:pt x="4834" y="6523"/>
                    <a:pt x="4883" y="6507"/>
                  </a:cubicBezTo>
                  <a:lnTo>
                    <a:pt x="5096" y="6435"/>
                  </a:lnTo>
                  <a:cubicBezTo>
                    <a:pt x="5136" y="6422"/>
                    <a:pt x="5173" y="6404"/>
                    <a:pt x="5207" y="6381"/>
                  </a:cubicBezTo>
                  <a:cubicBezTo>
                    <a:pt x="5274" y="6401"/>
                    <a:pt x="5341" y="6415"/>
                    <a:pt x="5410" y="6424"/>
                  </a:cubicBezTo>
                  <a:lnTo>
                    <a:pt x="5191" y="7198"/>
                  </a:lnTo>
                  <a:cubicBezTo>
                    <a:pt x="5180" y="7239"/>
                    <a:pt x="5190" y="7283"/>
                    <a:pt x="5218" y="7315"/>
                  </a:cubicBezTo>
                  <a:lnTo>
                    <a:pt x="5479" y="7606"/>
                  </a:lnTo>
                  <a:cubicBezTo>
                    <a:pt x="5502" y="7631"/>
                    <a:pt x="5535" y="7646"/>
                    <a:pt x="5569" y="7647"/>
                  </a:cubicBezTo>
                  <a:cubicBezTo>
                    <a:pt x="5570" y="7647"/>
                    <a:pt x="5571" y="7647"/>
                    <a:pt x="5572" y="7647"/>
                  </a:cubicBezTo>
                  <a:cubicBezTo>
                    <a:pt x="5605" y="7647"/>
                    <a:pt x="5637" y="7634"/>
                    <a:pt x="5661" y="7610"/>
                  </a:cubicBezTo>
                  <a:lnTo>
                    <a:pt x="5949" y="7319"/>
                  </a:lnTo>
                  <a:cubicBezTo>
                    <a:pt x="5982" y="7286"/>
                    <a:pt x="5993" y="7238"/>
                    <a:pt x="5979" y="7194"/>
                  </a:cubicBezTo>
                  <a:lnTo>
                    <a:pt x="5737" y="6420"/>
                  </a:lnTo>
                  <a:cubicBezTo>
                    <a:pt x="5809" y="6409"/>
                    <a:pt x="5879" y="6393"/>
                    <a:pt x="5949" y="6369"/>
                  </a:cubicBezTo>
                  <a:cubicBezTo>
                    <a:pt x="5987" y="6398"/>
                    <a:pt x="6030" y="6420"/>
                    <a:pt x="6076" y="6435"/>
                  </a:cubicBezTo>
                  <a:lnTo>
                    <a:pt x="6288" y="6507"/>
                  </a:lnTo>
                  <a:cubicBezTo>
                    <a:pt x="6505" y="6580"/>
                    <a:pt x="6651" y="6783"/>
                    <a:pt x="6651" y="7012"/>
                  </a:cubicBezTo>
                  <a:lnTo>
                    <a:pt x="6651" y="7522"/>
                  </a:lnTo>
                  <a:cubicBezTo>
                    <a:pt x="6651" y="7523"/>
                    <a:pt x="6651" y="7523"/>
                    <a:pt x="6651" y="7524"/>
                  </a:cubicBezTo>
                  <a:cubicBezTo>
                    <a:pt x="6645" y="7548"/>
                    <a:pt x="6647" y="7574"/>
                    <a:pt x="6658" y="7599"/>
                  </a:cubicBezTo>
                  <a:cubicBezTo>
                    <a:pt x="6678" y="7647"/>
                    <a:pt x="6724" y="7675"/>
                    <a:pt x="6773" y="7675"/>
                  </a:cubicBezTo>
                  <a:cubicBezTo>
                    <a:pt x="6789" y="7675"/>
                    <a:pt x="6805" y="7672"/>
                    <a:pt x="6821" y="7665"/>
                  </a:cubicBezTo>
                  <a:cubicBezTo>
                    <a:pt x="6883" y="7639"/>
                    <a:pt x="6938" y="7602"/>
                    <a:pt x="6985" y="7555"/>
                  </a:cubicBezTo>
                  <a:lnTo>
                    <a:pt x="7513" y="7027"/>
                  </a:lnTo>
                  <a:cubicBezTo>
                    <a:pt x="7704" y="6836"/>
                    <a:pt x="7716" y="6526"/>
                    <a:pt x="7540" y="6322"/>
                  </a:cubicBezTo>
                  <a:lnTo>
                    <a:pt x="7206" y="5932"/>
                  </a:lnTo>
                  <a:cubicBezTo>
                    <a:pt x="7195" y="5920"/>
                    <a:pt x="7193" y="5902"/>
                    <a:pt x="7201" y="5887"/>
                  </a:cubicBezTo>
                  <a:cubicBezTo>
                    <a:pt x="7315" y="5682"/>
                    <a:pt x="7407" y="5463"/>
                    <a:pt x="7476" y="5238"/>
                  </a:cubicBezTo>
                  <a:cubicBezTo>
                    <a:pt x="7480" y="5223"/>
                    <a:pt x="7495" y="5212"/>
                    <a:pt x="7512" y="5211"/>
                  </a:cubicBezTo>
                  <a:lnTo>
                    <a:pt x="8029" y="5179"/>
                  </a:lnTo>
                  <a:cubicBezTo>
                    <a:pt x="8303" y="5163"/>
                    <a:pt x="8517" y="4935"/>
                    <a:pt x="8517" y="4661"/>
                  </a:cubicBezTo>
                  <a:lnTo>
                    <a:pt x="8517" y="3915"/>
                  </a:lnTo>
                  <a:cubicBezTo>
                    <a:pt x="8517" y="3645"/>
                    <a:pt x="8306" y="3418"/>
                    <a:pt x="8037" y="3397"/>
                  </a:cubicBezTo>
                  <a:close/>
                  <a:moveTo>
                    <a:pt x="3784" y="4184"/>
                  </a:moveTo>
                  <a:lnTo>
                    <a:pt x="3016" y="3937"/>
                  </a:lnTo>
                  <a:cubicBezTo>
                    <a:pt x="2984" y="3927"/>
                    <a:pt x="2949" y="3930"/>
                    <a:pt x="2920" y="3945"/>
                  </a:cubicBezTo>
                  <a:lnTo>
                    <a:pt x="2629" y="4097"/>
                  </a:lnTo>
                  <a:lnTo>
                    <a:pt x="2629" y="3950"/>
                  </a:lnTo>
                  <a:cubicBezTo>
                    <a:pt x="2629" y="3780"/>
                    <a:pt x="2768" y="3641"/>
                    <a:pt x="2938" y="3641"/>
                  </a:cubicBezTo>
                  <a:lnTo>
                    <a:pt x="3475" y="3641"/>
                  </a:lnTo>
                  <a:cubicBezTo>
                    <a:pt x="3645" y="3641"/>
                    <a:pt x="3784" y="3780"/>
                    <a:pt x="3784" y="3950"/>
                  </a:cubicBezTo>
                  <a:lnTo>
                    <a:pt x="3784" y="4184"/>
                  </a:lnTo>
                  <a:close/>
                  <a:moveTo>
                    <a:pt x="2629" y="4378"/>
                  </a:moveTo>
                  <a:lnTo>
                    <a:pt x="2989" y="4190"/>
                  </a:lnTo>
                  <a:lnTo>
                    <a:pt x="3784" y="4446"/>
                  </a:lnTo>
                  <a:lnTo>
                    <a:pt x="3784" y="4822"/>
                  </a:lnTo>
                  <a:cubicBezTo>
                    <a:pt x="3784" y="4910"/>
                    <a:pt x="3737" y="4992"/>
                    <a:pt x="3663" y="5038"/>
                  </a:cubicBezTo>
                  <a:lnTo>
                    <a:pt x="3337" y="5236"/>
                  </a:lnTo>
                  <a:cubicBezTo>
                    <a:pt x="3257" y="5285"/>
                    <a:pt x="3156" y="5285"/>
                    <a:pt x="3076" y="5236"/>
                  </a:cubicBezTo>
                  <a:lnTo>
                    <a:pt x="2750" y="5038"/>
                  </a:lnTo>
                  <a:cubicBezTo>
                    <a:pt x="2676" y="4992"/>
                    <a:pt x="2629" y="4910"/>
                    <a:pt x="2629" y="4822"/>
                  </a:cubicBezTo>
                  <a:lnTo>
                    <a:pt x="2629" y="4378"/>
                  </a:lnTo>
                  <a:close/>
                  <a:moveTo>
                    <a:pt x="3201" y="5884"/>
                  </a:moveTo>
                  <a:cubicBezTo>
                    <a:pt x="3104" y="5886"/>
                    <a:pt x="3009" y="5876"/>
                    <a:pt x="2915" y="5856"/>
                  </a:cubicBezTo>
                  <a:cubicBezTo>
                    <a:pt x="2952" y="5781"/>
                    <a:pt x="2972" y="5697"/>
                    <a:pt x="2972" y="5611"/>
                  </a:cubicBezTo>
                  <a:lnTo>
                    <a:pt x="2972" y="5464"/>
                  </a:lnTo>
                  <a:cubicBezTo>
                    <a:pt x="3046" y="5503"/>
                    <a:pt x="3126" y="5523"/>
                    <a:pt x="3206" y="5523"/>
                  </a:cubicBezTo>
                  <a:cubicBezTo>
                    <a:pt x="3287" y="5523"/>
                    <a:pt x="3367" y="5503"/>
                    <a:pt x="3441" y="5464"/>
                  </a:cubicBezTo>
                  <a:lnTo>
                    <a:pt x="3441" y="5611"/>
                  </a:lnTo>
                  <a:cubicBezTo>
                    <a:pt x="3441" y="5692"/>
                    <a:pt x="3458" y="5771"/>
                    <a:pt x="3491" y="5842"/>
                  </a:cubicBezTo>
                  <a:cubicBezTo>
                    <a:pt x="3396" y="5867"/>
                    <a:pt x="3299" y="5881"/>
                    <a:pt x="3201" y="5884"/>
                  </a:cubicBezTo>
                  <a:close/>
                  <a:moveTo>
                    <a:pt x="3194" y="7321"/>
                  </a:moveTo>
                  <a:lnTo>
                    <a:pt x="3007" y="7113"/>
                  </a:lnTo>
                  <a:lnTo>
                    <a:pt x="3196" y="6448"/>
                  </a:lnTo>
                  <a:lnTo>
                    <a:pt x="3403" y="7111"/>
                  </a:lnTo>
                  <a:lnTo>
                    <a:pt x="3194" y="7321"/>
                  </a:lnTo>
                  <a:close/>
                  <a:moveTo>
                    <a:pt x="6031" y="4794"/>
                  </a:moveTo>
                  <a:lnTo>
                    <a:pt x="5438" y="4603"/>
                  </a:lnTo>
                  <a:cubicBezTo>
                    <a:pt x="5406" y="4593"/>
                    <a:pt x="5372" y="4596"/>
                    <a:pt x="5342" y="4611"/>
                  </a:cubicBezTo>
                  <a:lnTo>
                    <a:pt x="5141" y="4717"/>
                  </a:lnTo>
                  <a:lnTo>
                    <a:pt x="5141" y="4636"/>
                  </a:lnTo>
                  <a:cubicBezTo>
                    <a:pt x="5141" y="4511"/>
                    <a:pt x="5242" y="4408"/>
                    <a:pt x="5368" y="4408"/>
                  </a:cubicBezTo>
                  <a:lnTo>
                    <a:pt x="5804" y="4408"/>
                  </a:lnTo>
                  <a:cubicBezTo>
                    <a:pt x="5929" y="4408"/>
                    <a:pt x="6031" y="4511"/>
                    <a:pt x="6031" y="4636"/>
                  </a:cubicBezTo>
                  <a:lnTo>
                    <a:pt x="6031" y="4794"/>
                  </a:lnTo>
                  <a:close/>
                  <a:moveTo>
                    <a:pt x="5141" y="4998"/>
                  </a:moveTo>
                  <a:lnTo>
                    <a:pt x="5411" y="4857"/>
                  </a:lnTo>
                  <a:lnTo>
                    <a:pt x="6031" y="5056"/>
                  </a:lnTo>
                  <a:lnTo>
                    <a:pt x="6031" y="5345"/>
                  </a:lnTo>
                  <a:cubicBezTo>
                    <a:pt x="6031" y="5408"/>
                    <a:pt x="5998" y="5467"/>
                    <a:pt x="5944" y="5500"/>
                  </a:cubicBezTo>
                  <a:lnTo>
                    <a:pt x="5680" y="5661"/>
                  </a:lnTo>
                  <a:cubicBezTo>
                    <a:pt x="5622" y="5696"/>
                    <a:pt x="5550" y="5696"/>
                    <a:pt x="5492" y="5661"/>
                  </a:cubicBezTo>
                  <a:lnTo>
                    <a:pt x="5227" y="5500"/>
                  </a:lnTo>
                  <a:cubicBezTo>
                    <a:pt x="5174" y="5467"/>
                    <a:pt x="5141" y="5408"/>
                    <a:pt x="5141" y="5345"/>
                  </a:cubicBezTo>
                  <a:lnTo>
                    <a:pt x="5141" y="4998"/>
                  </a:lnTo>
                  <a:close/>
                  <a:moveTo>
                    <a:pt x="5581" y="6183"/>
                  </a:moveTo>
                  <a:cubicBezTo>
                    <a:pt x="5514" y="6185"/>
                    <a:pt x="5448" y="6179"/>
                    <a:pt x="5382" y="6167"/>
                  </a:cubicBezTo>
                  <a:cubicBezTo>
                    <a:pt x="5406" y="6110"/>
                    <a:pt x="5419" y="6048"/>
                    <a:pt x="5419" y="5985"/>
                  </a:cubicBezTo>
                  <a:lnTo>
                    <a:pt x="5419" y="5903"/>
                  </a:lnTo>
                  <a:cubicBezTo>
                    <a:pt x="5472" y="5926"/>
                    <a:pt x="5529" y="5937"/>
                    <a:pt x="5586" y="5937"/>
                  </a:cubicBezTo>
                  <a:cubicBezTo>
                    <a:pt x="5643" y="5937"/>
                    <a:pt x="5699" y="5926"/>
                    <a:pt x="5753" y="5903"/>
                  </a:cubicBezTo>
                  <a:lnTo>
                    <a:pt x="5753" y="5985"/>
                  </a:lnTo>
                  <a:cubicBezTo>
                    <a:pt x="5753" y="6045"/>
                    <a:pt x="5764" y="6103"/>
                    <a:pt x="5785" y="6157"/>
                  </a:cubicBezTo>
                  <a:cubicBezTo>
                    <a:pt x="5718" y="6173"/>
                    <a:pt x="5650" y="6182"/>
                    <a:pt x="5581" y="6183"/>
                  </a:cubicBezTo>
                  <a:close/>
                  <a:moveTo>
                    <a:pt x="5577" y="7340"/>
                  </a:moveTo>
                  <a:lnTo>
                    <a:pt x="5450" y="7199"/>
                  </a:lnTo>
                  <a:lnTo>
                    <a:pt x="5578" y="6747"/>
                  </a:lnTo>
                  <a:lnTo>
                    <a:pt x="5719" y="7197"/>
                  </a:lnTo>
                  <a:lnTo>
                    <a:pt x="5577" y="7340"/>
                  </a:lnTo>
                  <a:close/>
                  <a:moveTo>
                    <a:pt x="8268" y="4661"/>
                  </a:moveTo>
                  <a:cubicBezTo>
                    <a:pt x="8268" y="4803"/>
                    <a:pt x="8156" y="4922"/>
                    <a:pt x="8014" y="4930"/>
                  </a:cubicBezTo>
                  <a:lnTo>
                    <a:pt x="7496" y="4962"/>
                  </a:lnTo>
                  <a:cubicBezTo>
                    <a:pt x="7376" y="4969"/>
                    <a:pt x="7272" y="5051"/>
                    <a:pt x="7237" y="5166"/>
                  </a:cubicBezTo>
                  <a:cubicBezTo>
                    <a:pt x="7174" y="5374"/>
                    <a:pt x="7088" y="5576"/>
                    <a:pt x="6983" y="5766"/>
                  </a:cubicBezTo>
                  <a:cubicBezTo>
                    <a:pt x="6924" y="5871"/>
                    <a:pt x="6938" y="6003"/>
                    <a:pt x="7017" y="6095"/>
                  </a:cubicBezTo>
                  <a:lnTo>
                    <a:pt x="7351" y="6484"/>
                  </a:lnTo>
                  <a:cubicBezTo>
                    <a:pt x="7442" y="6591"/>
                    <a:pt x="7436" y="6751"/>
                    <a:pt x="7337" y="6850"/>
                  </a:cubicBezTo>
                  <a:lnTo>
                    <a:pt x="6900" y="7287"/>
                  </a:lnTo>
                  <a:lnTo>
                    <a:pt x="6900" y="7012"/>
                  </a:lnTo>
                  <a:cubicBezTo>
                    <a:pt x="6900" y="6675"/>
                    <a:pt x="6686" y="6377"/>
                    <a:pt x="6368" y="6270"/>
                  </a:cubicBezTo>
                  <a:lnTo>
                    <a:pt x="6200" y="6214"/>
                  </a:lnTo>
                  <a:cubicBezTo>
                    <a:pt x="6685" y="5731"/>
                    <a:pt x="6979" y="5080"/>
                    <a:pt x="7013" y="4402"/>
                  </a:cubicBezTo>
                  <a:cubicBezTo>
                    <a:pt x="7017" y="4333"/>
                    <a:pt x="6964" y="4275"/>
                    <a:pt x="6895" y="4271"/>
                  </a:cubicBezTo>
                  <a:cubicBezTo>
                    <a:pt x="6826" y="4268"/>
                    <a:pt x="6768" y="4321"/>
                    <a:pt x="6764" y="4390"/>
                  </a:cubicBezTo>
                  <a:cubicBezTo>
                    <a:pt x="6733" y="5012"/>
                    <a:pt x="6460" y="5609"/>
                    <a:pt x="6011" y="6049"/>
                  </a:cubicBezTo>
                  <a:cubicBezTo>
                    <a:pt x="6005" y="6029"/>
                    <a:pt x="6002" y="6007"/>
                    <a:pt x="6002" y="5985"/>
                  </a:cubicBezTo>
                  <a:lnTo>
                    <a:pt x="6002" y="5756"/>
                  </a:lnTo>
                  <a:lnTo>
                    <a:pt x="6074" y="5713"/>
                  </a:lnTo>
                  <a:cubicBezTo>
                    <a:pt x="6202" y="5635"/>
                    <a:pt x="6281" y="5494"/>
                    <a:pt x="6281" y="5345"/>
                  </a:cubicBezTo>
                  <a:lnTo>
                    <a:pt x="6281" y="4967"/>
                  </a:lnTo>
                  <a:lnTo>
                    <a:pt x="6281" y="4966"/>
                  </a:lnTo>
                  <a:lnTo>
                    <a:pt x="6281" y="4636"/>
                  </a:lnTo>
                  <a:cubicBezTo>
                    <a:pt x="6281" y="4373"/>
                    <a:pt x="6067" y="4159"/>
                    <a:pt x="5804" y="4159"/>
                  </a:cubicBezTo>
                  <a:lnTo>
                    <a:pt x="5368" y="4159"/>
                  </a:lnTo>
                  <a:cubicBezTo>
                    <a:pt x="5105" y="4159"/>
                    <a:pt x="4891" y="4373"/>
                    <a:pt x="4891" y="4636"/>
                  </a:cubicBezTo>
                  <a:lnTo>
                    <a:pt x="4891" y="4920"/>
                  </a:lnTo>
                  <a:lnTo>
                    <a:pt x="4891" y="4921"/>
                  </a:lnTo>
                  <a:lnTo>
                    <a:pt x="4891" y="5345"/>
                  </a:lnTo>
                  <a:cubicBezTo>
                    <a:pt x="4891" y="5494"/>
                    <a:pt x="4970" y="5635"/>
                    <a:pt x="5097" y="5713"/>
                  </a:cubicBezTo>
                  <a:lnTo>
                    <a:pt x="5169" y="5756"/>
                  </a:lnTo>
                  <a:lnTo>
                    <a:pt x="5169" y="5985"/>
                  </a:lnTo>
                  <a:cubicBezTo>
                    <a:pt x="5169" y="6048"/>
                    <a:pt x="5143" y="6108"/>
                    <a:pt x="5098" y="6150"/>
                  </a:cubicBezTo>
                  <a:cubicBezTo>
                    <a:pt x="5074" y="6172"/>
                    <a:pt x="5047" y="6188"/>
                    <a:pt x="5017" y="6199"/>
                  </a:cubicBezTo>
                  <a:lnTo>
                    <a:pt x="4804" y="6270"/>
                  </a:lnTo>
                  <a:cubicBezTo>
                    <a:pt x="4744" y="6291"/>
                    <a:pt x="4687" y="6318"/>
                    <a:pt x="4635" y="6351"/>
                  </a:cubicBezTo>
                  <a:cubicBezTo>
                    <a:pt x="4521" y="6183"/>
                    <a:pt x="4354" y="6054"/>
                    <a:pt x="4160" y="5989"/>
                  </a:cubicBezTo>
                  <a:lnTo>
                    <a:pt x="3898" y="5901"/>
                  </a:lnTo>
                  <a:cubicBezTo>
                    <a:pt x="3851" y="5885"/>
                    <a:pt x="3810" y="5859"/>
                    <a:pt x="3775" y="5823"/>
                  </a:cubicBezTo>
                  <a:cubicBezTo>
                    <a:pt x="3720" y="5766"/>
                    <a:pt x="3690" y="5690"/>
                    <a:pt x="3690" y="5611"/>
                  </a:cubicBezTo>
                  <a:lnTo>
                    <a:pt x="3690" y="5313"/>
                  </a:lnTo>
                  <a:lnTo>
                    <a:pt x="3793" y="5251"/>
                  </a:lnTo>
                  <a:cubicBezTo>
                    <a:pt x="3941" y="5160"/>
                    <a:pt x="4033" y="4996"/>
                    <a:pt x="4033" y="4822"/>
                  </a:cubicBezTo>
                  <a:lnTo>
                    <a:pt x="4033" y="4357"/>
                  </a:lnTo>
                  <a:lnTo>
                    <a:pt x="4033" y="4356"/>
                  </a:lnTo>
                  <a:lnTo>
                    <a:pt x="4033" y="3950"/>
                  </a:lnTo>
                  <a:cubicBezTo>
                    <a:pt x="4033" y="3642"/>
                    <a:pt x="3783" y="3391"/>
                    <a:pt x="3475" y="3391"/>
                  </a:cubicBezTo>
                  <a:lnTo>
                    <a:pt x="2938" y="3391"/>
                  </a:lnTo>
                  <a:cubicBezTo>
                    <a:pt x="2630" y="3391"/>
                    <a:pt x="2380" y="3642"/>
                    <a:pt x="2380" y="3950"/>
                  </a:cubicBezTo>
                  <a:lnTo>
                    <a:pt x="2380" y="4301"/>
                  </a:lnTo>
                  <a:lnTo>
                    <a:pt x="2380" y="4301"/>
                  </a:lnTo>
                  <a:lnTo>
                    <a:pt x="2380" y="4822"/>
                  </a:lnTo>
                  <a:cubicBezTo>
                    <a:pt x="2380" y="4996"/>
                    <a:pt x="2472" y="5160"/>
                    <a:pt x="2620" y="5251"/>
                  </a:cubicBezTo>
                  <a:lnTo>
                    <a:pt x="2723" y="5313"/>
                  </a:lnTo>
                  <a:lnTo>
                    <a:pt x="2723" y="5611"/>
                  </a:lnTo>
                  <a:cubicBezTo>
                    <a:pt x="2723" y="5696"/>
                    <a:pt x="2687" y="5778"/>
                    <a:pt x="2625" y="5835"/>
                  </a:cubicBezTo>
                  <a:cubicBezTo>
                    <a:pt x="2593" y="5865"/>
                    <a:pt x="2556" y="5887"/>
                    <a:pt x="2515" y="5901"/>
                  </a:cubicBezTo>
                  <a:lnTo>
                    <a:pt x="2253" y="5989"/>
                  </a:lnTo>
                  <a:cubicBezTo>
                    <a:pt x="1873" y="6117"/>
                    <a:pt x="1617" y="6473"/>
                    <a:pt x="1617" y="6875"/>
                  </a:cubicBezTo>
                  <a:lnTo>
                    <a:pt x="1617" y="7287"/>
                  </a:lnTo>
                  <a:lnTo>
                    <a:pt x="1181" y="6850"/>
                  </a:lnTo>
                  <a:cubicBezTo>
                    <a:pt x="1082" y="6751"/>
                    <a:pt x="1076" y="6591"/>
                    <a:pt x="1167" y="6484"/>
                  </a:cubicBezTo>
                  <a:lnTo>
                    <a:pt x="1501" y="6095"/>
                  </a:lnTo>
                  <a:cubicBezTo>
                    <a:pt x="1579" y="6003"/>
                    <a:pt x="1593" y="5871"/>
                    <a:pt x="1535" y="5766"/>
                  </a:cubicBezTo>
                  <a:cubicBezTo>
                    <a:pt x="1429" y="5576"/>
                    <a:pt x="1344" y="5374"/>
                    <a:pt x="1280" y="5166"/>
                  </a:cubicBezTo>
                  <a:cubicBezTo>
                    <a:pt x="1246" y="5051"/>
                    <a:pt x="1141" y="4969"/>
                    <a:pt x="1021" y="4962"/>
                  </a:cubicBezTo>
                  <a:lnTo>
                    <a:pt x="503" y="4930"/>
                  </a:lnTo>
                  <a:cubicBezTo>
                    <a:pt x="361" y="4922"/>
                    <a:pt x="250" y="4803"/>
                    <a:pt x="250" y="4661"/>
                  </a:cubicBezTo>
                  <a:lnTo>
                    <a:pt x="250" y="3915"/>
                  </a:lnTo>
                  <a:cubicBezTo>
                    <a:pt x="250" y="3775"/>
                    <a:pt x="359" y="3657"/>
                    <a:pt x="499" y="3646"/>
                  </a:cubicBezTo>
                  <a:lnTo>
                    <a:pt x="1010" y="3607"/>
                  </a:lnTo>
                  <a:cubicBezTo>
                    <a:pt x="1130" y="3598"/>
                    <a:pt x="1233" y="3514"/>
                    <a:pt x="1266" y="3399"/>
                  </a:cubicBezTo>
                  <a:cubicBezTo>
                    <a:pt x="1326" y="3190"/>
                    <a:pt x="1409" y="2987"/>
                    <a:pt x="1512" y="2795"/>
                  </a:cubicBezTo>
                  <a:cubicBezTo>
                    <a:pt x="1568" y="2689"/>
                    <a:pt x="1553" y="2557"/>
                    <a:pt x="1473" y="2467"/>
                  </a:cubicBezTo>
                  <a:lnTo>
                    <a:pt x="1128" y="2078"/>
                  </a:lnTo>
                  <a:cubicBezTo>
                    <a:pt x="1034" y="1971"/>
                    <a:pt x="1039" y="1809"/>
                    <a:pt x="1140" y="1708"/>
                  </a:cubicBezTo>
                  <a:lnTo>
                    <a:pt x="1667" y="1181"/>
                  </a:lnTo>
                  <a:cubicBezTo>
                    <a:pt x="1766" y="1082"/>
                    <a:pt x="1927" y="1075"/>
                    <a:pt x="2033" y="1167"/>
                  </a:cubicBezTo>
                  <a:lnTo>
                    <a:pt x="2423" y="1501"/>
                  </a:lnTo>
                  <a:cubicBezTo>
                    <a:pt x="2514" y="1579"/>
                    <a:pt x="2646" y="1593"/>
                    <a:pt x="2751" y="1535"/>
                  </a:cubicBezTo>
                  <a:cubicBezTo>
                    <a:pt x="2956" y="1421"/>
                    <a:pt x="3174" y="1331"/>
                    <a:pt x="3399" y="1266"/>
                  </a:cubicBezTo>
                  <a:cubicBezTo>
                    <a:pt x="3514" y="1233"/>
                    <a:pt x="3598" y="1130"/>
                    <a:pt x="3607" y="1010"/>
                  </a:cubicBezTo>
                  <a:lnTo>
                    <a:pt x="3646" y="499"/>
                  </a:lnTo>
                  <a:cubicBezTo>
                    <a:pt x="3657" y="359"/>
                    <a:pt x="3775" y="250"/>
                    <a:pt x="3915" y="250"/>
                  </a:cubicBezTo>
                  <a:lnTo>
                    <a:pt x="4661" y="250"/>
                  </a:lnTo>
                  <a:cubicBezTo>
                    <a:pt x="4803" y="250"/>
                    <a:pt x="4921" y="361"/>
                    <a:pt x="4930" y="503"/>
                  </a:cubicBezTo>
                  <a:lnTo>
                    <a:pt x="4962" y="1021"/>
                  </a:lnTo>
                  <a:cubicBezTo>
                    <a:pt x="4969" y="1141"/>
                    <a:pt x="5051" y="1245"/>
                    <a:pt x="5166" y="1280"/>
                  </a:cubicBezTo>
                  <a:cubicBezTo>
                    <a:pt x="5374" y="1344"/>
                    <a:pt x="5576" y="1429"/>
                    <a:pt x="5766" y="1535"/>
                  </a:cubicBezTo>
                  <a:cubicBezTo>
                    <a:pt x="5871" y="1593"/>
                    <a:pt x="6003" y="1579"/>
                    <a:pt x="6095" y="1501"/>
                  </a:cubicBezTo>
                  <a:lnTo>
                    <a:pt x="6484" y="1167"/>
                  </a:lnTo>
                  <a:cubicBezTo>
                    <a:pt x="6590" y="1076"/>
                    <a:pt x="6751" y="1082"/>
                    <a:pt x="6850" y="1181"/>
                  </a:cubicBezTo>
                  <a:lnTo>
                    <a:pt x="7378" y="1708"/>
                  </a:lnTo>
                  <a:cubicBezTo>
                    <a:pt x="7478" y="1809"/>
                    <a:pt x="7483" y="1971"/>
                    <a:pt x="7389" y="2078"/>
                  </a:cubicBezTo>
                  <a:lnTo>
                    <a:pt x="7045" y="2467"/>
                  </a:lnTo>
                  <a:cubicBezTo>
                    <a:pt x="6965" y="2557"/>
                    <a:pt x="6949" y="2689"/>
                    <a:pt x="7006" y="2795"/>
                  </a:cubicBezTo>
                  <a:cubicBezTo>
                    <a:pt x="7109" y="2987"/>
                    <a:pt x="7191" y="3190"/>
                    <a:pt x="7251" y="3399"/>
                  </a:cubicBezTo>
                  <a:cubicBezTo>
                    <a:pt x="7284" y="3514"/>
                    <a:pt x="7387" y="3598"/>
                    <a:pt x="7507" y="3607"/>
                  </a:cubicBezTo>
                  <a:lnTo>
                    <a:pt x="8018" y="3646"/>
                  </a:lnTo>
                  <a:cubicBezTo>
                    <a:pt x="8158" y="3657"/>
                    <a:pt x="8268" y="3775"/>
                    <a:pt x="8268" y="3915"/>
                  </a:cubicBezTo>
                  <a:lnTo>
                    <a:pt x="8268" y="4661"/>
                  </a:lnTo>
                  <a:close/>
                  <a:moveTo>
                    <a:pt x="8268" y="4661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50">
              <a:extLst>
                <a:ext uri="{FF2B5EF4-FFF2-40B4-BE49-F238E27FC236}">
                  <a16:creationId xmlns:a16="http://schemas.microsoft.com/office/drawing/2014/main" id="{CCCAD0EE-B792-45BA-AC47-9894AFDEF7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7" y="987"/>
              <a:ext cx="2648" cy="2103"/>
            </a:xfrm>
            <a:custGeom>
              <a:avLst/>
              <a:gdLst>
                <a:gd name="T0" fmla="*/ 2641 w 5517"/>
                <a:gd name="T1" fmla="*/ 71 h 4381"/>
                <a:gd name="T2" fmla="*/ 837 w 5517"/>
                <a:gd name="T3" fmla="*/ 877 h 4381"/>
                <a:gd name="T4" fmla="*/ 30 w 5517"/>
                <a:gd name="T5" fmla="*/ 2682 h 4381"/>
                <a:gd name="T6" fmla="*/ 468 w 5517"/>
                <a:gd name="T7" fmla="*/ 4324 h 4381"/>
                <a:gd name="T8" fmla="*/ 573 w 5517"/>
                <a:gd name="T9" fmla="*/ 4381 h 4381"/>
                <a:gd name="T10" fmla="*/ 641 w 5517"/>
                <a:gd name="T11" fmla="*/ 4361 h 4381"/>
                <a:gd name="T12" fmla="*/ 678 w 5517"/>
                <a:gd name="T13" fmla="*/ 4188 h 4381"/>
                <a:gd name="T14" fmla="*/ 279 w 5517"/>
                <a:gd name="T15" fmla="*/ 2695 h 4381"/>
                <a:gd name="T16" fmla="*/ 1013 w 5517"/>
                <a:gd name="T17" fmla="*/ 1054 h 4381"/>
                <a:gd name="T18" fmla="*/ 2654 w 5517"/>
                <a:gd name="T19" fmla="*/ 320 h 4381"/>
                <a:gd name="T20" fmla="*/ 5260 w 5517"/>
                <a:gd name="T21" fmla="*/ 2412 h 4381"/>
                <a:gd name="T22" fmla="*/ 5403 w 5517"/>
                <a:gd name="T23" fmla="*/ 2515 h 4381"/>
                <a:gd name="T24" fmla="*/ 5506 w 5517"/>
                <a:gd name="T25" fmla="*/ 2372 h 4381"/>
                <a:gd name="T26" fmla="*/ 2641 w 5517"/>
                <a:gd name="T27" fmla="*/ 71 h 4381"/>
                <a:gd name="T28" fmla="*/ 2641 w 5517"/>
                <a:gd name="T29" fmla="*/ 71 h 4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17" h="4381">
                  <a:moveTo>
                    <a:pt x="2641" y="71"/>
                  </a:moveTo>
                  <a:cubicBezTo>
                    <a:pt x="1963" y="105"/>
                    <a:pt x="1322" y="392"/>
                    <a:pt x="837" y="877"/>
                  </a:cubicBezTo>
                  <a:cubicBezTo>
                    <a:pt x="351" y="1363"/>
                    <a:pt x="64" y="2004"/>
                    <a:pt x="30" y="2682"/>
                  </a:cubicBezTo>
                  <a:cubicBezTo>
                    <a:pt x="0" y="3268"/>
                    <a:pt x="152" y="3836"/>
                    <a:pt x="468" y="4324"/>
                  </a:cubicBezTo>
                  <a:cubicBezTo>
                    <a:pt x="492" y="4361"/>
                    <a:pt x="532" y="4381"/>
                    <a:pt x="573" y="4381"/>
                  </a:cubicBezTo>
                  <a:cubicBezTo>
                    <a:pt x="596" y="4381"/>
                    <a:pt x="620" y="4374"/>
                    <a:pt x="641" y="4361"/>
                  </a:cubicBezTo>
                  <a:cubicBezTo>
                    <a:pt x="699" y="4323"/>
                    <a:pt x="715" y="4246"/>
                    <a:pt x="678" y="4188"/>
                  </a:cubicBezTo>
                  <a:cubicBezTo>
                    <a:pt x="390" y="3744"/>
                    <a:pt x="252" y="3228"/>
                    <a:pt x="279" y="2695"/>
                  </a:cubicBezTo>
                  <a:cubicBezTo>
                    <a:pt x="310" y="2079"/>
                    <a:pt x="571" y="1496"/>
                    <a:pt x="1013" y="1054"/>
                  </a:cubicBezTo>
                  <a:cubicBezTo>
                    <a:pt x="1455" y="612"/>
                    <a:pt x="2038" y="351"/>
                    <a:pt x="2654" y="320"/>
                  </a:cubicBezTo>
                  <a:cubicBezTo>
                    <a:pt x="3932" y="255"/>
                    <a:pt x="5051" y="1155"/>
                    <a:pt x="5260" y="2412"/>
                  </a:cubicBezTo>
                  <a:cubicBezTo>
                    <a:pt x="5271" y="2480"/>
                    <a:pt x="5335" y="2526"/>
                    <a:pt x="5403" y="2515"/>
                  </a:cubicBezTo>
                  <a:cubicBezTo>
                    <a:pt x="5471" y="2504"/>
                    <a:pt x="5517" y="2440"/>
                    <a:pt x="5506" y="2372"/>
                  </a:cubicBezTo>
                  <a:cubicBezTo>
                    <a:pt x="5277" y="989"/>
                    <a:pt x="4045" y="0"/>
                    <a:pt x="2641" y="71"/>
                  </a:cubicBezTo>
                  <a:close/>
                  <a:moveTo>
                    <a:pt x="2641" y="71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9" name="object 15">
            <a:extLst>
              <a:ext uri="{FF2B5EF4-FFF2-40B4-BE49-F238E27FC236}">
                <a16:creationId xmlns:a16="http://schemas.microsoft.com/office/drawing/2014/main" id="{66EA900B-790E-4B4E-AE40-BB109650E0DE}"/>
              </a:ext>
            </a:extLst>
          </p:cNvPr>
          <p:cNvSpPr txBox="1"/>
          <p:nvPr/>
        </p:nvSpPr>
        <p:spPr>
          <a:xfrm>
            <a:off x="4470241" y="2119292"/>
            <a:ext cx="7366103" cy="4357243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300"/>
              </a:spcAft>
            </a:pP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Асосий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босқичлар</a:t>
            </a:r>
            <a:endParaRPr lang="ru-RU" sz="1400" b="1" spc="-4" dirty="0">
              <a:solidFill>
                <a:schemeClr val="bg2">
                  <a:lumMod val="25000"/>
                </a:schemeClr>
              </a:solidFill>
              <a:cs typeface="Arial" panose="020B0604020202020204" pitchFamily="34" charset="0"/>
            </a:endParaRPr>
          </a:p>
          <a:p>
            <a:pPr marL="238919" indent="-228600">
              <a:spcAft>
                <a:spcPts val="3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Комплаенс-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екширув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ежас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уз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ун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уйидаги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ирад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:</a:t>
            </a:r>
          </a:p>
          <a:p>
            <a:pPr marL="542925" indent="-277813">
              <a:spcAft>
                <a:spcPts val="600"/>
              </a:spcAft>
              <a:buClr>
                <a:schemeClr val="tx2"/>
              </a:buClr>
              <a:buFont typeface="+mj-lt"/>
              <a:buAutoNum type="alphaLcPeriod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ҳлил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илинади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ички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араён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/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ёк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влат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рга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фаолияти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функциялар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ўйхат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;</a:t>
            </a:r>
          </a:p>
          <a:p>
            <a:pPr marL="542925" indent="-277813">
              <a:spcAft>
                <a:spcPts val="600"/>
              </a:spcAft>
              <a:buClr>
                <a:schemeClr val="tx2"/>
              </a:buClr>
              <a:buFont typeface="+mj-lt"/>
              <a:buAutoNum type="alphaLcPeriod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екширили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ерак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ички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ужжат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ўйхат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;</a:t>
            </a:r>
          </a:p>
          <a:p>
            <a:pPr marL="542925" indent="-277813">
              <a:spcAft>
                <a:spcPts val="600"/>
              </a:spcAft>
              <a:buClr>
                <a:schemeClr val="tx2"/>
              </a:buClr>
              <a:buFont typeface="+mj-lt"/>
              <a:buAutoNum type="alphaLcPeriod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ўриб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чиқилаёт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в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;</a:t>
            </a:r>
          </a:p>
          <a:p>
            <a:pPr marL="542925" indent="-277813">
              <a:spcAft>
                <a:spcPts val="600"/>
              </a:spcAft>
              <a:buClr>
                <a:schemeClr val="tx2"/>
              </a:buClr>
              <a:buFont typeface="+mj-lt"/>
              <a:buAutoNum type="alphaLcPeriod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екшир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усул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(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нтервю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ужжатлар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екшир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коррупция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авф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инималлаштир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йич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чора-тадбирлар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мал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шириш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екшир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ошқа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)</a:t>
            </a:r>
          </a:p>
          <a:p>
            <a:pPr marL="238919" indent="-228600">
              <a:spcAft>
                <a:spcPts val="300"/>
              </a:spcAft>
              <a:buClr>
                <a:schemeClr val="tx2"/>
              </a:buClr>
              <a:buAutoNum type="arabicPeriod" startAt="2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Давлат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рга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аҳбар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омонид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екширув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ежас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сдиқла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омлпаенс-текширув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ўтказиш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ошла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ўғриси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уйруқ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чиқарилиш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chemeClr val="tx2"/>
              </a:buClr>
              <a:buFont typeface="+mj-lt"/>
              <a:buAutoNum type="arabicPeriod" startAt="3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аҳбард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влат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ргани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араёнлар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функциялар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эгаларид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мплаенс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екширув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ўтказ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учу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териал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ужжатлар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ўраб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лиш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chemeClr val="tx2"/>
              </a:buClr>
              <a:buFont typeface="+mj-lt"/>
              <a:buAutoNum type="arabicPeriod" startAt="3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қдим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этил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териал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ужжат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ълумотлар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влат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рга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омонид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елгилан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ураш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лаблари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увофиқлилиг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ҳлил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chemeClr val="tx2"/>
              </a:buClr>
              <a:buFont typeface="+mj-lt"/>
              <a:buAutoNum type="arabicPeriod" startAt="3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узатиш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мплаенс-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екшир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атижалар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ужжатлаштир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 шу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умлад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:</a:t>
            </a:r>
          </a:p>
          <a:p>
            <a:pPr marL="542925" indent="-277813">
              <a:spcAft>
                <a:spcPts val="600"/>
              </a:spcAft>
              <a:buClr>
                <a:schemeClr val="tx2"/>
              </a:buClr>
              <a:buFont typeface="+mj-lt"/>
              <a:buAutoNum type="alphaLcPeriod"/>
            </a:pPr>
            <a:r>
              <a:rPr lang="uz-Cyrl-UZ" sz="1200" spc="-4" dirty="0">
                <a:solidFill>
                  <a:schemeClr val="tx2"/>
                </a:solidFill>
                <a:cs typeface="Arial" panose="020B0604020202020204" pitchFamily="34" charset="0"/>
              </a:rPr>
              <a:t>Текшириш</a:t>
            </a: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оираси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мал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ширил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аракат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сдиқлан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ртиб-таомил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ўғриси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ълумот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542925" indent="-277813">
              <a:spcAft>
                <a:spcPts val="600"/>
              </a:spcAft>
              <a:buClr>
                <a:schemeClr val="tx2"/>
              </a:buClr>
              <a:buFont typeface="+mj-lt"/>
              <a:buAutoNum type="alphaLcPeriod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Аниқланган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оидабузарлик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/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узатув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ақи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ълумот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542925" indent="-277813">
              <a:spcAft>
                <a:spcPts val="600"/>
              </a:spcAft>
              <a:buClr>
                <a:schemeClr val="tx2"/>
              </a:buClr>
              <a:buFont typeface="+mj-lt"/>
              <a:buAutoNum type="alphaLcPeriod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Комплаенс-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екширув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улосалар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/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атижалар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сдиқловч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файл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/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ужжат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(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ўрал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ужжатлар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усхалар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/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канерлан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ерсиялар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)</a:t>
            </a:r>
          </a:p>
        </p:txBody>
      </p:sp>
      <p:sp>
        <p:nvSpPr>
          <p:cNvPr id="30" name="object 12">
            <a:extLst>
              <a:ext uri="{FF2B5EF4-FFF2-40B4-BE49-F238E27FC236}">
                <a16:creationId xmlns:a16="http://schemas.microsoft.com/office/drawing/2014/main" id="{998814BB-E9ED-40FB-948C-E7415E22092C}"/>
              </a:ext>
            </a:extLst>
          </p:cNvPr>
          <p:cNvSpPr/>
          <p:nvPr/>
        </p:nvSpPr>
        <p:spPr>
          <a:xfrm>
            <a:off x="3655082" y="207111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C2F360BA-ABE2-4542-B373-81B0955F9977}"/>
              </a:ext>
            </a:extLst>
          </p:cNvPr>
          <p:cNvSpPr/>
          <p:nvPr/>
        </p:nvSpPr>
        <p:spPr>
          <a:xfrm>
            <a:off x="431998" y="4722286"/>
            <a:ext cx="2981723" cy="1745548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/>
          <a:lstStyle/>
          <a:p>
            <a:pPr>
              <a:spcAft>
                <a:spcPts val="600"/>
              </a:spcAft>
            </a:pPr>
            <a:r>
              <a:rPr lang="ru-RU" sz="1200" dirty="0">
                <a:solidFill>
                  <a:schemeClr val="tx2"/>
                </a:solidFill>
              </a:rPr>
              <a:t>Коррупцияга </a:t>
            </a:r>
            <a:r>
              <a:rPr lang="ru-RU" sz="1200" dirty="0" err="1">
                <a:solidFill>
                  <a:schemeClr val="tx2"/>
                </a:solidFill>
              </a:rPr>
              <a:t>қарши</a:t>
            </a:r>
            <a:r>
              <a:rPr lang="ru-RU" sz="1200" dirty="0">
                <a:solidFill>
                  <a:schemeClr val="tx2"/>
                </a:solidFill>
              </a:rPr>
              <a:t> комплаенс </a:t>
            </a:r>
            <a:r>
              <a:rPr lang="ru-RU" sz="1200" dirty="0" err="1">
                <a:solidFill>
                  <a:schemeClr val="tx2"/>
                </a:solidFill>
              </a:rPr>
              <a:t>тизим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комиллаштир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йич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чора-тадбирлар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йўл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харитаси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иритилади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узат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чоралар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ишлаб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чиқиш</a:t>
            </a:r>
            <a:r>
              <a:rPr lang="ru-RU" sz="1200" dirty="0">
                <a:solidFill>
                  <a:schemeClr val="tx2"/>
                </a:solidFill>
              </a:rPr>
              <a:t>.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B1E4528-4F03-4460-926A-2322AEE962C0}"/>
              </a:ext>
            </a:extLst>
          </p:cNvPr>
          <p:cNvGrpSpPr/>
          <p:nvPr/>
        </p:nvGrpSpPr>
        <p:grpSpPr>
          <a:xfrm>
            <a:off x="-2" y="4092359"/>
            <a:ext cx="3413724" cy="573322"/>
            <a:chOff x="-3" y="1138806"/>
            <a:chExt cx="9575803" cy="1463040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C9F07D60-6CC6-418F-8756-36A3F7D43B43}"/>
                </a:ext>
              </a:extLst>
            </p:cNvPr>
            <p:cNvSpPr/>
            <p:nvPr/>
          </p:nvSpPr>
          <p:spPr>
            <a:xfrm>
              <a:off x="-3" y="1138806"/>
              <a:ext cx="1282562" cy="1463040"/>
            </a:xfrm>
            <a:prstGeom prst="rect">
              <a:avLst/>
            </a:prstGeom>
            <a:solidFill>
              <a:srgbClr val="CDF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B73BBC74-7290-4535-B89D-8BE7A2BB11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Blur radius="3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" t="25090" r="277" b="26127"/>
            <a:stretch/>
          </p:blipFill>
          <p:spPr>
            <a:xfrm>
              <a:off x="0" y="1138806"/>
              <a:ext cx="9575800" cy="1458253"/>
            </a:xfrm>
            <a:prstGeom prst="roundRect">
              <a:avLst>
                <a:gd name="adj" fmla="val 50000"/>
              </a:avLst>
            </a:prstGeom>
          </p:spPr>
        </p:pic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F86703D0-4391-4096-BE8B-A22DA6E9D33C}"/>
              </a:ext>
            </a:extLst>
          </p:cNvPr>
          <p:cNvSpPr txBox="1"/>
          <p:nvPr/>
        </p:nvSpPr>
        <p:spPr>
          <a:xfrm>
            <a:off x="416561" y="4098929"/>
            <a:ext cx="1327179" cy="55475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Натижа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: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669A987-9407-4F32-9EFA-4A43DE61C0C7}"/>
              </a:ext>
            </a:extLst>
          </p:cNvPr>
          <p:cNvGrpSpPr/>
          <p:nvPr/>
        </p:nvGrpSpPr>
        <p:grpSpPr>
          <a:xfrm rot="5400000">
            <a:off x="2870031" y="4202967"/>
            <a:ext cx="238043" cy="377590"/>
            <a:chOff x="3841139" y="1940745"/>
            <a:chExt cx="238043" cy="442712"/>
          </a:xfrm>
          <a:solidFill>
            <a:srgbClr val="1BD7D3"/>
          </a:solidFill>
        </p:grpSpPr>
        <p:sp>
          <p:nvSpPr>
            <p:cNvPr id="41" name="Arrow: Chevron 40">
              <a:extLst>
                <a:ext uri="{FF2B5EF4-FFF2-40B4-BE49-F238E27FC236}">
                  <a16:creationId xmlns:a16="http://schemas.microsoft.com/office/drawing/2014/main" id="{6762DB98-C396-4EC2-A7B4-BDF147A77430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42" name="Arrow: Chevron 41">
              <a:extLst>
                <a:ext uri="{FF2B5EF4-FFF2-40B4-BE49-F238E27FC236}">
                  <a16:creationId xmlns:a16="http://schemas.microsoft.com/office/drawing/2014/main" id="{D5CBD44F-F5C4-4332-A3D4-664F8A0B4BD3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3" name="Freeform 205">
            <a:extLst>
              <a:ext uri="{FF2B5EF4-FFF2-40B4-BE49-F238E27FC236}">
                <a16:creationId xmlns:a16="http://schemas.microsoft.com/office/drawing/2014/main" id="{D47FF20D-526D-44E6-A964-C81D26960227}"/>
              </a:ext>
            </a:extLst>
          </p:cNvPr>
          <p:cNvSpPr>
            <a:spLocks noEditPoints="1"/>
          </p:cNvSpPr>
          <p:nvPr/>
        </p:nvSpPr>
        <p:spPr bwMode="auto">
          <a:xfrm>
            <a:off x="3636570" y="2110255"/>
            <a:ext cx="513435" cy="547162"/>
          </a:xfrm>
          <a:custGeom>
            <a:avLst/>
            <a:gdLst>
              <a:gd name="T0" fmla="*/ 7618 w 7695"/>
              <a:gd name="T1" fmla="*/ 505 h 8533"/>
              <a:gd name="T2" fmla="*/ 5990 w 7695"/>
              <a:gd name="T3" fmla="*/ 190 h 8533"/>
              <a:gd name="T4" fmla="*/ 5740 w 7695"/>
              <a:gd name="T5" fmla="*/ 125 h 8533"/>
              <a:gd name="T6" fmla="*/ 4673 w 7695"/>
              <a:gd name="T7" fmla="*/ 2238 h 8533"/>
              <a:gd name="T8" fmla="*/ 3884 w 7695"/>
              <a:gd name="T9" fmla="*/ 1841 h 8533"/>
              <a:gd name="T10" fmla="*/ 3857 w 7695"/>
              <a:gd name="T11" fmla="*/ 2656 h 8533"/>
              <a:gd name="T12" fmla="*/ 3822 w 7695"/>
              <a:gd name="T13" fmla="*/ 3269 h 8533"/>
              <a:gd name="T14" fmla="*/ 4063 w 7695"/>
              <a:gd name="T15" fmla="*/ 3337 h 8533"/>
              <a:gd name="T16" fmla="*/ 4477 w 7695"/>
              <a:gd name="T17" fmla="*/ 2782 h 8533"/>
              <a:gd name="T18" fmla="*/ 5893 w 7695"/>
              <a:gd name="T19" fmla="*/ 2014 h 8533"/>
              <a:gd name="T20" fmla="*/ 4747 w 7695"/>
              <a:gd name="T21" fmla="*/ 2981 h 8533"/>
              <a:gd name="T22" fmla="*/ 4589 w 7695"/>
              <a:gd name="T23" fmla="*/ 3369 h 8533"/>
              <a:gd name="T24" fmla="*/ 3807 w 7695"/>
              <a:gd name="T25" fmla="*/ 4239 h 8533"/>
              <a:gd name="T26" fmla="*/ 3687 w 7695"/>
              <a:gd name="T27" fmla="*/ 3745 h 8533"/>
              <a:gd name="T28" fmla="*/ 3443 w 7695"/>
              <a:gd name="T29" fmla="*/ 5360 h 8533"/>
              <a:gd name="T30" fmla="*/ 2477 w 7695"/>
              <a:gd name="T31" fmla="*/ 6659 h 8533"/>
              <a:gd name="T32" fmla="*/ 1873 w 7695"/>
              <a:gd name="T33" fmla="*/ 7408 h 8533"/>
              <a:gd name="T34" fmla="*/ 426 w 7695"/>
              <a:gd name="T35" fmla="*/ 8283 h 8533"/>
              <a:gd name="T36" fmla="*/ 125 w 7695"/>
              <a:gd name="T37" fmla="*/ 8533 h 8533"/>
              <a:gd name="T38" fmla="*/ 7499 w 7695"/>
              <a:gd name="T39" fmla="*/ 8283 h 8533"/>
              <a:gd name="T40" fmla="*/ 6747 w 7695"/>
              <a:gd name="T41" fmla="*/ 4633 h 8533"/>
              <a:gd name="T42" fmla="*/ 6116 w 7695"/>
              <a:gd name="T43" fmla="*/ 1782 h 8533"/>
              <a:gd name="T44" fmla="*/ 5990 w 7695"/>
              <a:gd name="T45" fmla="*/ 1462 h 8533"/>
              <a:gd name="T46" fmla="*/ 7618 w 7695"/>
              <a:gd name="T47" fmla="*/ 1147 h 8533"/>
              <a:gd name="T48" fmla="*/ 4110 w 7695"/>
              <a:gd name="T49" fmla="*/ 2007 h 8533"/>
              <a:gd name="T50" fmla="*/ 4450 w 7695"/>
              <a:gd name="T51" fmla="*/ 2352 h 8533"/>
              <a:gd name="T52" fmla="*/ 4275 w 7695"/>
              <a:gd name="T53" fmla="*/ 2605 h 8533"/>
              <a:gd name="T54" fmla="*/ 3926 w 7695"/>
              <a:gd name="T55" fmla="*/ 2149 h 8533"/>
              <a:gd name="T56" fmla="*/ 3675 w 7695"/>
              <a:gd name="T57" fmla="*/ 6478 h 8533"/>
              <a:gd name="T58" fmla="*/ 4359 w 7695"/>
              <a:gd name="T59" fmla="*/ 5465 h 8533"/>
              <a:gd name="T60" fmla="*/ 4496 w 7695"/>
              <a:gd name="T61" fmla="*/ 5162 h 8533"/>
              <a:gd name="T62" fmla="*/ 4269 w 7695"/>
              <a:gd name="T63" fmla="*/ 5690 h 8533"/>
              <a:gd name="T64" fmla="*/ 4815 w 7695"/>
              <a:gd name="T65" fmla="*/ 5853 h 8533"/>
              <a:gd name="T66" fmla="*/ 4472 w 7695"/>
              <a:gd name="T67" fmla="*/ 4846 h 8533"/>
              <a:gd name="T68" fmla="*/ 5008 w 7695"/>
              <a:gd name="T69" fmla="*/ 4999 h 8533"/>
              <a:gd name="T70" fmla="*/ 3738 w 7695"/>
              <a:gd name="T71" fmla="*/ 4538 h 8533"/>
              <a:gd name="T72" fmla="*/ 4210 w 7695"/>
              <a:gd name="T73" fmla="*/ 4888 h 8533"/>
              <a:gd name="T74" fmla="*/ 3226 w 7695"/>
              <a:gd name="T75" fmla="*/ 6659 h 8533"/>
              <a:gd name="T76" fmla="*/ 676 w 7695"/>
              <a:gd name="T77" fmla="*/ 7835 h 8533"/>
              <a:gd name="T78" fmla="*/ 2050 w 7695"/>
              <a:gd name="T79" fmla="*/ 7835 h 8533"/>
              <a:gd name="T80" fmla="*/ 676 w 7695"/>
              <a:gd name="T81" fmla="*/ 7835 h 8533"/>
              <a:gd name="T82" fmla="*/ 2477 w 7695"/>
              <a:gd name="T83" fmla="*/ 6909 h 8533"/>
              <a:gd name="T84" fmla="*/ 3675 w 7695"/>
              <a:gd name="T85" fmla="*/ 8283 h 8533"/>
              <a:gd name="T86" fmla="*/ 6924 w 7695"/>
              <a:gd name="T87" fmla="*/ 5060 h 8533"/>
              <a:gd name="T88" fmla="*/ 5550 w 7695"/>
              <a:gd name="T89" fmla="*/ 7533 h 8533"/>
              <a:gd name="T90" fmla="*/ 5299 w 7695"/>
              <a:gd name="T91" fmla="*/ 8283 h 8533"/>
              <a:gd name="T92" fmla="*/ 4102 w 7695"/>
              <a:gd name="T93" fmla="*/ 6104 h 8533"/>
              <a:gd name="T94" fmla="*/ 5299 w 7695"/>
              <a:gd name="T95" fmla="*/ 6908 h 8533"/>
              <a:gd name="T96" fmla="*/ 5549 w 7695"/>
              <a:gd name="T97" fmla="*/ 5060 h 8533"/>
              <a:gd name="T98" fmla="*/ 5865 w 7695"/>
              <a:gd name="T99" fmla="*/ 4883 h 8533"/>
              <a:gd name="T100" fmla="*/ 6924 w 7695"/>
              <a:gd name="T101" fmla="*/ 5060 h 8533"/>
              <a:gd name="T102" fmla="*/ 5299 w 7695"/>
              <a:gd name="T103" fmla="*/ 5892 h 8533"/>
              <a:gd name="T104" fmla="*/ 5115 w 7695"/>
              <a:gd name="T105" fmla="*/ 4660 h 8533"/>
              <a:gd name="T106" fmla="*/ 5740 w 7695"/>
              <a:gd name="T107" fmla="*/ 2671 h 8533"/>
              <a:gd name="T108" fmla="*/ 5990 w 7695"/>
              <a:gd name="T109" fmla="*/ 1212 h 8533"/>
              <a:gd name="T110" fmla="*/ 7029 w 7695"/>
              <a:gd name="T111" fmla="*/ 691 h 8533"/>
              <a:gd name="T112" fmla="*/ 7314 w 7695"/>
              <a:gd name="T113" fmla="*/ 1212 h 85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695" h="8533">
                <a:moveTo>
                  <a:pt x="7618" y="1147"/>
                </a:moveTo>
                <a:lnTo>
                  <a:pt x="7254" y="826"/>
                </a:lnTo>
                <a:lnTo>
                  <a:pt x="7618" y="505"/>
                </a:lnTo>
                <a:cubicBezTo>
                  <a:pt x="7675" y="455"/>
                  <a:pt x="7695" y="377"/>
                  <a:pt x="7668" y="306"/>
                </a:cubicBezTo>
                <a:cubicBezTo>
                  <a:pt x="7641" y="236"/>
                  <a:pt x="7575" y="190"/>
                  <a:pt x="7499" y="190"/>
                </a:cubicBezTo>
                <a:lnTo>
                  <a:pt x="5990" y="190"/>
                </a:lnTo>
                <a:lnTo>
                  <a:pt x="5990" y="125"/>
                </a:lnTo>
                <a:cubicBezTo>
                  <a:pt x="5990" y="56"/>
                  <a:pt x="5935" y="0"/>
                  <a:pt x="5865" y="0"/>
                </a:cubicBezTo>
                <a:cubicBezTo>
                  <a:pt x="5796" y="0"/>
                  <a:pt x="5740" y="56"/>
                  <a:pt x="5740" y="125"/>
                </a:cubicBezTo>
                <a:lnTo>
                  <a:pt x="5740" y="1812"/>
                </a:lnTo>
                <a:lnTo>
                  <a:pt x="4713" y="2370"/>
                </a:lnTo>
                <a:cubicBezTo>
                  <a:pt x="4708" y="2324"/>
                  <a:pt x="4694" y="2280"/>
                  <a:pt x="4673" y="2238"/>
                </a:cubicBezTo>
                <a:lnTo>
                  <a:pt x="4528" y="1956"/>
                </a:lnTo>
                <a:cubicBezTo>
                  <a:pt x="4429" y="1762"/>
                  <a:pt x="4190" y="1685"/>
                  <a:pt x="3996" y="1784"/>
                </a:cubicBezTo>
                <a:lnTo>
                  <a:pt x="3884" y="1841"/>
                </a:lnTo>
                <a:cubicBezTo>
                  <a:pt x="3790" y="1889"/>
                  <a:pt x="3720" y="1971"/>
                  <a:pt x="3688" y="2072"/>
                </a:cubicBezTo>
                <a:cubicBezTo>
                  <a:pt x="3656" y="2172"/>
                  <a:pt x="3664" y="2279"/>
                  <a:pt x="3712" y="2373"/>
                </a:cubicBezTo>
                <a:lnTo>
                  <a:pt x="3857" y="2656"/>
                </a:lnTo>
                <a:cubicBezTo>
                  <a:pt x="3891" y="2722"/>
                  <a:pt x="3941" y="2774"/>
                  <a:pt x="4000" y="2811"/>
                </a:cubicBezTo>
                <a:cubicBezTo>
                  <a:pt x="3923" y="2914"/>
                  <a:pt x="3886" y="3041"/>
                  <a:pt x="3849" y="3173"/>
                </a:cubicBezTo>
                <a:lnTo>
                  <a:pt x="3822" y="3269"/>
                </a:lnTo>
                <a:cubicBezTo>
                  <a:pt x="3803" y="3335"/>
                  <a:pt x="3842" y="3404"/>
                  <a:pt x="3908" y="3423"/>
                </a:cubicBezTo>
                <a:cubicBezTo>
                  <a:pt x="3920" y="3426"/>
                  <a:pt x="3931" y="3428"/>
                  <a:pt x="3942" y="3428"/>
                </a:cubicBezTo>
                <a:cubicBezTo>
                  <a:pt x="3997" y="3428"/>
                  <a:pt x="4047" y="3392"/>
                  <a:pt x="4063" y="3337"/>
                </a:cubicBezTo>
                <a:lnTo>
                  <a:pt x="4090" y="3242"/>
                </a:lnTo>
                <a:cubicBezTo>
                  <a:pt x="4144" y="3048"/>
                  <a:pt x="4178" y="2945"/>
                  <a:pt x="4285" y="2887"/>
                </a:cubicBezTo>
                <a:lnTo>
                  <a:pt x="4477" y="2782"/>
                </a:lnTo>
                <a:lnTo>
                  <a:pt x="4501" y="2770"/>
                </a:lnTo>
                <a:cubicBezTo>
                  <a:pt x="4509" y="2766"/>
                  <a:pt x="4516" y="2762"/>
                  <a:pt x="4524" y="2757"/>
                </a:cubicBezTo>
                <a:lnTo>
                  <a:pt x="5893" y="2014"/>
                </a:lnTo>
                <a:cubicBezTo>
                  <a:pt x="5884" y="2185"/>
                  <a:pt x="5792" y="2346"/>
                  <a:pt x="5640" y="2439"/>
                </a:cubicBezTo>
                <a:lnTo>
                  <a:pt x="4750" y="2980"/>
                </a:lnTo>
                <a:cubicBezTo>
                  <a:pt x="4749" y="2980"/>
                  <a:pt x="4748" y="2981"/>
                  <a:pt x="4747" y="2981"/>
                </a:cubicBezTo>
                <a:lnTo>
                  <a:pt x="4470" y="3150"/>
                </a:lnTo>
                <a:cubicBezTo>
                  <a:pt x="4411" y="3186"/>
                  <a:pt x="4392" y="3263"/>
                  <a:pt x="4428" y="3322"/>
                </a:cubicBezTo>
                <a:cubicBezTo>
                  <a:pt x="4462" y="3377"/>
                  <a:pt x="4532" y="3397"/>
                  <a:pt x="4589" y="3369"/>
                </a:cubicBezTo>
                <a:lnTo>
                  <a:pt x="4379" y="4005"/>
                </a:lnTo>
                <a:lnTo>
                  <a:pt x="4225" y="4068"/>
                </a:lnTo>
                <a:lnTo>
                  <a:pt x="3807" y="4239"/>
                </a:lnTo>
                <a:lnTo>
                  <a:pt x="3928" y="3813"/>
                </a:lnTo>
                <a:cubicBezTo>
                  <a:pt x="3947" y="3747"/>
                  <a:pt x="3908" y="3678"/>
                  <a:pt x="3842" y="3659"/>
                </a:cubicBezTo>
                <a:cubicBezTo>
                  <a:pt x="3775" y="3640"/>
                  <a:pt x="3706" y="3679"/>
                  <a:pt x="3687" y="3745"/>
                </a:cubicBezTo>
                <a:lnTo>
                  <a:pt x="3497" y="4418"/>
                </a:lnTo>
                <a:cubicBezTo>
                  <a:pt x="3494" y="4427"/>
                  <a:pt x="3493" y="4436"/>
                  <a:pt x="3492" y="4445"/>
                </a:cubicBezTo>
                <a:lnTo>
                  <a:pt x="3443" y="5360"/>
                </a:lnTo>
                <a:cubicBezTo>
                  <a:pt x="3441" y="5395"/>
                  <a:pt x="3448" y="5461"/>
                  <a:pt x="3432" y="5495"/>
                </a:cubicBezTo>
                <a:lnTo>
                  <a:pt x="2879" y="6659"/>
                </a:lnTo>
                <a:lnTo>
                  <a:pt x="2477" y="6659"/>
                </a:lnTo>
                <a:cubicBezTo>
                  <a:pt x="2242" y="6659"/>
                  <a:pt x="2050" y="6850"/>
                  <a:pt x="2050" y="7086"/>
                </a:cubicBezTo>
                <a:lnTo>
                  <a:pt x="2050" y="7447"/>
                </a:lnTo>
                <a:cubicBezTo>
                  <a:pt x="1996" y="7422"/>
                  <a:pt x="1936" y="7408"/>
                  <a:pt x="1873" y="7408"/>
                </a:cubicBezTo>
                <a:lnTo>
                  <a:pt x="853" y="7408"/>
                </a:lnTo>
                <a:cubicBezTo>
                  <a:pt x="617" y="7408"/>
                  <a:pt x="426" y="7600"/>
                  <a:pt x="426" y="7835"/>
                </a:cubicBezTo>
                <a:lnTo>
                  <a:pt x="426" y="8283"/>
                </a:lnTo>
                <a:lnTo>
                  <a:pt x="125" y="8283"/>
                </a:lnTo>
                <a:cubicBezTo>
                  <a:pt x="56" y="8283"/>
                  <a:pt x="0" y="8339"/>
                  <a:pt x="0" y="8408"/>
                </a:cubicBezTo>
                <a:cubicBezTo>
                  <a:pt x="0" y="8477"/>
                  <a:pt x="56" y="8533"/>
                  <a:pt x="125" y="8533"/>
                </a:cubicBezTo>
                <a:lnTo>
                  <a:pt x="7499" y="8533"/>
                </a:lnTo>
                <a:cubicBezTo>
                  <a:pt x="7568" y="8533"/>
                  <a:pt x="7624" y="8477"/>
                  <a:pt x="7624" y="8408"/>
                </a:cubicBezTo>
                <a:cubicBezTo>
                  <a:pt x="7624" y="8339"/>
                  <a:pt x="7568" y="8283"/>
                  <a:pt x="7499" y="8283"/>
                </a:cubicBezTo>
                <a:lnTo>
                  <a:pt x="7174" y="8283"/>
                </a:lnTo>
                <a:lnTo>
                  <a:pt x="7174" y="5060"/>
                </a:lnTo>
                <a:cubicBezTo>
                  <a:pt x="7174" y="4824"/>
                  <a:pt x="6983" y="4633"/>
                  <a:pt x="6747" y="4633"/>
                </a:cubicBezTo>
                <a:lnTo>
                  <a:pt x="5990" y="4633"/>
                </a:lnTo>
                <a:lnTo>
                  <a:pt x="5990" y="2451"/>
                </a:lnTo>
                <a:cubicBezTo>
                  <a:pt x="6129" y="2263"/>
                  <a:pt x="6181" y="2016"/>
                  <a:pt x="6116" y="1782"/>
                </a:cubicBezTo>
                <a:cubicBezTo>
                  <a:pt x="6106" y="1746"/>
                  <a:pt x="6080" y="1715"/>
                  <a:pt x="6045" y="1700"/>
                </a:cubicBezTo>
                <a:cubicBezTo>
                  <a:pt x="6027" y="1693"/>
                  <a:pt x="6009" y="1690"/>
                  <a:pt x="5990" y="1691"/>
                </a:cubicBezTo>
                <a:lnTo>
                  <a:pt x="5990" y="1462"/>
                </a:lnTo>
                <a:lnTo>
                  <a:pt x="7499" y="1462"/>
                </a:lnTo>
                <a:cubicBezTo>
                  <a:pt x="7575" y="1462"/>
                  <a:pt x="7641" y="1417"/>
                  <a:pt x="7668" y="1346"/>
                </a:cubicBezTo>
                <a:cubicBezTo>
                  <a:pt x="7695" y="1275"/>
                  <a:pt x="7675" y="1197"/>
                  <a:pt x="7618" y="1147"/>
                </a:cubicBezTo>
                <a:close/>
                <a:moveTo>
                  <a:pt x="3926" y="2149"/>
                </a:moveTo>
                <a:cubicBezTo>
                  <a:pt x="3938" y="2112"/>
                  <a:pt x="3964" y="2082"/>
                  <a:pt x="3998" y="2064"/>
                </a:cubicBezTo>
                <a:lnTo>
                  <a:pt x="4110" y="2007"/>
                </a:lnTo>
                <a:cubicBezTo>
                  <a:pt x="4131" y="1996"/>
                  <a:pt x="4154" y="1991"/>
                  <a:pt x="4176" y="1991"/>
                </a:cubicBezTo>
                <a:cubicBezTo>
                  <a:pt x="4229" y="1991"/>
                  <a:pt x="4280" y="2020"/>
                  <a:pt x="4305" y="2070"/>
                </a:cubicBezTo>
                <a:lnTo>
                  <a:pt x="4450" y="2352"/>
                </a:lnTo>
                <a:cubicBezTo>
                  <a:pt x="4484" y="2418"/>
                  <a:pt x="4462" y="2498"/>
                  <a:pt x="4402" y="2539"/>
                </a:cubicBezTo>
                <a:lnTo>
                  <a:pt x="4361" y="2561"/>
                </a:lnTo>
                <a:lnTo>
                  <a:pt x="4275" y="2605"/>
                </a:lnTo>
                <a:cubicBezTo>
                  <a:pt x="4204" y="2641"/>
                  <a:pt x="4116" y="2613"/>
                  <a:pt x="4080" y="2542"/>
                </a:cubicBezTo>
                <a:lnTo>
                  <a:pt x="3935" y="2259"/>
                </a:lnTo>
                <a:cubicBezTo>
                  <a:pt x="3917" y="2225"/>
                  <a:pt x="3914" y="2185"/>
                  <a:pt x="3926" y="2149"/>
                </a:cubicBezTo>
                <a:close/>
                <a:moveTo>
                  <a:pt x="3675" y="6697"/>
                </a:moveTo>
                <a:cubicBezTo>
                  <a:pt x="3632" y="6678"/>
                  <a:pt x="3586" y="6665"/>
                  <a:pt x="3538" y="6661"/>
                </a:cubicBezTo>
                <a:lnTo>
                  <a:pt x="3675" y="6478"/>
                </a:lnTo>
                <a:lnTo>
                  <a:pt x="3675" y="6697"/>
                </a:lnTo>
                <a:close/>
                <a:moveTo>
                  <a:pt x="4269" y="5690"/>
                </a:moveTo>
                <a:cubicBezTo>
                  <a:pt x="4329" y="5618"/>
                  <a:pt x="4345" y="5533"/>
                  <a:pt x="4359" y="5465"/>
                </a:cubicBezTo>
                <a:cubicBezTo>
                  <a:pt x="4362" y="5449"/>
                  <a:pt x="4424" y="5112"/>
                  <a:pt x="4424" y="5112"/>
                </a:cubicBezTo>
                <a:cubicBezTo>
                  <a:pt x="4424" y="5112"/>
                  <a:pt x="4482" y="5149"/>
                  <a:pt x="4488" y="5151"/>
                </a:cubicBezTo>
                <a:cubicBezTo>
                  <a:pt x="4493" y="5153"/>
                  <a:pt x="4496" y="5157"/>
                  <a:pt x="4496" y="5162"/>
                </a:cubicBezTo>
                <a:lnTo>
                  <a:pt x="4564" y="5854"/>
                </a:lnTo>
                <a:lnTo>
                  <a:pt x="4145" y="5854"/>
                </a:lnTo>
                <a:lnTo>
                  <a:pt x="4269" y="5690"/>
                </a:lnTo>
                <a:close/>
                <a:moveTo>
                  <a:pt x="5008" y="4999"/>
                </a:moveTo>
                <a:lnTo>
                  <a:pt x="4903" y="5853"/>
                </a:lnTo>
                <a:lnTo>
                  <a:pt x="4815" y="5853"/>
                </a:lnTo>
                <a:lnTo>
                  <a:pt x="4745" y="5138"/>
                </a:lnTo>
                <a:cubicBezTo>
                  <a:pt x="4736" y="5046"/>
                  <a:pt x="4680" y="4966"/>
                  <a:pt x="4598" y="4926"/>
                </a:cubicBezTo>
                <a:lnTo>
                  <a:pt x="4472" y="4846"/>
                </a:lnTo>
                <a:lnTo>
                  <a:pt x="4556" y="4382"/>
                </a:lnTo>
                <a:cubicBezTo>
                  <a:pt x="4556" y="4382"/>
                  <a:pt x="4909" y="4801"/>
                  <a:pt x="4917" y="4812"/>
                </a:cubicBezTo>
                <a:cubicBezTo>
                  <a:pt x="4990" y="4907"/>
                  <a:pt x="5015" y="4945"/>
                  <a:pt x="5008" y="4999"/>
                </a:cubicBezTo>
                <a:close/>
                <a:moveTo>
                  <a:pt x="3657" y="5605"/>
                </a:moveTo>
                <a:cubicBezTo>
                  <a:pt x="3683" y="5529"/>
                  <a:pt x="3694" y="5451"/>
                  <a:pt x="3692" y="5372"/>
                </a:cubicBezTo>
                <a:lnTo>
                  <a:pt x="3738" y="4538"/>
                </a:lnTo>
                <a:lnTo>
                  <a:pt x="4316" y="4301"/>
                </a:lnTo>
                <a:lnTo>
                  <a:pt x="4211" y="4883"/>
                </a:lnTo>
                <a:cubicBezTo>
                  <a:pt x="4211" y="4885"/>
                  <a:pt x="4210" y="4887"/>
                  <a:pt x="4210" y="4888"/>
                </a:cubicBezTo>
                <a:lnTo>
                  <a:pt x="4123" y="5370"/>
                </a:lnTo>
                <a:cubicBezTo>
                  <a:pt x="4112" y="5420"/>
                  <a:pt x="4102" y="5495"/>
                  <a:pt x="4071" y="5536"/>
                </a:cubicBezTo>
                <a:lnTo>
                  <a:pt x="3226" y="6659"/>
                </a:lnTo>
                <a:lnTo>
                  <a:pt x="3156" y="6659"/>
                </a:lnTo>
                <a:lnTo>
                  <a:pt x="3657" y="5605"/>
                </a:lnTo>
                <a:close/>
                <a:moveTo>
                  <a:pt x="676" y="7835"/>
                </a:moveTo>
                <a:cubicBezTo>
                  <a:pt x="676" y="7738"/>
                  <a:pt x="755" y="7658"/>
                  <a:pt x="853" y="7658"/>
                </a:cubicBezTo>
                <a:lnTo>
                  <a:pt x="1873" y="7658"/>
                </a:lnTo>
                <a:cubicBezTo>
                  <a:pt x="1971" y="7658"/>
                  <a:pt x="2050" y="7738"/>
                  <a:pt x="2050" y="7835"/>
                </a:cubicBezTo>
                <a:lnTo>
                  <a:pt x="2050" y="8283"/>
                </a:lnTo>
                <a:lnTo>
                  <a:pt x="676" y="8283"/>
                </a:lnTo>
                <a:lnTo>
                  <a:pt x="676" y="7835"/>
                </a:lnTo>
                <a:close/>
                <a:moveTo>
                  <a:pt x="2300" y="7835"/>
                </a:moveTo>
                <a:lnTo>
                  <a:pt x="2300" y="7086"/>
                </a:lnTo>
                <a:cubicBezTo>
                  <a:pt x="2300" y="6988"/>
                  <a:pt x="2380" y="6909"/>
                  <a:pt x="2477" y="6909"/>
                </a:cubicBezTo>
                <a:lnTo>
                  <a:pt x="3498" y="6909"/>
                </a:lnTo>
                <a:cubicBezTo>
                  <a:pt x="3596" y="6909"/>
                  <a:pt x="3675" y="6988"/>
                  <a:pt x="3675" y="7086"/>
                </a:cubicBezTo>
                <a:lnTo>
                  <a:pt x="3675" y="8283"/>
                </a:lnTo>
                <a:lnTo>
                  <a:pt x="2300" y="8283"/>
                </a:lnTo>
                <a:lnTo>
                  <a:pt x="2300" y="7835"/>
                </a:lnTo>
                <a:close/>
                <a:moveTo>
                  <a:pt x="6924" y="5060"/>
                </a:moveTo>
                <a:lnTo>
                  <a:pt x="6924" y="8283"/>
                </a:lnTo>
                <a:lnTo>
                  <a:pt x="5550" y="8283"/>
                </a:lnTo>
                <a:lnTo>
                  <a:pt x="5550" y="7533"/>
                </a:lnTo>
                <a:cubicBezTo>
                  <a:pt x="5550" y="7464"/>
                  <a:pt x="5494" y="7408"/>
                  <a:pt x="5424" y="7408"/>
                </a:cubicBezTo>
                <a:cubicBezTo>
                  <a:pt x="5355" y="7408"/>
                  <a:pt x="5299" y="7464"/>
                  <a:pt x="5299" y="7533"/>
                </a:cubicBezTo>
                <a:lnTo>
                  <a:pt x="5299" y="8283"/>
                </a:lnTo>
                <a:lnTo>
                  <a:pt x="3925" y="8283"/>
                </a:lnTo>
                <a:lnTo>
                  <a:pt x="3925" y="6281"/>
                </a:lnTo>
                <a:cubicBezTo>
                  <a:pt x="3925" y="6183"/>
                  <a:pt x="4004" y="6104"/>
                  <a:pt x="4102" y="6104"/>
                </a:cubicBezTo>
                <a:lnTo>
                  <a:pt x="5123" y="6104"/>
                </a:lnTo>
                <a:cubicBezTo>
                  <a:pt x="5220" y="6104"/>
                  <a:pt x="5299" y="6183"/>
                  <a:pt x="5299" y="6281"/>
                </a:cubicBezTo>
                <a:lnTo>
                  <a:pt x="5299" y="6908"/>
                </a:lnTo>
                <a:cubicBezTo>
                  <a:pt x="5299" y="6977"/>
                  <a:pt x="5355" y="7033"/>
                  <a:pt x="5424" y="7033"/>
                </a:cubicBezTo>
                <a:cubicBezTo>
                  <a:pt x="5494" y="7033"/>
                  <a:pt x="5549" y="6977"/>
                  <a:pt x="5549" y="6908"/>
                </a:cubicBezTo>
                <a:lnTo>
                  <a:pt x="5549" y="5060"/>
                </a:lnTo>
                <a:cubicBezTo>
                  <a:pt x="5549" y="4962"/>
                  <a:pt x="5629" y="4883"/>
                  <a:pt x="5726" y="4883"/>
                </a:cubicBezTo>
                <a:lnTo>
                  <a:pt x="5864" y="4883"/>
                </a:lnTo>
                <a:cubicBezTo>
                  <a:pt x="5865" y="4883"/>
                  <a:pt x="5865" y="4883"/>
                  <a:pt x="5865" y="4883"/>
                </a:cubicBezTo>
                <a:cubicBezTo>
                  <a:pt x="5866" y="4883"/>
                  <a:pt x="5866" y="4883"/>
                  <a:pt x="5867" y="4883"/>
                </a:cubicBezTo>
                <a:lnTo>
                  <a:pt x="6747" y="4883"/>
                </a:lnTo>
                <a:cubicBezTo>
                  <a:pt x="6845" y="4883"/>
                  <a:pt x="6924" y="4962"/>
                  <a:pt x="6924" y="5060"/>
                </a:cubicBezTo>
                <a:close/>
                <a:moveTo>
                  <a:pt x="5726" y="4633"/>
                </a:moveTo>
                <a:cubicBezTo>
                  <a:pt x="5491" y="4633"/>
                  <a:pt x="5299" y="4824"/>
                  <a:pt x="5299" y="5060"/>
                </a:cubicBezTo>
                <a:lnTo>
                  <a:pt x="5299" y="5892"/>
                </a:lnTo>
                <a:cubicBezTo>
                  <a:pt x="5255" y="5872"/>
                  <a:pt x="5206" y="5859"/>
                  <a:pt x="5154" y="5855"/>
                </a:cubicBezTo>
                <a:lnTo>
                  <a:pt x="5256" y="5030"/>
                </a:lnTo>
                <a:cubicBezTo>
                  <a:pt x="5277" y="4869"/>
                  <a:pt x="5194" y="4763"/>
                  <a:pt x="5115" y="4660"/>
                </a:cubicBezTo>
                <a:cubicBezTo>
                  <a:pt x="5107" y="4649"/>
                  <a:pt x="4621" y="4071"/>
                  <a:pt x="4621" y="4071"/>
                </a:cubicBezTo>
                <a:lnTo>
                  <a:pt x="4919" y="3170"/>
                </a:lnTo>
                <a:lnTo>
                  <a:pt x="5740" y="2671"/>
                </a:lnTo>
                <a:lnTo>
                  <a:pt x="5740" y="4633"/>
                </a:lnTo>
                <a:lnTo>
                  <a:pt x="5726" y="4633"/>
                </a:lnTo>
                <a:close/>
                <a:moveTo>
                  <a:pt x="5990" y="1212"/>
                </a:moveTo>
                <a:lnTo>
                  <a:pt x="5990" y="440"/>
                </a:lnTo>
                <a:lnTo>
                  <a:pt x="7314" y="440"/>
                </a:lnTo>
                <a:lnTo>
                  <a:pt x="7029" y="691"/>
                </a:lnTo>
                <a:cubicBezTo>
                  <a:pt x="6990" y="725"/>
                  <a:pt x="6968" y="774"/>
                  <a:pt x="6968" y="826"/>
                </a:cubicBezTo>
                <a:cubicBezTo>
                  <a:pt x="6968" y="878"/>
                  <a:pt x="6990" y="927"/>
                  <a:pt x="7029" y="961"/>
                </a:cubicBezTo>
                <a:lnTo>
                  <a:pt x="7314" y="1212"/>
                </a:lnTo>
                <a:lnTo>
                  <a:pt x="5990" y="1212"/>
                </a:lnTo>
                <a:close/>
                <a:moveTo>
                  <a:pt x="5990" y="1212"/>
                </a:moveTo>
                <a:close/>
              </a:path>
            </a:pathLst>
          </a:cu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3" name="Picture 2" descr="https://w7.pngwing.com/pngs/564/452/png-transparent-flag-of-uzbekistan-emoji-flag-of-albania-emoji-flag-text-logo.png">
            <a:extLst>
              <a:ext uri="{FF2B5EF4-FFF2-40B4-BE49-F238E27FC236}">
                <a16:creationId xmlns:a16="http://schemas.microsoft.com/office/drawing/2014/main" id="{4DB2673D-83F0-4673-9956-2A01AF80B17E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93" t="2618" r="24782" b="2590"/>
          <a:stretch/>
        </p:blipFill>
        <p:spPr bwMode="auto">
          <a:xfrm>
            <a:off x="10811994" y="624763"/>
            <a:ext cx="612000" cy="612000"/>
          </a:xfrm>
          <a:prstGeom prst="flowChartConnector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49627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266A8F7-650D-48BA-AD98-3652187132E3}"/>
              </a:ext>
            </a:extLst>
          </p:cNvPr>
          <p:cNvSpPr/>
          <p:nvPr/>
        </p:nvSpPr>
        <p:spPr>
          <a:xfrm>
            <a:off x="1248380" y="2370390"/>
            <a:ext cx="10500708" cy="37708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numCol="2" spcCol="72000" rtlCol="0" anchor="t"/>
          <a:lstStyle/>
          <a:p>
            <a:pPr marL="180975" lvl="1" indent="-180975">
              <a:buFont typeface="+mj-lt"/>
              <a:buAutoNum type="alphaLcParenR"/>
            </a:pPr>
            <a:r>
              <a:rPr lang="ru-RU" sz="11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рид</a:t>
            </a:r>
            <a:r>
              <a:rPr lang="ru-RU" sz="11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олияти</a:t>
            </a:r>
            <a:endParaRPr lang="ru-RU" sz="1100" i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2" indent="-180975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монидан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зилган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номалар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ълумотларин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ларн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ул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пшириш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лар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зматлар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ўрсатиш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шларн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жариш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лар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ълумотлар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лан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лиштириш</a:t>
            </a:r>
            <a:endParaRPr lang="ru-RU" sz="1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2" indent="-180975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ларн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қиқий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тиб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иш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ардан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йдаланиш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зматлар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ўрсатиш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шларн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жариш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ўғрисидаг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отларн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арнинг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фат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лан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гишл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нома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ужжатларда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ўрсатилган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олда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лиштириш</a:t>
            </a:r>
            <a:endParaRPr lang="ru-RU" sz="1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2" indent="-180975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агент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монидан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номан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шқа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ъмурий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ужжатларн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золаганларнинг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унингдек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да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ишиладиган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ларининг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колатларин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шириш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қдим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илган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ужжатларда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колатл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лар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золарининг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зуал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с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иш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уқта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аридан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ққослаш</a:t>
            </a:r>
            <a:endParaRPr lang="ru-RU" sz="1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2" indent="-180975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гишл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нома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йича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нтрагент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визитлар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ан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ухгалтерия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ълумотлар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лан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лиштириш</a:t>
            </a:r>
            <a:endParaRPr lang="ru-RU" sz="1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2" indent="-180975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нтрагент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димлар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монидан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қдим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илган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ужжатларн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арда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затиш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чириш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бакилаштириш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илар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ўқлиг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йича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шириш</a:t>
            </a:r>
            <a:endParaRPr lang="ru-RU" sz="1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2" indent="-180975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агентн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шириш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тижалар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йича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улоса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вжудлигин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шириш</a:t>
            </a:r>
            <a:endParaRPr lang="ru-RU" sz="1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2" indent="-180975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нунчилик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нинг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чки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ужжатларига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вофиқ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рур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ммавий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хборот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баларида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шрларнинг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вжудлигин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шириш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ридларнинг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қобатбардош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тибин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ълон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ўғрисидаги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ълумотлар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шқалар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</a:p>
          <a:p>
            <a:pPr marL="361950" lvl="2" indent="-180975">
              <a:buClr>
                <a:srgbClr val="1BD7D3"/>
              </a:buClr>
              <a:buFont typeface="Arial" panose="020B0604020202020204" pitchFamily="34" charset="0"/>
              <a:buChar char="►"/>
            </a:pPr>
            <a:endParaRPr lang="ru-RU" sz="1100" i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2" indent="-180975">
              <a:buClr>
                <a:srgbClr val="1BD7D3"/>
              </a:buClr>
              <a:buFont typeface="Arial" panose="020B0604020202020204" pitchFamily="34" charset="0"/>
              <a:buChar char="►"/>
            </a:pPr>
            <a:endParaRPr lang="ru-RU" sz="1100" i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2" indent="-180975">
              <a:buClr>
                <a:srgbClr val="1BD7D3"/>
              </a:buClr>
              <a:buFont typeface="Arial" panose="020B0604020202020204" pitchFamily="34" charset="0"/>
              <a:buChar char="►"/>
            </a:pPr>
            <a:endParaRPr lang="ru-RU" sz="1100" i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2" indent="-180975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1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ғалар</a:t>
            </a:r>
            <a:r>
              <a:rPr lang="ru-RU" sz="11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uz-Cyrl-UZ" sz="11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змат сафари </a:t>
            </a:r>
            <a:r>
              <a:rPr lang="ru-RU" sz="11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ражатлари</a:t>
            </a:r>
            <a:endParaRPr lang="ru-RU" sz="1100" i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2" indent="-180975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инган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ғаларнинг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да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иланган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абларга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вофиқлигин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шириш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митлар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иш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баблар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шқа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61950" lvl="2" indent="-180975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uz-Cyrl-UZ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змат сафари</a:t>
            </a: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дининг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ҳтиёжларига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вофиқлигин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димн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змат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фарига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бориш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ун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ослар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вжудлигин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шириш</a:t>
            </a:r>
            <a:endParaRPr lang="ru-RU" sz="11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2" indent="-180975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1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лиявий</a:t>
            </a:r>
            <a:r>
              <a:rPr lang="ru-RU" sz="11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урсларни</a:t>
            </a:r>
            <a:r>
              <a:rPr lang="ru-RU" sz="11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рфлаш</a:t>
            </a:r>
            <a:endParaRPr lang="ru-RU" sz="1100" i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2" indent="-180975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хира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нд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олиятн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ўллаб-қувватлаш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мғармас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блағларин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рфланишин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ражатлар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ларининг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шбу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ндлар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дларига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вофиқлигин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шириш</a:t>
            </a:r>
            <a:endParaRPr lang="ru-RU" sz="11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2" indent="-180975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1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димларни</a:t>
            </a:r>
            <a:r>
              <a:rPr lang="ru-RU" sz="11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шқариш</a:t>
            </a:r>
            <a:r>
              <a:rPr lang="ru-RU" sz="11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1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шга</a:t>
            </a:r>
            <a:r>
              <a:rPr lang="ru-RU" sz="11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ул</a:t>
            </a:r>
            <a:r>
              <a:rPr lang="ru-RU" sz="11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1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йинлаш</a:t>
            </a:r>
            <a:r>
              <a:rPr lang="ru-RU" sz="11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зматда</a:t>
            </a:r>
            <a:r>
              <a:rPr lang="ru-RU" sz="11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ўтариш</a:t>
            </a:r>
            <a:r>
              <a:rPr lang="ru-RU" sz="11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1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ғбатлантириш</a:t>
            </a:r>
            <a:r>
              <a:rPr lang="ru-RU" sz="11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1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шқа</a:t>
            </a:r>
            <a:r>
              <a:rPr lang="ru-RU" sz="11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кофотлаш</a:t>
            </a:r>
            <a:r>
              <a:rPr lang="ru-RU" sz="11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лари</a:t>
            </a:r>
            <a:endParaRPr lang="ru-RU" sz="1100" i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2" indent="-180975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зматда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ўтариш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ун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арл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ос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вжудлигин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шириш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61950" lvl="2" indent="-180975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нинг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ХРА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тформасида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чиқ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акансия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қида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шр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вжудлигин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шириш</a:t>
            </a:r>
            <a:endParaRPr lang="ru-RU" sz="11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2" indent="-180975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мзодларн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шириш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тижалар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йича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улоса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вжудлигин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шириш</a:t>
            </a:r>
            <a:endParaRPr lang="ru-RU" sz="11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2" indent="-180975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фаатлар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ўқнашувин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ларациялаш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йичатўлдирилган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клларнинг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вжудлигин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шириш</a:t>
            </a:r>
            <a:endParaRPr lang="ru-RU" sz="11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2" indent="-180975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мзодн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ул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тиб-таомил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нинг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z-Cyrl-UZ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ХРА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лан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орандумида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иланган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абларга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вофиқлигини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шириш</a:t>
            </a: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5FA7F34-F941-4FE3-B92F-86711A255834}"/>
              </a:ext>
            </a:extLst>
          </p:cNvPr>
          <p:cNvSpPr/>
          <p:nvPr/>
        </p:nvSpPr>
        <p:spPr>
          <a:xfrm>
            <a:off x="1271993" y="6164872"/>
            <a:ext cx="10477095" cy="461665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lvl="2">
              <a:spcBef>
                <a:spcPts val="300"/>
              </a:spcBef>
              <a:spcAft>
                <a:spcPts val="300"/>
              </a:spcAft>
            </a:pPr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</a:t>
            </a:r>
            <a:r>
              <a:rPr lang="ru-RU" sz="12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надиган</a:t>
            </a:r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нкциялар</a:t>
            </a:r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ўйхатини</a:t>
            </a:r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кллантиришда</a:t>
            </a:r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қори</a:t>
            </a: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рта</a:t>
            </a:r>
            <a:r>
              <a:rPr lang="ru-RU" sz="12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вф</a:t>
            </a:r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ражасига</a:t>
            </a:r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га</a:t>
            </a:r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нкцияларни</a:t>
            </a:r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ритиш</a:t>
            </a:r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дга</a:t>
            </a:r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вофиқ</a:t>
            </a:r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2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0D95495-D9BC-4D56-98B6-3BDEAD0EA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</a:t>
            </a:r>
            <a:r>
              <a:rPr lang="ru-RU" dirty="0"/>
              <a:t> </a:t>
            </a:r>
            <a:r>
              <a:rPr lang="ru-RU" dirty="0" err="1"/>
              <a:t>тизимини</a:t>
            </a:r>
            <a:r>
              <a:rPr lang="ru-RU" dirty="0"/>
              <a:t> мониторинг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назорат</a:t>
            </a:r>
            <a:r>
              <a:rPr lang="ru-RU" dirty="0"/>
              <a:t> </a:t>
            </a:r>
            <a:r>
              <a:rPr lang="ru-RU" dirty="0" err="1"/>
              <a:t>қилиш</a:t>
            </a:r>
            <a:r>
              <a:rPr lang="ru-RU" dirty="0"/>
              <a:t>: Ўзбекистон </a:t>
            </a:r>
            <a:r>
              <a:rPr lang="ru-RU" dirty="0" err="1"/>
              <a:t>Республикасида</a:t>
            </a:r>
            <a:r>
              <a:rPr lang="ru-RU" dirty="0"/>
              <a:t> </a:t>
            </a:r>
            <a:r>
              <a:rPr lang="ru-RU" dirty="0" err="1"/>
              <a:t>амалга</a:t>
            </a:r>
            <a:r>
              <a:rPr lang="ru-RU" dirty="0"/>
              <a:t> </a:t>
            </a:r>
            <a:r>
              <a:rPr lang="ru-RU" dirty="0" err="1"/>
              <a:t>ошириш</a:t>
            </a:r>
            <a:r>
              <a:rPr lang="ru-RU" dirty="0"/>
              <a:t> </a:t>
            </a:r>
            <a:r>
              <a:rPr lang="ru-RU" dirty="0" err="1"/>
              <a:t>амалиёти</a:t>
            </a:r>
            <a:r>
              <a:rPr lang="ru-RU" dirty="0"/>
              <a:t> (8/8)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6220C42-638A-4DDA-A592-2B572B40668F}"/>
              </a:ext>
            </a:extLst>
          </p:cNvPr>
          <p:cNvGrpSpPr/>
          <p:nvPr/>
        </p:nvGrpSpPr>
        <p:grpSpPr>
          <a:xfrm>
            <a:off x="443080" y="1282696"/>
            <a:ext cx="11306008" cy="736607"/>
            <a:chOff x="3784798" y="1289128"/>
            <a:chExt cx="7964290" cy="440386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47C235C1-3678-468D-A8F8-6C73564509A4}"/>
                </a:ext>
              </a:extLst>
            </p:cNvPr>
            <p:cNvSpPr/>
            <p:nvPr/>
          </p:nvSpPr>
          <p:spPr>
            <a:xfrm>
              <a:off x="3921193" y="1348907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0B63C304-0A1E-4A57-B202-9D3A06562EB0}"/>
                </a:ext>
              </a:extLst>
            </p:cNvPr>
            <p:cNvSpPr/>
            <p:nvPr/>
          </p:nvSpPr>
          <p:spPr>
            <a:xfrm>
              <a:off x="3784798" y="1289128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Давлат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орга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ходимлар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омонидан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коррупцияга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арш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сиёсат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артиб-таомиллариг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риоя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этилиши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анла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асосид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назорат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или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(2/2)</a:t>
              </a:r>
            </a:p>
          </p:txBody>
        </p:sp>
      </p:grpSp>
      <p:sp>
        <p:nvSpPr>
          <p:cNvPr id="13" name="object 15">
            <a:extLst>
              <a:ext uri="{FF2B5EF4-FFF2-40B4-BE49-F238E27FC236}">
                <a16:creationId xmlns:a16="http://schemas.microsoft.com/office/drawing/2014/main" id="{C4079408-1263-4F7A-AC84-3EEA36ADE448}"/>
              </a:ext>
            </a:extLst>
          </p:cNvPr>
          <p:cNvSpPr txBox="1"/>
          <p:nvPr/>
        </p:nvSpPr>
        <p:spPr>
          <a:xfrm>
            <a:off x="1271993" y="2119292"/>
            <a:ext cx="10477095" cy="22534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Назорат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чораларининг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тахминий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йўналишлари</a:t>
            </a:r>
            <a:endParaRPr lang="ru-RU" sz="1400" b="1" spc="-4" dirty="0">
              <a:solidFill>
                <a:schemeClr val="bg2">
                  <a:lumMod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4" name="object 12">
            <a:extLst>
              <a:ext uri="{FF2B5EF4-FFF2-40B4-BE49-F238E27FC236}">
                <a16:creationId xmlns:a16="http://schemas.microsoft.com/office/drawing/2014/main" id="{76423E1F-C756-4F66-956E-918058A40F3A}"/>
              </a:ext>
            </a:extLst>
          </p:cNvPr>
          <p:cNvSpPr/>
          <p:nvPr/>
        </p:nvSpPr>
        <p:spPr>
          <a:xfrm>
            <a:off x="456832" y="207111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55658C6-7C79-4C91-BFC6-D1F360D886FC}"/>
              </a:ext>
            </a:extLst>
          </p:cNvPr>
          <p:cNvGrpSpPr/>
          <p:nvPr/>
        </p:nvGrpSpPr>
        <p:grpSpPr>
          <a:xfrm>
            <a:off x="429093" y="2149990"/>
            <a:ext cx="566448" cy="557767"/>
            <a:chOff x="10934700" y="3795713"/>
            <a:chExt cx="828676" cy="815975"/>
          </a:xfrm>
          <a:solidFill>
            <a:schemeClr val="bg2">
              <a:lumMod val="25000"/>
            </a:schemeClr>
          </a:solidFill>
        </p:grpSpPr>
        <p:sp>
          <p:nvSpPr>
            <p:cNvPr id="19" name="Freeform 274">
              <a:extLst>
                <a:ext uri="{FF2B5EF4-FFF2-40B4-BE49-F238E27FC236}">
                  <a16:creationId xmlns:a16="http://schemas.microsoft.com/office/drawing/2014/main" id="{6C846407-DC63-4E21-BD7C-8889B58ACC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07750" y="3946526"/>
              <a:ext cx="273050" cy="519113"/>
            </a:xfrm>
            <a:custGeom>
              <a:avLst/>
              <a:gdLst>
                <a:gd name="T0" fmla="*/ 1395 w 2000"/>
                <a:gd name="T1" fmla="*/ 802 h 3800"/>
                <a:gd name="T2" fmla="*/ 1500 w 2000"/>
                <a:gd name="T3" fmla="*/ 500 h 3800"/>
                <a:gd name="T4" fmla="*/ 1000 w 2000"/>
                <a:gd name="T5" fmla="*/ 0 h 3800"/>
                <a:gd name="T6" fmla="*/ 500 w 2000"/>
                <a:gd name="T7" fmla="*/ 500 h 3800"/>
                <a:gd name="T8" fmla="*/ 605 w 2000"/>
                <a:gd name="T9" fmla="*/ 802 h 3800"/>
                <a:gd name="T10" fmla="*/ 0 w 2000"/>
                <a:gd name="T11" fmla="*/ 1453 h 3800"/>
                <a:gd name="T12" fmla="*/ 0 w 2000"/>
                <a:gd name="T13" fmla="*/ 2300 h 3800"/>
                <a:gd name="T14" fmla="*/ 100 w 2000"/>
                <a:gd name="T15" fmla="*/ 2400 h 3800"/>
                <a:gd name="T16" fmla="*/ 100 w 2000"/>
                <a:gd name="T17" fmla="*/ 2400 h 3800"/>
                <a:gd name="T18" fmla="*/ 400 w 2000"/>
                <a:gd name="T19" fmla="*/ 2400 h 3800"/>
                <a:gd name="T20" fmla="*/ 400 w 2000"/>
                <a:gd name="T21" fmla="*/ 3700 h 3800"/>
                <a:gd name="T22" fmla="*/ 500 w 2000"/>
                <a:gd name="T23" fmla="*/ 3800 h 3800"/>
                <a:gd name="T24" fmla="*/ 500 w 2000"/>
                <a:gd name="T25" fmla="*/ 3800 h 3800"/>
                <a:gd name="T26" fmla="*/ 1500 w 2000"/>
                <a:gd name="T27" fmla="*/ 3800 h 3800"/>
                <a:gd name="T28" fmla="*/ 1600 w 2000"/>
                <a:gd name="T29" fmla="*/ 3700 h 3800"/>
                <a:gd name="T30" fmla="*/ 1600 w 2000"/>
                <a:gd name="T31" fmla="*/ 3700 h 3800"/>
                <a:gd name="T32" fmla="*/ 1600 w 2000"/>
                <a:gd name="T33" fmla="*/ 2400 h 3800"/>
                <a:gd name="T34" fmla="*/ 1900 w 2000"/>
                <a:gd name="T35" fmla="*/ 2400 h 3800"/>
                <a:gd name="T36" fmla="*/ 2000 w 2000"/>
                <a:gd name="T37" fmla="*/ 2300 h 3800"/>
                <a:gd name="T38" fmla="*/ 2000 w 2000"/>
                <a:gd name="T39" fmla="*/ 2300 h 3800"/>
                <a:gd name="T40" fmla="*/ 2000 w 2000"/>
                <a:gd name="T41" fmla="*/ 1453 h 3800"/>
                <a:gd name="T42" fmla="*/ 1395 w 2000"/>
                <a:gd name="T43" fmla="*/ 802 h 3800"/>
                <a:gd name="T44" fmla="*/ 1000 w 2000"/>
                <a:gd name="T45" fmla="*/ 200 h 3800"/>
                <a:gd name="T46" fmla="*/ 1300 w 2000"/>
                <a:gd name="T47" fmla="*/ 500 h 3800"/>
                <a:gd name="T48" fmla="*/ 1000 w 2000"/>
                <a:gd name="T49" fmla="*/ 800 h 3800"/>
                <a:gd name="T50" fmla="*/ 700 w 2000"/>
                <a:gd name="T51" fmla="*/ 500 h 3800"/>
                <a:gd name="T52" fmla="*/ 1000 w 2000"/>
                <a:gd name="T53" fmla="*/ 200 h 3800"/>
                <a:gd name="T54" fmla="*/ 1800 w 2000"/>
                <a:gd name="T55" fmla="*/ 2200 h 3800"/>
                <a:gd name="T56" fmla="*/ 1600 w 2000"/>
                <a:gd name="T57" fmla="*/ 2200 h 3800"/>
                <a:gd name="T58" fmla="*/ 1600 w 2000"/>
                <a:gd name="T59" fmla="*/ 1300 h 3800"/>
                <a:gd name="T60" fmla="*/ 1400 w 2000"/>
                <a:gd name="T61" fmla="*/ 1300 h 3800"/>
                <a:gd name="T62" fmla="*/ 1400 w 2000"/>
                <a:gd name="T63" fmla="*/ 3600 h 3800"/>
                <a:gd name="T64" fmla="*/ 1100 w 2000"/>
                <a:gd name="T65" fmla="*/ 3600 h 3800"/>
                <a:gd name="T66" fmla="*/ 1100 w 2000"/>
                <a:gd name="T67" fmla="*/ 2300 h 3800"/>
                <a:gd name="T68" fmla="*/ 900 w 2000"/>
                <a:gd name="T69" fmla="*/ 2300 h 3800"/>
                <a:gd name="T70" fmla="*/ 900 w 2000"/>
                <a:gd name="T71" fmla="*/ 3600 h 3800"/>
                <a:gd name="T72" fmla="*/ 600 w 2000"/>
                <a:gd name="T73" fmla="*/ 3600 h 3800"/>
                <a:gd name="T74" fmla="*/ 600 w 2000"/>
                <a:gd name="T75" fmla="*/ 1300 h 3800"/>
                <a:gd name="T76" fmla="*/ 400 w 2000"/>
                <a:gd name="T77" fmla="*/ 1300 h 3800"/>
                <a:gd name="T78" fmla="*/ 400 w 2000"/>
                <a:gd name="T79" fmla="*/ 2200 h 3800"/>
                <a:gd name="T80" fmla="*/ 200 w 2000"/>
                <a:gd name="T81" fmla="*/ 2200 h 3800"/>
                <a:gd name="T82" fmla="*/ 200 w 2000"/>
                <a:gd name="T83" fmla="*/ 1453 h 3800"/>
                <a:gd name="T84" fmla="*/ 653 w 2000"/>
                <a:gd name="T85" fmla="*/ 1000 h 3800"/>
                <a:gd name="T86" fmla="*/ 1347 w 2000"/>
                <a:gd name="T87" fmla="*/ 1000 h 3800"/>
                <a:gd name="T88" fmla="*/ 1800 w 2000"/>
                <a:gd name="T89" fmla="*/ 1453 h 3800"/>
                <a:gd name="T90" fmla="*/ 1800 w 2000"/>
                <a:gd name="T91" fmla="*/ 2200 h 3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00" h="3800">
                  <a:moveTo>
                    <a:pt x="1395" y="802"/>
                  </a:moveTo>
                  <a:cubicBezTo>
                    <a:pt x="1463" y="716"/>
                    <a:pt x="1500" y="610"/>
                    <a:pt x="1500" y="500"/>
                  </a:cubicBezTo>
                  <a:cubicBezTo>
                    <a:pt x="1500" y="224"/>
                    <a:pt x="1276" y="0"/>
                    <a:pt x="1000" y="0"/>
                  </a:cubicBezTo>
                  <a:cubicBezTo>
                    <a:pt x="724" y="0"/>
                    <a:pt x="500" y="224"/>
                    <a:pt x="500" y="500"/>
                  </a:cubicBezTo>
                  <a:cubicBezTo>
                    <a:pt x="500" y="610"/>
                    <a:pt x="537" y="716"/>
                    <a:pt x="605" y="802"/>
                  </a:cubicBezTo>
                  <a:cubicBezTo>
                    <a:pt x="264" y="828"/>
                    <a:pt x="1" y="1112"/>
                    <a:pt x="0" y="1453"/>
                  </a:cubicBezTo>
                  <a:lnTo>
                    <a:pt x="0" y="2300"/>
                  </a:lnTo>
                  <a:cubicBezTo>
                    <a:pt x="0" y="2355"/>
                    <a:pt x="45" y="2400"/>
                    <a:pt x="100" y="2400"/>
                  </a:cubicBezTo>
                  <a:lnTo>
                    <a:pt x="100" y="2400"/>
                  </a:lnTo>
                  <a:lnTo>
                    <a:pt x="400" y="2400"/>
                  </a:lnTo>
                  <a:lnTo>
                    <a:pt x="400" y="3700"/>
                  </a:lnTo>
                  <a:cubicBezTo>
                    <a:pt x="400" y="3755"/>
                    <a:pt x="445" y="3800"/>
                    <a:pt x="500" y="3800"/>
                  </a:cubicBezTo>
                  <a:lnTo>
                    <a:pt x="500" y="3800"/>
                  </a:lnTo>
                  <a:lnTo>
                    <a:pt x="1500" y="3800"/>
                  </a:lnTo>
                  <a:cubicBezTo>
                    <a:pt x="1555" y="3800"/>
                    <a:pt x="1600" y="3755"/>
                    <a:pt x="1600" y="3700"/>
                  </a:cubicBezTo>
                  <a:lnTo>
                    <a:pt x="1600" y="3700"/>
                  </a:lnTo>
                  <a:lnTo>
                    <a:pt x="1600" y="2400"/>
                  </a:lnTo>
                  <a:lnTo>
                    <a:pt x="1900" y="2400"/>
                  </a:lnTo>
                  <a:cubicBezTo>
                    <a:pt x="1955" y="2400"/>
                    <a:pt x="2000" y="2355"/>
                    <a:pt x="2000" y="2300"/>
                  </a:cubicBezTo>
                  <a:lnTo>
                    <a:pt x="2000" y="2300"/>
                  </a:lnTo>
                  <a:lnTo>
                    <a:pt x="2000" y="1453"/>
                  </a:lnTo>
                  <a:cubicBezTo>
                    <a:pt x="1999" y="1112"/>
                    <a:pt x="1736" y="828"/>
                    <a:pt x="1395" y="802"/>
                  </a:cubicBezTo>
                  <a:close/>
                  <a:moveTo>
                    <a:pt x="1000" y="200"/>
                  </a:moveTo>
                  <a:cubicBezTo>
                    <a:pt x="1166" y="200"/>
                    <a:pt x="1300" y="334"/>
                    <a:pt x="1300" y="500"/>
                  </a:cubicBezTo>
                  <a:cubicBezTo>
                    <a:pt x="1300" y="666"/>
                    <a:pt x="1166" y="800"/>
                    <a:pt x="1000" y="800"/>
                  </a:cubicBezTo>
                  <a:cubicBezTo>
                    <a:pt x="834" y="800"/>
                    <a:pt x="700" y="666"/>
                    <a:pt x="700" y="500"/>
                  </a:cubicBezTo>
                  <a:cubicBezTo>
                    <a:pt x="700" y="334"/>
                    <a:pt x="834" y="200"/>
                    <a:pt x="1000" y="200"/>
                  </a:cubicBezTo>
                  <a:close/>
                  <a:moveTo>
                    <a:pt x="1800" y="2200"/>
                  </a:moveTo>
                  <a:lnTo>
                    <a:pt x="1600" y="2200"/>
                  </a:lnTo>
                  <a:lnTo>
                    <a:pt x="1600" y="1300"/>
                  </a:lnTo>
                  <a:lnTo>
                    <a:pt x="1400" y="1300"/>
                  </a:lnTo>
                  <a:lnTo>
                    <a:pt x="1400" y="3600"/>
                  </a:lnTo>
                  <a:lnTo>
                    <a:pt x="1100" y="3600"/>
                  </a:lnTo>
                  <a:lnTo>
                    <a:pt x="1100" y="2300"/>
                  </a:lnTo>
                  <a:lnTo>
                    <a:pt x="900" y="2300"/>
                  </a:lnTo>
                  <a:lnTo>
                    <a:pt x="900" y="3600"/>
                  </a:lnTo>
                  <a:lnTo>
                    <a:pt x="600" y="3600"/>
                  </a:lnTo>
                  <a:lnTo>
                    <a:pt x="600" y="1300"/>
                  </a:lnTo>
                  <a:lnTo>
                    <a:pt x="400" y="1300"/>
                  </a:lnTo>
                  <a:lnTo>
                    <a:pt x="400" y="2200"/>
                  </a:lnTo>
                  <a:lnTo>
                    <a:pt x="200" y="2200"/>
                  </a:lnTo>
                  <a:lnTo>
                    <a:pt x="200" y="1453"/>
                  </a:lnTo>
                  <a:cubicBezTo>
                    <a:pt x="200" y="1203"/>
                    <a:pt x="403" y="1000"/>
                    <a:pt x="653" y="1000"/>
                  </a:cubicBezTo>
                  <a:lnTo>
                    <a:pt x="1347" y="1000"/>
                  </a:lnTo>
                  <a:cubicBezTo>
                    <a:pt x="1597" y="1000"/>
                    <a:pt x="1800" y="1203"/>
                    <a:pt x="1800" y="1453"/>
                  </a:cubicBezTo>
                  <a:lnTo>
                    <a:pt x="1800" y="2200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275">
              <a:extLst>
                <a:ext uri="{FF2B5EF4-FFF2-40B4-BE49-F238E27FC236}">
                  <a16:creationId xmlns:a16="http://schemas.microsoft.com/office/drawing/2014/main" id="{751E928B-9EBA-4E8F-9963-85B2B34F5A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44313" y="3795713"/>
              <a:ext cx="109538" cy="109538"/>
            </a:xfrm>
            <a:custGeom>
              <a:avLst/>
              <a:gdLst>
                <a:gd name="T0" fmla="*/ 400 w 800"/>
                <a:gd name="T1" fmla="*/ 0 h 800"/>
                <a:gd name="T2" fmla="*/ 0 w 800"/>
                <a:gd name="T3" fmla="*/ 400 h 800"/>
                <a:gd name="T4" fmla="*/ 400 w 800"/>
                <a:gd name="T5" fmla="*/ 800 h 800"/>
                <a:gd name="T6" fmla="*/ 800 w 800"/>
                <a:gd name="T7" fmla="*/ 400 h 800"/>
                <a:gd name="T8" fmla="*/ 400 w 800"/>
                <a:gd name="T9" fmla="*/ 0 h 800"/>
                <a:gd name="T10" fmla="*/ 400 w 800"/>
                <a:gd name="T11" fmla="*/ 600 h 800"/>
                <a:gd name="T12" fmla="*/ 200 w 800"/>
                <a:gd name="T13" fmla="*/ 400 h 800"/>
                <a:gd name="T14" fmla="*/ 400 w 800"/>
                <a:gd name="T15" fmla="*/ 200 h 800"/>
                <a:gd name="T16" fmla="*/ 600 w 800"/>
                <a:gd name="T17" fmla="*/ 400 h 800"/>
                <a:gd name="T18" fmla="*/ 400 w 800"/>
                <a:gd name="T19" fmla="*/ 60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0" h="800">
                  <a:moveTo>
                    <a:pt x="400" y="0"/>
                  </a:moveTo>
                  <a:cubicBezTo>
                    <a:pt x="179" y="0"/>
                    <a:pt x="0" y="179"/>
                    <a:pt x="0" y="400"/>
                  </a:cubicBezTo>
                  <a:cubicBezTo>
                    <a:pt x="0" y="621"/>
                    <a:pt x="179" y="800"/>
                    <a:pt x="400" y="800"/>
                  </a:cubicBezTo>
                  <a:cubicBezTo>
                    <a:pt x="621" y="800"/>
                    <a:pt x="800" y="621"/>
                    <a:pt x="800" y="400"/>
                  </a:cubicBezTo>
                  <a:cubicBezTo>
                    <a:pt x="800" y="179"/>
                    <a:pt x="621" y="0"/>
                    <a:pt x="400" y="0"/>
                  </a:cubicBezTo>
                  <a:close/>
                  <a:moveTo>
                    <a:pt x="400" y="600"/>
                  </a:moveTo>
                  <a:cubicBezTo>
                    <a:pt x="290" y="600"/>
                    <a:pt x="200" y="510"/>
                    <a:pt x="200" y="400"/>
                  </a:cubicBezTo>
                  <a:cubicBezTo>
                    <a:pt x="200" y="290"/>
                    <a:pt x="290" y="200"/>
                    <a:pt x="400" y="200"/>
                  </a:cubicBezTo>
                  <a:cubicBezTo>
                    <a:pt x="510" y="200"/>
                    <a:pt x="600" y="290"/>
                    <a:pt x="600" y="400"/>
                  </a:cubicBezTo>
                  <a:cubicBezTo>
                    <a:pt x="600" y="510"/>
                    <a:pt x="510" y="600"/>
                    <a:pt x="400" y="60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276">
              <a:extLst>
                <a:ext uri="{FF2B5EF4-FFF2-40B4-BE49-F238E27FC236}">
                  <a16:creationId xmlns:a16="http://schemas.microsoft.com/office/drawing/2014/main" id="{D30128B6-3514-4EC1-AFAE-F774B9D1B1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22038" y="3795713"/>
              <a:ext cx="107950" cy="109538"/>
            </a:xfrm>
            <a:custGeom>
              <a:avLst/>
              <a:gdLst>
                <a:gd name="T0" fmla="*/ 400 w 800"/>
                <a:gd name="T1" fmla="*/ 0 h 800"/>
                <a:gd name="T2" fmla="*/ 0 w 800"/>
                <a:gd name="T3" fmla="*/ 400 h 800"/>
                <a:gd name="T4" fmla="*/ 400 w 800"/>
                <a:gd name="T5" fmla="*/ 800 h 800"/>
                <a:gd name="T6" fmla="*/ 800 w 800"/>
                <a:gd name="T7" fmla="*/ 400 h 800"/>
                <a:gd name="T8" fmla="*/ 400 w 800"/>
                <a:gd name="T9" fmla="*/ 0 h 800"/>
                <a:gd name="T10" fmla="*/ 400 w 800"/>
                <a:gd name="T11" fmla="*/ 600 h 800"/>
                <a:gd name="T12" fmla="*/ 200 w 800"/>
                <a:gd name="T13" fmla="*/ 400 h 800"/>
                <a:gd name="T14" fmla="*/ 400 w 800"/>
                <a:gd name="T15" fmla="*/ 200 h 800"/>
                <a:gd name="T16" fmla="*/ 600 w 800"/>
                <a:gd name="T17" fmla="*/ 400 h 800"/>
                <a:gd name="T18" fmla="*/ 400 w 800"/>
                <a:gd name="T19" fmla="*/ 60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0" h="800">
                  <a:moveTo>
                    <a:pt x="400" y="0"/>
                  </a:moveTo>
                  <a:cubicBezTo>
                    <a:pt x="179" y="0"/>
                    <a:pt x="0" y="179"/>
                    <a:pt x="0" y="400"/>
                  </a:cubicBezTo>
                  <a:cubicBezTo>
                    <a:pt x="0" y="621"/>
                    <a:pt x="179" y="800"/>
                    <a:pt x="400" y="800"/>
                  </a:cubicBezTo>
                  <a:cubicBezTo>
                    <a:pt x="621" y="800"/>
                    <a:pt x="800" y="621"/>
                    <a:pt x="800" y="400"/>
                  </a:cubicBezTo>
                  <a:cubicBezTo>
                    <a:pt x="800" y="179"/>
                    <a:pt x="621" y="0"/>
                    <a:pt x="400" y="0"/>
                  </a:cubicBezTo>
                  <a:close/>
                  <a:moveTo>
                    <a:pt x="400" y="600"/>
                  </a:moveTo>
                  <a:cubicBezTo>
                    <a:pt x="290" y="600"/>
                    <a:pt x="200" y="510"/>
                    <a:pt x="200" y="400"/>
                  </a:cubicBezTo>
                  <a:cubicBezTo>
                    <a:pt x="200" y="290"/>
                    <a:pt x="290" y="200"/>
                    <a:pt x="400" y="200"/>
                  </a:cubicBezTo>
                  <a:cubicBezTo>
                    <a:pt x="510" y="200"/>
                    <a:pt x="600" y="290"/>
                    <a:pt x="600" y="400"/>
                  </a:cubicBezTo>
                  <a:cubicBezTo>
                    <a:pt x="600" y="510"/>
                    <a:pt x="510" y="600"/>
                    <a:pt x="400" y="60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277">
              <a:extLst>
                <a:ext uri="{FF2B5EF4-FFF2-40B4-BE49-F238E27FC236}">
                  <a16:creationId xmlns:a16="http://schemas.microsoft.com/office/drawing/2014/main" id="{F8517AB7-F78F-4C35-A709-D4B7EA3040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34775" y="4397376"/>
              <a:ext cx="109538" cy="107950"/>
            </a:xfrm>
            <a:custGeom>
              <a:avLst/>
              <a:gdLst>
                <a:gd name="T0" fmla="*/ 400 w 800"/>
                <a:gd name="T1" fmla="*/ 0 h 800"/>
                <a:gd name="T2" fmla="*/ 0 w 800"/>
                <a:gd name="T3" fmla="*/ 400 h 800"/>
                <a:gd name="T4" fmla="*/ 400 w 800"/>
                <a:gd name="T5" fmla="*/ 800 h 800"/>
                <a:gd name="T6" fmla="*/ 800 w 800"/>
                <a:gd name="T7" fmla="*/ 400 h 800"/>
                <a:gd name="T8" fmla="*/ 400 w 800"/>
                <a:gd name="T9" fmla="*/ 0 h 800"/>
                <a:gd name="T10" fmla="*/ 400 w 800"/>
                <a:gd name="T11" fmla="*/ 600 h 800"/>
                <a:gd name="T12" fmla="*/ 200 w 800"/>
                <a:gd name="T13" fmla="*/ 400 h 800"/>
                <a:gd name="T14" fmla="*/ 400 w 800"/>
                <a:gd name="T15" fmla="*/ 200 h 800"/>
                <a:gd name="T16" fmla="*/ 600 w 800"/>
                <a:gd name="T17" fmla="*/ 400 h 800"/>
                <a:gd name="T18" fmla="*/ 400 w 800"/>
                <a:gd name="T19" fmla="*/ 60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0" h="800">
                  <a:moveTo>
                    <a:pt x="400" y="0"/>
                  </a:moveTo>
                  <a:cubicBezTo>
                    <a:pt x="179" y="0"/>
                    <a:pt x="0" y="179"/>
                    <a:pt x="0" y="400"/>
                  </a:cubicBezTo>
                  <a:cubicBezTo>
                    <a:pt x="0" y="621"/>
                    <a:pt x="179" y="800"/>
                    <a:pt x="400" y="800"/>
                  </a:cubicBezTo>
                  <a:cubicBezTo>
                    <a:pt x="621" y="800"/>
                    <a:pt x="800" y="621"/>
                    <a:pt x="800" y="400"/>
                  </a:cubicBezTo>
                  <a:cubicBezTo>
                    <a:pt x="800" y="179"/>
                    <a:pt x="621" y="0"/>
                    <a:pt x="400" y="0"/>
                  </a:cubicBezTo>
                  <a:close/>
                  <a:moveTo>
                    <a:pt x="400" y="600"/>
                  </a:moveTo>
                  <a:cubicBezTo>
                    <a:pt x="290" y="600"/>
                    <a:pt x="200" y="510"/>
                    <a:pt x="200" y="400"/>
                  </a:cubicBezTo>
                  <a:cubicBezTo>
                    <a:pt x="200" y="290"/>
                    <a:pt x="290" y="200"/>
                    <a:pt x="400" y="200"/>
                  </a:cubicBezTo>
                  <a:cubicBezTo>
                    <a:pt x="510" y="200"/>
                    <a:pt x="600" y="290"/>
                    <a:pt x="600" y="400"/>
                  </a:cubicBezTo>
                  <a:cubicBezTo>
                    <a:pt x="600" y="510"/>
                    <a:pt x="510" y="600"/>
                    <a:pt x="400" y="60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78">
              <a:extLst>
                <a:ext uri="{FF2B5EF4-FFF2-40B4-BE49-F238E27FC236}">
                  <a16:creationId xmlns:a16="http://schemas.microsoft.com/office/drawing/2014/main" id="{429D235A-B040-49B3-8667-94DBF75E77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34700" y="4492626"/>
              <a:ext cx="109538" cy="109538"/>
            </a:xfrm>
            <a:custGeom>
              <a:avLst/>
              <a:gdLst>
                <a:gd name="T0" fmla="*/ 400 w 800"/>
                <a:gd name="T1" fmla="*/ 0 h 800"/>
                <a:gd name="T2" fmla="*/ 0 w 800"/>
                <a:gd name="T3" fmla="*/ 400 h 800"/>
                <a:gd name="T4" fmla="*/ 400 w 800"/>
                <a:gd name="T5" fmla="*/ 800 h 800"/>
                <a:gd name="T6" fmla="*/ 800 w 800"/>
                <a:gd name="T7" fmla="*/ 400 h 800"/>
                <a:gd name="T8" fmla="*/ 400 w 800"/>
                <a:gd name="T9" fmla="*/ 0 h 800"/>
                <a:gd name="T10" fmla="*/ 400 w 800"/>
                <a:gd name="T11" fmla="*/ 600 h 800"/>
                <a:gd name="T12" fmla="*/ 200 w 800"/>
                <a:gd name="T13" fmla="*/ 400 h 800"/>
                <a:gd name="T14" fmla="*/ 400 w 800"/>
                <a:gd name="T15" fmla="*/ 200 h 800"/>
                <a:gd name="T16" fmla="*/ 600 w 800"/>
                <a:gd name="T17" fmla="*/ 400 h 800"/>
                <a:gd name="T18" fmla="*/ 400 w 800"/>
                <a:gd name="T19" fmla="*/ 60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0" h="800">
                  <a:moveTo>
                    <a:pt x="400" y="0"/>
                  </a:moveTo>
                  <a:cubicBezTo>
                    <a:pt x="179" y="0"/>
                    <a:pt x="0" y="179"/>
                    <a:pt x="0" y="400"/>
                  </a:cubicBezTo>
                  <a:cubicBezTo>
                    <a:pt x="0" y="621"/>
                    <a:pt x="179" y="800"/>
                    <a:pt x="400" y="800"/>
                  </a:cubicBezTo>
                  <a:cubicBezTo>
                    <a:pt x="621" y="800"/>
                    <a:pt x="800" y="621"/>
                    <a:pt x="800" y="400"/>
                  </a:cubicBezTo>
                  <a:cubicBezTo>
                    <a:pt x="800" y="179"/>
                    <a:pt x="621" y="0"/>
                    <a:pt x="400" y="0"/>
                  </a:cubicBezTo>
                  <a:close/>
                  <a:moveTo>
                    <a:pt x="400" y="600"/>
                  </a:moveTo>
                  <a:cubicBezTo>
                    <a:pt x="290" y="600"/>
                    <a:pt x="200" y="510"/>
                    <a:pt x="200" y="400"/>
                  </a:cubicBezTo>
                  <a:cubicBezTo>
                    <a:pt x="200" y="290"/>
                    <a:pt x="290" y="200"/>
                    <a:pt x="400" y="200"/>
                  </a:cubicBezTo>
                  <a:cubicBezTo>
                    <a:pt x="510" y="200"/>
                    <a:pt x="600" y="290"/>
                    <a:pt x="600" y="400"/>
                  </a:cubicBezTo>
                  <a:cubicBezTo>
                    <a:pt x="600" y="510"/>
                    <a:pt x="510" y="600"/>
                    <a:pt x="400" y="60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79">
              <a:extLst>
                <a:ext uri="{FF2B5EF4-FFF2-40B4-BE49-F238E27FC236}">
                  <a16:creationId xmlns:a16="http://schemas.microsoft.com/office/drawing/2014/main" id="{3DB71E3F-AA71-4EED-8CB6-5201569A7C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29950" y="4110038"/>
              <a:ext cx="109538" cy="109538"/>
            </a:xfrm>
            <a:custGeom>
              <a:avLst/>
              <a:gdLst>
                <a:gd name="T0" fmla="*/ 400 w 800"/>
                <a:gd name="T1" fmla="*/ 0 h 800"/>
                <a:gd name="T2" fmla="*/ 0 w 800"/>
                <a:gd name="T3" fmla="*/ 400 h 800"/>
                <a:gd name="T4" fmla="*/ 400 w 800"/>
                <a:gd name="T5" fmla="*/ 800 h 800"/>
                <a:gd name="T6" fmla="*/ 800 w 800"/>
                <a:gd name="T7" fmla="*/ 400 h 800"/>
                <a:gd name="T8" fmla="*/ 400 w 800"/>
                <a:gd name="T9" fmla="*/ 0 h 800"/>
                <a:gd name="T10" fmla="*/ 400 w 800"/>
                <a:gd name="T11" fmla="*/ 600 h 800"/>
                <a:gd name="T12" fmla="*/ 200 w 800"/>
                <a:gd name="T13" fmla="*/ 400 h 800"/>
                <a:gd name="T14" fmla="*/ 400 w 800"/>
                <a:gd name="T15" fmla="*/ 200 h 800"/>
                <a:gd name="T16" fmla="*/ 600 w 800"/>
                <a:gd name="T17" fmla="*/ 400 h 800"/>
                <a:gd name="T18" fmla="*/ 400 w 800"/>
                <a:gd name="T19" fmla="*/ 60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0" h="800">
                  <a:moveTo>
                    <a:pt x="400" y="0"/>
                  </a:moveTo>
                  <a:cubicBezTo>
                    <a:pt x="179" y="0"/>
                    <a:pt x="0" y="179"/>
                    <a:pt x="0" y="400"/>
                  </a:cubicBezTo>
                  <a:cubicBezTo>
                    <a:pt x="0" y="621"/>
                    <a:pt x="179" y="800"/>
                    <a:pt x="400" y="800"/>
                  </a:cubicBezTo>
                  <a:cubicBezTo>
                    <a:pt x="621" y="800"/>
                    <a:pt x="800" y="621"/>
                    <a:pt x="800" y="400"/>
                  </a:cubicBezTo>
                  <a:cubicBezTo>
                    <a:pt x="800" y="179"/>
                    <a:pt x="621" y="0"/>
                    <a:pt x="400" y="0"/>
                  </a:cubicBezTo>
                  <a:close/>
                  <a:moveTo>
                    <a:pt x="400" y="600"/>
                  </a:moveTo>
                  <a:cubicBezTo>
                    <a:pt x="290" y="600"/>
                    <a:pt x="200" y="510"/>
                    <a:pt x="200" y="400"/>
                  </a:cubicBezTo>
                  <a:cubicBezTo>
                    <a:pt x="200" y="290"/>
                    <a:pt x="290" y="200"/>
                    <a:pt x="400" y="200"/>
                  </a:cubicBezTo>
                  <a:cubicBezTo>
                    <a:pt x="510" y="200"/>
                    <a:pt x="600" y="290"/>
                    <a:pt x="600" y="400"/>
                  </a:cubicBezTo>
                  <a:cubicBezTo>
                    <a:pt x="600" y="510"/>
                    <a:pt x="510" y="600"/>
                    <a:pt x="400" y="60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280">
              <a:extLst>
                <a:ext uri="{FF2B5EF4-FFF2-40B4-BE49-F238E27FC236}">
                  <a16:creationId xmlns:a16="http://schemas.microsoft.com/office/drawing/2014/main" id="{7119BC0A-9107-4C0E-9797-5A3501178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7788" y="3930651"/>
              <a:ext cx="255588" cy="261938"/>
            </a:xfrm>
            <a:custGeom>
              <a:avLst/>
              <a:gdLst>
                <a:gd name="T0" fmla="*/ 1471 w 1871"/>
                <a:gd name="T1" fmla="*/ 39 h 1910"/>
                <a:gd name="T2" fmla="*/ 1329 w 1871"/>
                <a:gd name="T3" fmla="*/ 39 h 1910"/>
                <a:gd name="T4" fmla="*/ 1329 w 1871"/>
                <a:gd name="T5" fmla="*/ 39 h 1910"/>
                <a:gd name="T6" fmla="*/ 929 w 1871"/>
                <a:gd name="T7" fmla="*/ 439 h 1910"/>
                <a:gd name="T8" fmla="*/ 1071 w 1871"/>
                <a:gd name="T9" fmla="*/ 581 h 1910"/>
                <a:gd name="T10" fmla="*/ 1300 w 1871"/>
                <a:gd name="T11" fmla="*/ 351 h 1910"/>
                <a:gd name="T12" fmla="*/ 1300 w 1871"/>
                <a:gd name="T13" fmla="*/ 410 h 1910"/>
                <a:gd name="T14" fmla="*/ 0 w 1871"/>
                <a:gd name="T15" fmla="*/ 1710 h 1910"/>
                <a:gd name="T16" fmla="*/ 0 w 1871"/>
                <a:gd name="T17" fmla="*/ 1910 h 1910"/>
                <a:gd name="T18" fmla="*/ 1500 w 1871"/>
                <a:gd name="T19" fmla="*/ 410 h 1910"/>
                <a:gd name="T20" fmla="*/ 1500 w 1871"/>
                <a:gd name="T21" fmla="*/ 351 h 1910"/>
                <a:gd name="T22" fmla="*/ 1729 w 1871"/>
                <a:gd name="T23" fmla="*/ 581 h 1910"/>
                <a:gd name="T24" fmla="*/ 1871 w 1871"/>
                <a:gd name="T25" fmla="*/ 439 h 1910"/>
                <a:gd name="T26" fmla="*/ 1471 w 1871"/>
                <a:gd name="T27" fmla="*/ 39 h 1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71" h="1910">
                  <a:moveTo>
                    <a:pt x="1471" y="39"/>
                  </a:moveTo>
                  <a:cubicBezTo>
                    <a:pt x="1432" y="0"/>
                    <a:pt x="1368" y="0"/>
                    <a:pt x="1329" y="39"/>
                  </a:cubicBezTo>
                  <a:lnTo>
                    <a:pt x="1329" y="39"/>
                  </a:lnTo>
                  <a:lnTo>
                    <a:pt x="929" y="439"/>
                  </a:lnTo>
                  <a:lnTo>
                    <a:pt x="1071" y="581"/>
                  </a:lnTo>
                  <a:lnTo>
                    <a:pt x="1300" y="351"/>
                  </a:lnTo>
                  <a:lnTo>
                    <a:pt x="1300" y="410"/>
                  </a:lnTo>
                  <a:cubicBezTo>
                    <a:pt x="1299" y="1128"/>
                    <a:pt x="718" y="1709"/>
                    <a:pt x="0" y="1710"/>
                  </a:cubicBezTo>
                  <a:lnTo>
                    <a:pt x="0" y="1910"/>
                  </a:lnTo>
                  <a:cubicBezTo>
                    <a:pt x="828" y="1909"/>
                    <a:pt x="1499" y="1238"/>
                    <a:pt x="1500" y="410"/>
                  </a:cubicBezTo>
                  <a:lnTo>
                    <a:pt x="1500" y="351"/>
                  </a:lnTo>
                  <a:lnTo>
                    <a:pt x="1729" y="581"/>
                  </a:lnTo>
                  <a:lnTo>
                    <a:pt x="1871" y="439"/>
                  </a:lnTo>
                  <a:lnTo>
                    <a:pt x="1471" y="39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281">
              <a:extLst>
                <a:ext uri="{FF2B5EF4-FFF2-40B4-BE49-F238E27FC236}">
                  <a16:creationId xmlns:a16="http://schemas.microsoft.com/office/drawing/2014/main" id="{CDB281FA-3E4B-4AF3-833F-BE71ABFAE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5825" y="3898901"/>
              <a:ext cx="171450" cy="185738"/>
            </a:xfrm>
            <a:custGeom>
              <a:avLst/>
              <a:gdLst>
                <a:gd name="T0" fmla="*/ 532 w 1252"/>
                <a:gd name="T1" fmla="*/ 1046 h 1364"/>
                <a:gd name="T2" fmla="*/ 1252 w 1252"/>
                <a:gd name="T3" fmla="*/ 179 h 1364"/>
                <a:gd name="T4" fmla="*/ 1162 w 1252"/>
                <a:gd name="T5" fmla="*/ 0 h 1364"/>
                <a:gd name="T6" fmla="*/ 341 w 1252"/>
                <a:gd name="T7" fmla="*/ 981 h 1364"/>
                <a:gd name="T8" fmla="*/ 172 w 1252"/>
                <a:gd name="T9" fmla="*/ 699 h 1364"/>
                <a:gd name="T10" fmla="*/ 0 w 1252"/>
                <a:gd name="T11" fmla="*/ 801 h 1364"/>
                <a:gd name="T12" fmla="*/ 300 w 1252"/>
                <a:gd name="T13" fmla="*/ 1301 h 1364"/>
                <a:gd name="T14" fmla="*/ 437 w 1252"/>
                <a:gd name="T15" fmla="*/ 1336 h 1364"/>
                <a:gd name="T16" fmla="*/ 937 w 1252"/>
                <a:gd name="T17" fmla="*/ 1036 h 1364"/>
                <a:gd name="T18" fmla="*/ 835 w 1252"/>
                <a:gd name="T19" fmla="*/ 864 h 1364"/>
                <a:gd name="T20" fmla="*/ 532 w 1252"/>
                <a:gd name="T21" fmla="*/ 1046 h 1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2" h="1364">
                  <a:moveTo>
                    <a:pt x="532" y="1046"/>
                  </a:moveTo>
                  <a:cubicBezTo>
                    <a:pt x="640" y="669"/>
                    <a:pt x="901" y="354"/>
                    <a:pt x="1252" y="179"/>
                  </a:cubicBezTo>
                  <a:lnTo>
                    <a:pt x="1162" y="0"/>
                  </a:lnTo>
                  <a:cubicBezTo>
                    <a:pt x="764" y="199"/>
                    <a:pt x="467" y="554"/>
                    <a:pt x="341" y="981"/>
                  </a:cubicBezTo>
                  <a:lnTo>
                    <a:pt x="172" y="699"/>
                  </a:lnTo>
                  <a:lnTo>
                    <a:pt x="0" y="801"/>
                  </a:lnTo>
                  <a:lnTo>
                    <a:pt x="300" y="1301"/>
                  </a:lnTo>
                  <a:cubicBezTo>
                    <a:pt x="329" y="1349"/>
                    <a:pt x="390" y="1364"/>
                    <a:pt x="437" y="1336"/>
                  </a:cubicBezTo>
                  <a:lnTo>
                    <a:pt x="937" y="1036"/>
                  </a:lnTo>
                  <a:lnTo>
                    <a:pt x="835" y="864"/>
                  </a:lnTo>
                  <a:lnTo>
                    <a:pt x="532" y="1046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282">
              <a:extLst>
                <a:ext uri="{FF2B5EF4-FFF2-40B4-BE49-F238E27FC236}">
                  <a16:creationId xmlns:a16="http://schemas.microsoft.com/office/drawing/2014/main" id="{02AC41A8-3862-462F-A3CF-5F7B1FE7CB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9638" y="4494213"/>
              <a:ext cx="458788" cy="115888"/>
            </a:xfrm>
            <a:custGeom>
              <a:avLst/>
              <a:gdLst>
                <a:gd name="T0" fmla="*/ 3266 w 3360"/>
                <a:gd name="T1" fmla="*/ 0 h 848"/>
                <a:gd name="T2" fmla="*/ 589 w 3360"/>
                <a:gd name="T3" fmla="*/ 386 h 848"/>
                <a:gd name="T4" fmla="*/ 350 w 3360"/>
                <a:gd name="T5" fmla="*/ 336 h 848"/>
                <a:gd name="T6" fmla="*/ 573 w 3360"/>
                <a:gd name="T7" fmla="*/ 168 h 848"/>
                <a:gd name="T8" fmla="*/ 453 w 3360"/>
                <a:gd name="T9" fmla="*/ 8 h 848"/>
                <a:gd name="T10" fmla="*/ 53 w 3360"/>
                <a:gd name="T11" fmla="*/ 308 h 848"/>
                <a:gd name="T12" fmla="*/ 33 w 3360"/>
                <a:gd name="T13" fmla="*/ 448 h 848"/>
                <a:gd name="T14" fmla="*/ 33 w 3360"/>
                <a:gd name="T15" fmla="*/ 448 h 848"/>
                <a:gd name="T16" fmla="*/ 333 w 3360"/>
                <a:gd name="T17" fmla="*/ 848 h 848"/>
                <a:gd name="T18" fmla="*/ 493 w 3360"/>
                <a:gd name="T19" fmla="*/ 728 h 848"/>
                <a:gd name="T20" fmla="*/ 352 w 3360"/>
                <a:gd name="T21" fmla="*/ 541 h 848"/>
                <a:gd name="T22" fmla="*/ 548 w 3360"/>
                <a:gd name="T23" fmla="*/ 582 h 848"/>
                <a:gd name="T24" fmla="*/ 3360 w 3360"/>
                <a:gd name="T25" fmla="*/ 176 h 848"/>
                <a:gd name="T26" fmla="*/ 3266 w 3360"/>
                <a:gd name="T27" fmla="*/ 0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60" h="848">
                  <a:moveTo>
                    <a:pt x="3266" y="0"/>
                  </a:moveTo>
                  <a:cubicBezTo>
                    <a:pt x="2447" y="440"/>
                    <a:pt x="1499" y="577"/>
                    <a:pt x="589" y="386"/>
                  </a:cubicBezTo>
                  <a:lnTo>
                    <a:pt x="350" y="336"/>
                  </a:lnTo>
                  <a:lnTo>
                    <a:pt x="573" y="168"/>
                  </a:lnTo>
                  <a:lnTo>
                    <a:pt x="453" y="8"/>
                  </a:lnTo>
                  <a:lnTo>
                    <a:pt x="53" y="308"/>
                  </a:lnTo>
                  <a:cubicBezTo>
                    <a:pt x="9" y="341"/>
                    <a:pt x="0" y="404"/>
                    <a:pt x="33" y="448"/>
                  </a:cubicBezTo>
                  <a:cubicBezTo>
                    <a:pt x="33" y="448"/>
                    <a:pt x="33" y="448"/>
                    <a:pt x="33" y="448"/>
                  </a:cubicBezTo>
                  <a:lnTo>
                    <a:pt x="333" y="848"/>
                  </a:lnTo>
                  <a:lnTo>
                    <a:pt x="493" y="728"/>
                  </a:lnTo>
                  <a:lnTo>
                    <a:pt x="352" y="541"/>
                  </a:lnTo>
                  <a:lnTo>
                    <a:pt x="548" y="582"/>
                  </a:lnTo>
                  <a:cubicBezTo>
                    <a:pt x="1504" y="783"/>
                    <a:pt x="2500" y="639"/>
                    <a:pt x="3360" y="176"/>
                  </a:cubicBezTo>
                  <a:lnTo>
                    <a:pt x="3266" y="0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283">
              <a:extLst>
                <a:ext uri="{FF2B5EF4-FFF2-40B4-BE49-F238E27FC236}">
                  <a16:creationId xmlns:a16="http://schemas.microsoft.com/office/drawing/2014/main" id="{7CEEC46F-42BC-4915-9CCB-469D778511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37875" y="3800476"/>
              <a:ext cx="101600" cy="101600"/>
            </a:xfrm>
            <a:custGeom>
              <a:avLst/>
              <a:gdLst>
                <a:gd name="T0" fmla="*/ 742 w 742"/>
                <a:gd name="T1" fmla="*/ 142 h 742"/>
                <a:gd name="T2" fmla="*/ 600 w 742"/>
                <a:gd name="T3" fmla="*/ 0 h 742"/>
                <a:gd name="T4" fmla="*/ 371 w 742"/>
                <a:gd name="T5" fmla="*/ 230 h 742"/>
                <a:gd name="T6" fmla="*/ 142 w 742"/>
                <a:gd name="T7" fmla="*/ 0 h 742"/>
                <a:gd name="T8" fmla="*/ 0 w 742"/>
                <a:gd name="T9" fmla="*/ 142 h 742"/>
                <a:gd name="T10" fmla="*/ 230 w 742"/>
                <a:gd name="T11" fmla="*/ 371 h 742"/>
                <a:gd name="T12" fmla="*/ 0 w 742"/>
                <a:gd name="T13" fmla="*/ 600 h 742"/>
                <a:gd name="T14" fmla="*/ 142 w 742"/>
                <a:gd name="T15" fmla="*/ 742 h 742"/>
                <a:gd name="T16" fmla="*/ 371 w 742"/>
                <a:gd name="T17" fmla="*/ 512 h 742"/>
                <a:gd name="T18" fmla="*/ 600 w 742"/>
                <a:gd name="T19" fmla="*/ 742 h 742"/>
                <a:gd name="T20" fmla="*/ 742 w 742"/>
                <a:gd name="T21" fmla="*/ 600 h 742"/>
                <a:gd name="T22" fmla="*/ 512 w 742"/>
                <a:gd name="T23" fmla="*/ 371 h 742"/>
                <a:gd name="T24" fmla="*/ 742 w 742"/>
                <a:gd name="T25" fmla="*/ 14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2" h="742">
                  <a:moveTo>
                    <a:pt x="742" y="142"/>
                  </a:moveTo>
                  <a:lnTo>
                    <a:pt x="600" y="0"/>
                  </a:lnTo>
                  <a:lnTo>
                    <a:pt x="371" y="230"/>
                  </a:lnTo>
                  <a:lnTo>
                    <a:pt x="142" y="0"/>
                  </a:lnTo>
                  <a:lnTo>
                    <a:pt x="0" y="142"/>
                  </a:lnTo>
                  <a:lnTo>
                    <a:pt x="230" y="371"/>
                  </a:lnTo>
                  <a:lnTo>
                    <a:pt x="0" y="600"/>
                  </a:lnTo>
                  <a:lnTo>
                    <a:pt x="142" y="742"/>
                  </a:lnTo>
                  <a:lnTo>
                    <a:pt x="371" y="512"/>
                  </a:lnTo>
                  <a:lnTo>
                    <a:pt x="600" y="742"/>
                  </a:lnTo>
                  <a:lnTo>
                    <a:pt x="742" y="600"/>
                  </a:lnTo>
                  <a:lnTo>
                    <a:pt x="512" y="371"/>
                  </a:lnTo>
                  <a:lnTo>
                    <a:pt x="742" y="142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284">
              <a:extLst>
                <a:ext uri="{FF2B5EF4-FFF2-40B4-BE49-F238E27FC236}">
                  <a16:creationId xmlns:a16="http://schemas.microsoft.com/office/drawing/2014/main" id="{B3873248-2E92-4CCA-8495-25B7D25E8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8263" y="3937001"/>
              <a:ext cx="101600" cy="101600"/>
            </a:xfrm>
            <a:custGeom>
              <a:avLst/>
              <a:gdLst>
                <a:gd name="T0" fmla="*/ 742 w 742"/>
                <a:gd name="T1" fmla="*/ 142 h 742"/>
                <a:gd name="T2" fmla="*/ 600 w 742"/>
                <a:gd name="T3" fmla="*/ 0 h 742"/>
                <a:gd name="T4" fmla="*/ 371 w 742"/>
                <a:gd name="T5" fmla="*/ 230 h 742"/>
                <a:gd name="T6" fmla="*/ 142 w 742"/>
                <a:gd name="T7" fmla="*/ 0 h 742"/>
                <a:gd name="T8" fmla="*/ 0 w 742"/>
                <a:gd name="T9" fmla="*/ 142 h 742"/>
                <a:gd name="T10" fmla="*/ 230 w 742"/>
                <a:gd name="T11" fmla="*/ 371 h 742"/>
                <a:gd name="T12" fmla="*/ 0 w 742"/>
                <a:gd name="T13" fmla="*/ 600 h 742"/>
                <a:gd name="T14" fmla="*/ 142 w 742"/>
                <a:gd name="T15" fmla="*/ 742 h 742"/>
                <a:gd name="T16" fmla="*/ 371 w 742"/>
                <a:gd name="T17" fmla="*/ 512 h 742"/>
                <a:gd name="T18" fmla="*/ 600 w 742"/>
                <a:gd name="T19" fmla="*/ 742 h 742"/>
                <a:gd name="T20" fmla="*/ 742 w 742"/>
                <a:gd name="T21" fmla="*/ 600 h 742"/>
                <a:gd name="T22" fmla="*/ 512 w 742"/>
                <a:gd name="T23" fmla="*/ 371 h 742"/>
                <a:gd name="T24" fmla="*/ 742 w 742"/>
                <a:gd name="T25" fmla="*/ 14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2" h="742">
                  <a:moveTo>
                    <a:pt x="742" y="142"/>
                  </a:moveTo>
                  <a:lnTo>
                    <a:pt x="600" y="0"/>
                  </a:lnTo>
                  <a:lnTo>
                    <a:pt x="371" y="230"/>
                  </a:lnTo>
                  <a:lnTo>
                    <a:pt x="142" y="0"/>
                  </a:lnTo>
                  <a:lnTo>
                    <a:pt x="0" y="142"/>
                  </a:lnTo>
                  <a:lnTo>
                    <a:pt x="230" y="371"/>
                  </a:lnTo>
                  <a:lnTo>
                    <a:pt x="0" y="600"/>
                  </a:lnTo>
                  <a:lnTo>
                    <a:pt x="142" y="742"/>
                  </a:lnTo>
                  <a:lnTo>
                    <a:pt x="371" y="512"/>
                  </a:lnTo>
                  <a:lnTo>
                    <a:pt x="600" y="742"/>
                  </a:lnTo>
                  <a:lnTo>
                    <a:pt x="742" y="600"/>
                  </a:lnTo>
                  <a:lnTo>
                    <a:pt x="512" y="371"/>
                  </a:lnTo>
                  <a:lnTo>
                    <a:pt x="742" y="142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85">
              <a:extLst>
                <a:ext uri="{FF2B5EF4-FFF2-40B4-BE49-F238E27FC236}">
                  <a16:creationId xmlns:a16="http://schemas.microsoft.com/office/drawing/2014/main" id="{75C7442E-8574-4640-8568-0037042F36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0" y="4210051"/>
              <a:ext cx="101600" cy="101600"/>
            </a:xfrm>
            <a:custGeom>
              <a:avLst/>
              <a:gdLst>
                <a:gd name="T0" fmla="*/ 742 w 742"/>
                <a:gd name="T1" fmla="*/ 142 h 742"/>
                <a:gd name="T2" fmla="*/ 600 w 742"/>
                <a:gd name="T3" fmla="*/ 0 h 742"/>
                <a:gd name="T4" fmla="*/ 371 w 742"/>
                <a:gd name="T5" fmla="*/ 230 h 742"/>
                <a:gd name="T6" fmla="*/ 142 w 742"/>
                <a:gd name="T7" fmla="*/ 0 h 742"/>
                <a:gd name="T8" fmla="*/ 0 w 742"/>
                <a:gd name="T9" fmla="*/ 142 h 742"/>
                <a:gd name="T10" fmla="*/ 230 w 742"/>
                <a:gd name="T11" fmla="*/ 371 h 742"/>
                <a:gd name="T12" fmla="*/ 0 w 742"/>
                <a:gd name="T13" fmla="*/ 600 h 742"/>
                <a:gd name="T14" fmla="*/ 142 w 742"/>
                <a:gd name="T15" fmla="*/ 742 h 742"/>
                <a:gd name="T16" fmla="*/ 371 w 742"/>
                <a:gd name="T17" fmla="*/ 512 h 742"/>
                <a:gd name="T18" fmla="*/ 600 w 742"/>
                <a:gd name="T19" fmla="*/ 742 h 742"/>
                <a:gd name="T20" fmla="*/ 742 w 742"/>
                <a:gd name="T21" fmla="*/ 600 h 742"/>
                <a:gd name="T22" fmla="*/ 512 w 742"/>
                <a:gd name="T23" fmla="*/ 371 h 742"/>
                <a:gd name="T24" fmla="*/ 742 w 742"/>
                <a:gd name="T25" fmla="*/ 14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2" h="742">
                  <a:moveTo>
                    <a:pt x="742" y="142"/>
                  </a:moveTo>
                  <a:lnTo>
                    <a:pt x="600" y="0"/>
                  </a:lnTo>
                  <a:lnTo>
                    <a:pt x="371" y="230"/>
                  </a:lnTo>
                  <a:lnTo>
                    <a:pt x="142" y="0"/>
                  </a:lnTo>
                  <a:lnTo>
                    <a:pt x="0" y="142"/>
                  </a:lnTo>
                  <a:lnTo>
                    <a:pt x="230" y="371"/>
                  </a:lnTo>
                  <a:lnTo>
                    <a:pt x="0" y="600"/>
                  </a:lnTo>
                  <a:lnTo>
                    <a:pt x="142" y="742"/>
                  </a:lnTo>
                  <a:lnTo>
                    <a:pt x="371" y="512"/>
                  </a:lnTo>
                  <a:lnTo>
                    <a:pt x="600" y="742"/>
                  </a:lnTo>
                  <a:lnTo>
                    <a:pt x="742" y="600"/>
                  </a:lnTo>
                  <a:lnTo>
                    <a:pt x="512" y="371"/>
                  </a:lnTo>
                  <a:lnTo>
                    <a:pt x="742" y="142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286">
              <a:extLst>
                <a:ext uri="{FF2B5EF4-FFF2-40B4-BE49-F238E27FC236}">
                  <a16:creationId xmlns:a16="http://schemas.microsoft.com/office/drawing/2014/main" id="{E90FA5C2-04BB-4A90-8DE4-9565752206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5675" y="4346576"/>
              <a:ext cx="101600" cy="101600"/>
            </a:xfrm>
            <a:custGeom>
              <a:avLst/>
              <a:gdLst>
                <a:gd name="T0" fmla="*/ 742 w 742"/>
                <a:gd name="T1" fmla="*/ 142 h 742"/>
                <a:gd name="T2" fmla="*/ 600 w 742"/>
                <a:gd name="T3" fmla="*/ 0 h 742"/>
                <a:gd name="T4" fmla="*/ 371 w 742"/>
                <a:gd name="T5" fmla="*/ 230 h 742"/>
                <a:gd name="T6" fmla="*/ 142 w 742"/>
                <a:gd name="T7" fmla="*/ 0 h 742"/>
                <a:gd name="T8" fmla="*/ 0 w 742"/>
                <a:gd name="T9" fmla="*/ 142 h 742"/>
                <a:gd name="T10" fmla="*/ 230 w 742"/>
                <a:gd name="T11" fmla="*/ 371 h 742"/>
                <a:gd name="T12" fmla="*/ 0 w 742"/>
                <a:gd name="T13" fmla="*/ 600 h 742"/>
                <a:gd name="T14" fmla="*/ 142 w 742"/>
                <a:gd name="T15" fmla="*/ 742 h 742"/>
                <a:gd name="T16" fmla="*/ 371 w 742"/>
                <a:gd name="T17" fmla="*/ 512 h 742"/>
                <a:gd name="T18" fmla="*/ 600 w 742"/>
                <a:gd name="T19" fmla="*/ 742 h 742"/>
                <a:gd name="T20" fmla="*/ 742 w 742"/>
                <a:gd name="T21" fmla="*/ 600 h 742"/>
                <a:gd name="T22" fmla="*/ 512 w 742"/>
                <a:gd name="T23" fmla="*/ 371 h 742"/>
                <a:gd name="T24" fmla="*/ 742 w 742"/>
                <a:gd name="T25" fmla="*/ 14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2" h="742">
                  <a:moveTo>
                    <a:pt x="742" y="142"/>
                  </a:moveTo>
                  <a:lnTo>
                    <a:pt x="600" y="0"/>
                  </a:lnTo>
                  <a:lnTo>
                    <a:pt x="371" y="230"/>
                  </a:lnTo>
                  <a:lnTo>
                    <a:pt x="142" y="0"/>
                  </a:lnTo>
                  <a:lnTo>
                    <a:pt x="0" y="142"/>
                  </a:lnTo>
                  <a:lnTo>
                    <a:pt x="230" y="371"/>
                  </a:lnTo>
                  <a:lnTo>
                    <a:pt x="0" y="600"/>
                  </a:lnTo>
                  <a:lnTo>
                    <a:pt x="142" y="742"/>
                  </a:lnTo>
                  <a:lnTo>
                    <a:pt x="371" y="512"/>
                  </a:lnTo>
                  <a:lnTo>
                    <a:pt x="600" y="742"/>
                  </a:lnTo>
                  <a:lnTo>
                    <a:pt x="742" y="600"/>
                  </a:lnTo>
                  <a:lnTo>
                    <a:pt x="512" y="371"/>
                  </a:lnTo>
                  <a:lnTo>
                    <a:pt x="742" y="142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287">
              <a:extLst>
                <a:ext uri="{FF2B5EF4-FFF2-40B4-BE49-F238E27FC236}">
                  <a16:creationId xmlns:a16="http://schemas.microsoft.com/office/drawing/2014/main" id="{603151D1-2D6F-48C0-B11D-31E90D1E0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9075" y="4510088"/>
              <a:ext cx="100013" cy="101600"/>
            </a:xfrm>
            <a:custGeom>
              <a:avLst/>
              <a:gdLst>
                <a:gd name="T0" fmla="*/ 742 w 742"/>
                <a:gd name="T1" fmla="*/ 142 h 742"/>
                <a:gd name="T2" fmla="*/ 600 w 742"/>
                <a:gd name="T3" fmla="*/ 0 h 742"/>
                <a:gd name="T4" fmla="*/ 371 w 742"/>
                <a:gd name="T5" fmla="*/ 230 h 742"/>
                <a:gd name="T6" fmla="*/ 142 w 742"/>
                <a:gd name="T7" fmla="*/ 0 h 742"/>
                <a:gd name="T8" fmla="*/ 0 w 742"/>
                <a:gd name="T9" fmla="*/ 142 h 742"/>
                <a:gd name="T10" fmla="*/ 230 w 742"/>
                <a:gd name="T11" fmla="*/ 371 h 742"/>
                <a:gd name="T12" fmla="*/ 0 w 742"/>
                <a:gd name="T13" fmla="*/ 600 h 742"/>
                <a:gd name="T14" fmla="*/ 142 w 742"/>
                <a:gd name="T15" fmla="*/ 742 h 742"/>
                <a:gd name="T16" fmla="*/ 371 w 742"/>
                <a:gd name="T17" fmla="*/ 512 h 742"/>
                <a:gd name="T18" fmla="*/ 600 w 742"/>
                <a:gd name="T19" fmla="*/ 742 h 742"/>
                <a:gd name="T20" fmla="*/ 742 w 742"/>
                <a:gd name="T21" fmla="*/ 600 h 742"/>
                <a:gd name="T22" fmla="*/ 512 w 742"/>
                <a:gd name="T23" fmla="*/ 371 h 742"/>
                <a:gd name="T24" fmla="*/ 742 w 742"/>
                <a:gd name="T25" fmla="*/ 14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2" h="742">
                  <a:moveTo>
                    <a:pt x="742" y="142"/>
                  </a:moveTo>
                  <a:lnTo>
                    <a:pt x="600" y="0"/>
                  </a:lnTo>
                  <a:lnTo>
                    <a:pt x="371" y="230"/>
                  </a:lnTo>
                  <a:lnTo>
                    <a:pt x="142" y="0"/>
                  </a:lnTo>
                  <a:lnTo>
                    <a:pt x="0" y="142"/>
                  </a:lnTo>
                  <a:lnTo>
                    <a:pt x="230" y="371"/>
                  </a:lnTo>
                  <a:lnTo>
                    <a:pt x="0" y="600"/>
                  </a:lnTo>
                  <a:lnTo>
                    <a:pt x="142" y="742"/>
                  </a:lnTo>
                  <a:lnTo>
                    <a:pt x="371" y="512"/>
                  </a:lnTo>
                  <a:lnTo>
                    <a:pt x="600" y="742"/>
                  </a:lnTo>
                  <a:lnTo>
                    <a:pt x="742" y="600"/>
                  </a:lnTo>
                  <a:lnTo>
                    <a:pt x="512" y="371"/>
                  </a:lnTo>
                  <a:lnTo>
                    <a:pt x="742" y="142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88">
              <a:extLst>
                <a:ext uri="{FF2B5EF4-FFF2-40B4-BE49-F238E27FC236}">
                  <a16:creationId xmlns:a16="http://schemas.microsoft.com/office/drawing/2014/main" id="{F59ADDAA-1EF7-42C5-9187-6F4C5D8A36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37875" y="4237038"/>
              <a:ext cx="101600" cy="101600"/>
            </a:xfrm>
            <a:custGeom>
              <a:avLst/>
              <a:gdLst>
                <a:gd name="T0" fmla="*/ 742 w 742"/>
                <a:gd name="T1" fmla="*/ 142 h 742"/>
                <a:gd name="T2" fmla="*/ 600 w 742"/>
                <a:gd name="T3" fmla="*/ 0 h 742"/>
                <a:gd name="T4" fmla="*/ 371 w 742"/>
                <a:gd name="T5" fmla="*/ 230 h 742"/>
                <a:gd name="T6" fmla="*/ 142 w 742"/>
                <a:gd name="T7" fmla="*/ 0 h 742"/>
                <a:gd name="T8" fmla="*/ 0 w 742"/>
                <a:gd name="T9" fmla="*/ 142 h 742"/>
                <a:gd name="T10" fmla="*/ 230 w 742"/>
                <a:gd name="T11" fmla="*/ 371 h 742"/>
                <a:gd name="T12" fmla="*/ 0 w 742"/>
                <a:gd name="T13" fmla="*/ 600 h 742"/>
                <a:gd name="T14" fmla="*/ 142 w 742"/>
                <a:gd name="T15" fmla="*/ 742 h 742"/>
                <a:gd name="T16" fmla="*/ 371 w 742"/>
                <a:gd name="T17" fmla="*/ 512 h 742"/>
                <a:gd name="T18" fmla="*/ 600 w 742"/>
                <a:gd name="T19" fmla="*/ 742 h 742"/>
                <a:gd name="T20" fmla="*/ 742 w 742"/>
                <a:gd name="T21" fmla="*/ 600 h 742"/>
                <a:gd name="T22" fmla="*/ 512 w 742"/>
                <a:gd name="T23" fmla="*/ 371 h 742"/>
                <a:gd name="T24" fmla="*/ 742 w 742"/>
                <a:gd name="T25" fmla="*/ 14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2" h="742">
                  <a:moveTo>
                    <a:pt x="742" y="142"/>
                  </a:moveTo>
                  <a:lnTo>
                    <a:pt x="600" y="0"/>
                  </a:lnTo>
                  <a:lnTo>
                    <a:pt x="371" y="230"/>
                  </a:lnTo>
                  <a:lnTo>
                    <a:pt x="142" y="0"/>
                  </a:lnTo>
                  <a:lnTo>
                    <a:pt x="0" y="142"/>
                  </a:lnTo>
                  <a:lnTo>
                    <a:pt x="230" y="371"/>
                  </a:lnTo>
                  <a:lnTo>
                    <a:pt x="0" y="600"/>
                  </a:lnTo>
                  <a:lnTo>
                    <a:pt x="142" y="742"/>
                  </a:lnTo>
                  <a:lnTo>
                    <a:pt x="371" y="512"/>
                  </a:lnTo>
                  <a:lnTo>
                    <a:pt x="600" y="742"/>
                  </a:lnTo>
                  <a:lnTo>
                    <a:pt x="742" y="600"/>
                  </a:lnTo>
                  <a:lnTo>
                    <a:pt x="512" y="371"/>
                  </a:lnTo>
                  <a:lnTo>
                    <a:pt x="742" y="142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34" name="Picture 2" descr="https://w7.pngwing.com/pngs/564/452/png-transparent-flag-of-uzbekistan-emoji-flag-of-albania-emoji-flag-text-logo.png">
            <a:extLst>
              <a:ext uri="{FF2B5EF4-FFF2-40B4-BE49-F238E27FC236}">
                <a16:creationId xmlns:a16="http://schemas.microsoft.com/office/drawing/2014/main" id="{B80BC80D-CC33-4D73-8B43-8A9E4B3A75A4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93" t="2618" r="24782" b="2590"/>
          <a:stretch/>
        </p:blipFill>
        <p:spPr bwMode="auto">
          <a:xfrm>
            <a:off x="10811994" y="624763"/>
            <a:ext cx="612000" cy="612000"/>
          </a:xfrm>
          <a:prstGeom prst="flowChartConnector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99397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08BBD5B-BA87-4BE3-9AC7-6E44B5DA53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анлаб </a:t>
            </a:r>
            <a:r>
              <a:rPr lang="ru-RU" dirty="0" err="1"/>
              <a:t>олиш</a:t>
            </a:r>
            <a:r>
              <a:rPr lang="ru-RU" dirty="0"/>
              <a:t> </a:t>
            </a:r>
            <a:r>
              <a:rPr lang="ru-RU" dirty="0" err="1"/>
              <a:t>учун</a:t>
            </a:r>
            <a:r>
              <a:rPr lang="ru-RU" dirty="0"/>
              <a:t> </a:t>
            </a:r>
            <a:r>
              <a:rPr lang="ru-RU" dirty="0" err="1"/>
              <a:t>тайёргарлик</a:t>
            </a:r>
            <a:r>
              <a:rPr lang="ru-RU" dirty="0"/>
              <a:t>(1/4)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DB2F494-7EC4-453F-8832-BBA4730AE5FC}"/>
              </a:ext>
            </a:extLst>
          </p:cNvPr>
          <p:cNvSpPr txBox="1"/>
          <p:nvPr/>
        </p:nvSpPr>
        <p:spPr>
          <a:xfrm>
            <a:off x="455178" y="3014280"/>
            <a:ext cx="557692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лаш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ун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атда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уйидаг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ълумот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баларидан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йдаланилад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5B70F8B-3ECB-42A6-A1C4-34C1984137CB}"/>
              </a:ext>
            </a:extLst>
          </p:cNvPr>
          <p:cNvSpPr/>
          <p:nvPr/>
        </p:nvSpPr>
        <p:spPr>
          <a:xfrm>
            <a:off x="6167438" y="1860923"/>
            <a:ext cx="5570808" cy="14465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0" lvl="0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ru-RU" sz="1400" b="1" dirty="0">
                <a:solidFill>
                  <a:schemeClr val="tx2"/>
                </a:solidFill>
                <a:ea typeface="Times New Roman" panose="02020603050405020304" pitchFamily="18" charset="0"/>
              </a:rPr>
              <a:t>2. </a:t>
            </a:r>
            <a:r>
              <a:rPr lang="ru-RU" sz="1400" b="1" dirty="0" err="1">
                <a:solidFill>
                  <a:schemeClr val="tx2"/>
                </a:solidFill>
                <a:ea typeface="Times New Roman" panose="02020603050405020304" pitchFamily="18" charset="0"/>
              </a:rPr>
              <a:t>Тўлиқ</a:t>
            </a:r>
            <a:r>
              <a:rPr lang="ru-RU" sz="1400" b="1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ea typeface="Times New Roman" panose="02020603050405020304" pitchFamily="18" charset="0"/>
              </a:rPr>
              <a:t>усул</a:t>
            </a:r>
            <a:r>
              <a:rPr lang="en-US" sz="1400" b="1" dirty="0">
                <a:solidFill>
                  <a:schemeClr val="tx2"/>
                </a:solidFill>
                <a:ea typeface="Times New Roman" panose="02020603050405020304" pitchFamily="18" charset="0"/>
              </a:rPr>
              <a:t> -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давр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учун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барча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операцияларни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батафсил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ўрганиш</a:t>
            </a:r>
            <a:endParaRPr lang="ru-RU" sz="1400" dirty="0">
              <a:solidFill>
                <a:schemeClr val="tx2"/>
              </a:solidFill>
              <a:ea typeface="Times New Roman" panose="02020603050405020304" pitchFamily="18" charset="0"/>
            </a:endParaRPr>
          </a:p>
          <a:p>
            <a:pPr marR="0" lvl="0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Ушбу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усулни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қўллаш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текширув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ўтказилаётган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бизнес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жараёни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доирасида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амалга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оширилган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тадбирлар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/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битимлар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сонига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боғлиқ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.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Масалан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, агар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ҳисобот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даврида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оз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сонли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операциялар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бажарилган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бўлса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, </a:t>
            </a:r>
            <a:r>
              <a:rPr lang="uz-Cyrl-UZ" sz="1400" dirty="0">
                <a:solidFill>
                  <a:schemeClr val="tx2"/>
                </a:solidFill>
                <a:ea typeface="Times New Roman" panose="02020603050405020304" pitchFamily="18" charset="0"/>
              </a:rPr>
              <a:t>мониторинг тўлиқ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усул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ёрдамида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амалга</a:t>
            </a:r>
            <a:r>
              <a:rPr lang="ru-RU" sz="1400" dirty="0">
                <a:solidFill>
                  <a:schemeClr val="tx2"/>
                </a:solidFill>
                <a:ea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ea typeface="Times New Roman" panose="02020603050405020304" pitchFamily="18" charset="0"/>
              </a:rPr>
              <a:t>оширилади</a:t>
            </a:r>
            <a:endParaRPr lang="ru-RU" sz="1400" dirty="0">
              <a:solidFill>
                <a:schemeClr val="tx2"/>
              </a:solidFill>
              <a:ea typeface="Times New Roman" panose="02020603050405020304" pitchFamily="18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9BF192E-30F2-481F-8C2C-E316A4D2CEAD}"/>
              </a:ext>
            </a:extLst>
          </p:cNvPr>
          <p:cNvSpPr/>
          <p:nvPr/>
        </p:nvSpPr>
        <p:spPr>
          <a:xfrm>
            <a:off x="443079" y="1860923"/>
            <a:ext cx="5581484" cy="10156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42900" marR="0" lvl="0" indent="-342900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AutoNum type="arabicPeriod"/>
            </a:pPr>
            <a:r>
              <a:rPr lang="ru-RU" sz="1400" b="1" dirty="0" err="1">
                <a:solidFill>
                  <a:schemeClr val="tx2"/>
                </a:solidFill>
              </a:rPr>
              <a:t>Танлаш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усули</a:t>
            </a:r>
            <a:r>
              <a:rPr lang="ru-RU" sz="1400" dirty="0">
                <a:solidFill>
                  <a:schemeClr val="tx2"/>
                </a:solidFill>
              </a:rPr>
              <a:t>– </a:t>
            </a:r>
            <a:r>
              <a:rPr lang="ru-RU" sz="1400" dirty="0" err="1">
                <a:solidFill>
                  <a:schemeClr val="tx2"/>
                </a:solidFill>
              </a:rPr>
              <a:t>танла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принцип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соси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перациялар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рганиш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  <a:p>
            <a:pPr marR="0" lvl="0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ru-RU" sz="1400" dirty="0" err="1">
                <a:solidFill>
                  <a:schemeClr val="tx2"/>
                </a:solidFill>
              </a:rPr>
              <a:t>Танла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сули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фойдаланилган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нлов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ажм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дат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итим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муми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онининг</a:t>
            </a:r>
            <a:r>
              <a:rPr lang="ru-RU" sz="1400" dirty="0">
                <a:solidFill>
                  <a:schemeClr val="tx2"/>
                </a:solidFill>
              </a:rPr>
              <a:t> 20% гача </a:t>
            </a:r>
            <a:r>
              <a:rPr lang="ru-RU" sz="1400" dirty="0" err="1">
                <a:solidFill>
                  <a:schemeClr val="tx2"/>
                </a:solidFill>
              </a:rPr>
              <a:t>бўл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хажм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кил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тади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  <a:endParaRPr lang="en-US" sz="1400" dirty="0">
              <a:solidFill>
                <a:schemeClr val="tx2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AB945B0-F606-4D99-A592-3EDFC5C32B45}"/>
              </a:ext>
            </a:extLst>
          </p:cNvPr>
          <p:cNvGrpSpPr/>
          <p:nvPr/>
        </p:nvGrpSpPr>
        <p:grpSpPr>
          <a:xfrm>
            <a:off x="431997" y="3583494"/>
            <a:ext cx="5592565" cy="2690306"/>
            <a:chOff x="431997" y="3583494"/>
            <a:chExt cx="5592565" cy="2460538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FC84BF5E-2057-4666-BD7A-61F6E626B4D9}"/>
                </a:ext>
              </a:extLst>
            </p:cNvPr>
            <p:cNvSpPr/>
            <p:nvPr/>
          </p:nvSpPr>
          <p:spPr>
            <a:xfrm>
              <a:off x="431997" y="3583494"/>
              <a:ext cx="5592565" cy="504000"/>
            </a:xfrm>
            <a:prstGeom prst="roundRect">
              <a:avLst>
                <a:gd name="adj" fmla="val 50000"/>
              </a:avLst>
            </a:prstGeom>
            <a:solidFill>
              <a:srgbClr val="B1C7F7"/>
            </a:solidFill>
            <a:ln w="6350">
              <a:solidFill>
                <a:srgbClr val="130A6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342900" indent="-342900">
                <a:buFont typeface="+mj-lt"/>
                <a:buAutoNum type="arabicPeriod"/>
              </a:pPr>
              <a:r>
                <a:rPr lang="ru-RU" sz="1400" dirty="0" err="1">
                  <a:solidFill>
                    <a:schemeClr val="tx2"/>
                  </a:solidFill>
                </a:rPr>
                <a:t>Етказиб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берувчилар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билан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операцияларн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таҳлил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қилиш</a:t>
              </a:r>
              <a:r>
                <a:rPr lang="ru-RU" sz="1400" dirty="0">
                  <a:solidFill>
                    <a:schemeClr val="tx2"/>
                  </a:solidFill>
                </a:rPr>
                <a:t> (</a:t>
              </a:r>
              <a:r>
                <a:rPr lang="ru-RU" sz="1400" dirty="0" err="1">
                  <a:solidFill>
                    <a:schemeClr val="tx2"/>
                  </a:solidFill>
                </a:rPr>
                <a:t>ҳисоб-китоблар</a:t>
              </a:r>
              <a:r>
                <a:rPr lang="ru-RU" sz="1400" dirty="0">
                  <a:solidFill>
                    <a:schemeClr val="tx2"/>
                  </a:solidFill>
                </a:rPr>
                <a:t>)</a:t>
              </a: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3E16C3A1-CE2C-4C0C-BBF2-20B0AC03CA68}"/>
                </a:ext>
              </a:extLst>
            </p:cNvPr>
            <p:cNvSpPr/>
            <p:nvPr/>
          </p:nvSpPr>
          <p:spPr>
            <a:xfrm>
              <a:off x="438150" y="4229020"/>
              <a:ext cx="5586412" cy="504000"/>
            </a:xfrm>
            <a:prstGeom prst="roundRect">
              <a:avLst>
                <a:gd name="adj" fmla="val 50000"/>
              </a:avLst>
            </a:prstGeom>
            <a:solidFill>
              <a:srgbClr val="B1C7F7"/>
            </a:solidFill>
            <a:ln w="6350">
              <a:solidFill>
                <a:srgbClr val="130A6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342900" indent="-342900">
                <a:buFont typeface="+mj-lt"/>
                <a:buAutoNum type="arabicPeriod" startAt="2"/>
              </a:pPr>
              <a:r>
                <a:rPr lang="ru-RU" sz="1400" dirty="0">
                  <a:solidFill>
                    <a:schemeClr val="tx2"/>
                  </a:solidFill>
                </a:rPr>
                <a:t>Пул </a:t>
              </a:r>
              <a:r>
                <a:rPr lang="ru-RU" sz="1400" dirty="0" err="1">
                  <a:solidFill>
                    <a:schemeClr val="tx2"/>
                  </a:solidFill>
                </a:rPr>
                <a:t>оқимин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таҳлил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қилиш</a:t>
              </a:r>
              <a:r>
                <a:rPr lang="ru-RU" sz="1400" dirty="0">
                  <a:solidFill>
                    <a:schemeClr val="tx2"/>
                  </a:solidFill>
                </a:rPr>
                <a:t> (</a:t>
              </a:r>
              <a:r>
                <a:rPr lang="ru-RU" sz="1400" dirty="0" err="1">
                  <a:solidFill>
                    <a:schemeClr val="tx2"/>
                  </a:solidFill>
                </a:rPr>
                <a:t>Тўловлар</a:t>
              </a:r>
              <a:r>
                <a:rPr lang="ru-RU" sz="1400" dirty="0">
                  <a:solidFill>
                    <a:schemeClr val="tx2"/>
                  </a:solidFill>
                </a:rPr>
                <a:t>)</a:t>
              </a: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6A76B8D8-50CB-4CE5-84CD-D1EDDFA10A1F}"/>
                </a:ext>
              </a:extLst>
            </p:cNvPr>
            <p:cNvSpPr/>
            <p:nvPr/>
          </p:nvSpPr>
          <p:spPr>
            <a:xfrm>
              <a:off x="431997" y="4884526"/>
              <a:ext cx="5556192" cy="504000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 w="6350">
              <a:solidFill>
                <a:srgbClr val="130A6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342900" indent="-342900">
                <a:buFont typeface="+mj-lt"/>
                <a:buAutoNum type="arabicPeriod" startAt="3"/>
              </a:pPr>
              <a:r>
                <a:rPr lang="ru-RU" sz="1400" dirty="0" err="1">
                  <a:solidFill>
                    <a:schemeClr val="tx2"/>
                  </a:solidFill>
                </a:rPr>
                <a:t>Пудратчилар</a:t>
              </a:r>
              <a:r>
                <a:rPr lang="ru-RU" sz="1400" dirty="0">
                  <a:solidFill>
                    <a:schemeClr val="tx2"/>
                  </a:solidFill>
                </a:rPr>
                <a:t> (</a:t>
              </a:r>
              <a:r>
                <a:rPr lang="ru-RU" sz="1400" dirty="0" err="1">
                  <a:solidFill>
                    <a:schemeClr val="tx2"/>
                  </a:solidFill>
                </a:rPr>
                <a:t>харидорлар</a:t>
              </a:r>
              <a:r>
                <a:rPr lang="ru-RU" sz="1400" dirty="0">
                  <a:solidFill>
                    <a:schemeClr val="tx2"/>
                  </a:solidFill>
                </a:rPr>
                <a:t>) </a:t>
              </a:r>
              <a:r>
                <a:rPr lang="ru-RU" sz="1400" dirty="0" err="1">
                  <a:solidFill>
                    <a:schemeClr val="tx2"/>
                  </a:solidFill>
                </a:rPr>
                <a:t>билан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операцияларн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таҳлил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қилиш</a:t>
              </a:r>
              <a:r>
                <a:rPr lang="ru-RU" sz="1400" dirty="0">
                  <a:solidFill>
                    <a:schemeClr val="tx2"/>
                  </a:solidFill>
                </a:rPr>
                <a:t> (</a:t>
              </a:r>
              <a:r>
                <a:rPr lang="ru-RU" sz="1400" dirty="0" err="1">
                  <a:solidFill>
                    <a:schemeClr val="tx2"/>
                  </a:solidFill>
                </a:rPr>
                <a:t>ҳисоб-китоблар</a:t>
              </a:r>
              <a:r>
                <a:rPr lang="ru-RU" sz="1400" dirty="0">
                  <a:solidFill>
                    <a:schemeClr val="tx2"/>
                  </a:solidFill>
                </a:rPr>
                <a:t>)</a:t>
              </a: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83CD5ED2-FEC4-42BA-861C-1A17C4135CB2}"/>
                </a:ext>
              </a:extLst>
            </p:cNvPr>
            <p:cNvSpPr/>
            <p:nvPr/>
          </p:nvSpPr>
          <p:spPr>
            <a:xfrm>
              <a:off x="439819" y="5540032"/>
              <a:ext cx="5576920" cy="504000"/>
            </a:xfrm>
            <a:prstGeom prst="roundRect">
              <a:avLst>
                <a:gd name="adj" fmla="val 50000"/>
              </a:avLst>
            </a:prstGeom>
            <a:solidFill>
              <a:srgbClr val="1BD7D3"/>
            </a:solidFill>
            <a:ln w="6350">
              <a:solidFill>
                <a:srgbClr val="130A6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342900" indent="-342900">
                <a:buFont typeface="+mj-lt"/>
                <a:buAutoNum type="arabicPeriod" startAt="4"/>
              </a:pPr>
              <a:r>
                <a:rPr lang="ru-RU" sz="1400" dirty="0" err="1">
                  <a:solidFill>
                    <a:schemeClr val="bg1"/>
                  </a:solidFill>
                </a:rPr>
                <a:t>Бошқа</a:t>
              </a:r>
              <a:r>
                <a:rPr lang="ru-RU" sz="1400" dirty="0">
                  <a:solidFill>
                    <a:schemeClr val="bg1"/>
                  </a:solidFill>
                </a:rPr>
                <a:t> бухгалтерия </a:t>
              </a:r>
              <a:r>
                <a:rPr lang="ru-RU" sz="1400" dirty="0" err="1">
                  <a:solidFill>
                    <a:schemeClr val="bg1"/>
                  </a:solidFill>
                </a:rPr>
                <a:t>маълумотлари</a:t>
              </a:r>
              <a:r>
                <a:rPr lang="ru-RU" sz="1400" dirty="0">
                  <a:solidFill>
                    <a:schemeClr val="bg1"/>
                  </a:solidFill>
                </a:rPr>
                <a:t> (</a:t>
              </a:r>
              <a:r>
                <a:rPr lang="ru-RU" sz="1400" dirty="0" err="1">
                  <a:solidFill>
                    <a:schemeClr val="bg1"/>
                  </a:solidFill>
                </a:rPr>
                <a:t>масалан</a:t>
              </a:r>
              <a:r>
                <a:rPr lang="ru-RU" sz="1400" dirty="0">
                  <a:solidFill>
                    <a:schemeClr val="bg1"/>
                  </a:solidFill>
                </a:rPr>
                <a:t>, </a:t>
              </a:r>
              <a:r>
                <a:rPr lang="ru-RU" sz="1400" dirty="0" err="1">
                  <a:solidFill>
                    <a:schemeClr val="bg1"/>
                  </a:solidFill>
                </a:rPr>
                <a:t>харидлар</a:t>
              </a:r>
              <a:r>
                <a:rPr lang="ru-RU" sz="1400" dirty="0">
                  <a:solidFill>
                    <a:schemeClr val="bg1"/>
                  </a:solidFill>
                </a:rPr>
                <a:t>, </a:t>
              </a:r>
              <a:r>
                <a:rPr lang="ru-RU" sz="1400" dirty="0" err="1">
                  <a:solidFill>
                    <a:schemeClr val="bg1"/>
                  </a:solidFill>
                </a:rPr>
                <a:t>совғалар</a:t>
              </a:r>
              <a:r>
                <a:rPr lang="ru-RU" sz="1400" dirty="0">
                  <a:solidFill>
                    <a:schemeClr val="bg1"/>
                  </a:solidFill>
                </a:rPr>
                <a:t>, </a:t>
              </a:r>
              <a:r>
                <a:rPr lang="ru-RU" sz="1400" dirty="0" err="1">
                  <a:solidFill>
                    <a:schemeClr val="bg1"/>
                  </a:solidFill>
                </a:rPr>
                <a:t>контрагентлар</a:t>
              </a:r>
              <a:r>
                <a:rPr lang="ru-RU" sz="1400" dirty="0">
                  <a:solidFill>
                    <a:schemeClr val="bg1"/>
                  </a:solidFill>
                </a:rPr>
                <a:t> </a:t>
              </a:r>
              <a:r>
                <a:rPr lang="ru-RU" sz="1400" dirty="0" err="1">
                  <a:solidFill>
                    <a:schemeClr val="bg1"/>
                  </a:solidFill>
                </a:rPr>
                <a:t>реестри</a:t>
              </a:r>
              <a:r>
                <a:rPr lang="ru-RU" sz="1400" dirty="0">
                  <a:solidFill>
                    <a:schemeClr val="bg1"/>
                  </a:solidFill>
                </a:rPr>
                <a:t>)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E54270B-5287-4E00-BBBB-AC3F4F65F7F8}"/>
              </a:ext>
            </a:extLst>
          </p:cNvPr>
          <p:cNvGrpSpPr/>
          <p:nvPr/>
        </p:nvGrpSpPr>
        <p:grpSpPr>
          <a:xfrm>
            <a:off x="443080" y="1282693"/>
            <a:ext cx="11306008" cy="434975"/>
            <a:chOff x="3784798" y="1289128"/>
            <a:chExt cx="7964290" cy="463165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99387F03-05D6-4654-A6AA-48AE120560E1}"/>
                </a:ext>
              </a:extLst>
            </p:cNvPr>
            <p:cNvSpPr/>
            <p:nvPr/>
          </p:nvSpPr>
          <p:spPr>
            <a:xfrm>
              <a:off x="3921193" y="1371686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92F6FC82-66B2-4230-BD1C-A94A4CA47AE3}"/>
                </a:ext>
              </a:extLst>
            </p:cNvPr>
            <p:cNvSpPr/>
            <p:nvPr/>
          </p:nvSpPr>
          <p:spPr>
            <a:xfrm>
              <a:off x="3784798" y="1289128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Мониторинг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усуллар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:</a:t>
              </a:r>
              <a:endParaRPr lang="en-US" sz="1400" b="1" dirty="0">
                <a:solidFill>
                  <a:srgbClr val="3A07DF"/>
                </a:solidFill>
                <a:latin typeface="+mj-lt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C0BB264-DCDF-4206-9BF7-72A2EFCAD580}"/>
              </a:ext>
            </a:extLst>
          </p:cNvPr>
          <p:cNvGrpSpPr/>
          <p:nvPr/>
        </p:nvGrpSpPr>
        <p:grpSpPr>
          <a:xfrm flipH="1">
            <a:off x="6176916" y="3550528"/>
            <a:ext cx="5592564" cy="1947246"/>
            <a:chOff x="231293" y="1533765"/>
            <a:chExt cx="9637556" cy="1288357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D3D02815-F3B9-4078-AF4E-909AAE6D3511}"/>
                </a:ext>
              </a:extLst>
            </p:cNvPr>
            <p:cNvGrpSpPr/>
            <p:nvPr/>
          </p:nvGrpSpPr>
          <p:grpSpPr>
            <a:xfrm>
              <a:off x="231293" y="1533765"/>
              <a:ext cx="9637556" cy="1288357"/>
              <a:chOff x="231293" y="1423063"/>
              <a:chExt cx="9637556" cy="1458689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B2023B2-5A16-4EEE-AE74-9E7440CB1C7B}"/>
                  </a:ext>
                </a:extLst>
              </p:cNvPr>
              <p:cNvSpPr/>
              <p:nvPr/>
            </p:nvSpPr>
            <p:spPr>
              <a:xfrm>
                <a:off x="231293" y="1423063"/>
                <a:ext cx="1831671" cy="1458253"/>
              </a:xfrm>
              <a:prstGeom prst="rect">
                <a:avLst/>
              </a:prstGeom>
              <a:solidFill>
                <a:srgbClr val="CDF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en-US" sz="900" dirty="0" err="1">
                  <a:solidFill>
                    <a:schemeClr val="bg1"/>
                  </a:solidFill>
                </a:endParaRPr>
              </a:p>
            </p:txBody>
          </p:sp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D63CBB08-E1D0-4617-88F4-107DD39843B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lum bright="70000" contrast="-70000"/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artisticBlur radius="3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27" t="25090" r="277" b="26127"/>
              <a:stretch/>
            </p:blipFill>
            <p:spPr>
              <a:xfrm>
                <a:off x="293048" y="1423499"/>
                <a:ext cx="9575801" cy="1458253"/>
              </a:xfrm>
              <a:prstGeom prst="roundRect">
                <a:avLst>
                  <a:gd name="adj" fmla="val 50000"/>
                </a:avLst>
              </a:prstGeom>
            </p:spPr>
          </p:pic>
        </p:grp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AC5BA2FC-9919-4DAC-9A6A-D94E9EBE65F0}"/>
                </a:ext>
              </a:extLst>
            </p:cNvPr>
            <p:cNvSpPr txBox="1"/>
            <p:nvPr/>
          </p:nvSpPr>
          <p:spPr>
            <a:xfrm>
              <a:off x="1145428" y="1615579"/>
              <a:ext cx="8096612" cy="1124648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tabLst>
                  <a:tab pos="270510" algn="l"/>
                </a:tabLst>
              </a:pP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гар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аълумотларн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аҳлил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илиш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айтид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коррупция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хавф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елгилар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илан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ранзакциялар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ниқланс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ундай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ранзакциялар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оддийлик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аражасидан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тъ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зар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анлашг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иритилад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endParaRPr lang="en-US" sz="16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3F71171-67A2-4231-ABF2-966B30E9C6C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091409" y="4852049"/>
            <a:ext cx="1560862" cy="1375966"/>
            <a:chOff x="6416" y="653"/>
            <a:chExt cx="1089" cy="960"/>
          </a:xfrm>
        </p:grpSpPr>
        <p:sp>
          <p:nvSpPr>
            <p:cNvPr id="28" name="AutoShape 3">
              <a:extLst>
                <a:ext uri="{FF2B5EF4-FFF2-40B4-BE49-F238E27FC236}">
                  <a16:creationId xmlns:a16="http://schemas.microsoft.com/office/drawing/2014/main" id="{24713F45-56E1-4632-948B-4708AD67450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416" y="653"/>
              <a:ext cx="1089" cy="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133317C9-4D4D-40B0-94D6-F85854483B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4" y="1377"/>
              <a:ext cx="1091" cy="238"/>
            </a:xfrm>
            <a:custGeom>
              <a:avLst/>
              <a:gdLst>
                <a:gd name="T0" fmla="*/ 363 w 454"/>
                <a:gd name="T1" fmla="*/ 0 h 99"/>
                <a:gd name="T2" fmla="*/ 281 w 454"/>
                <a:gd name="T3" fmla="*/ 31 h 99"/>
                <a:gd name="T4" fmla="*/ 281 w 454"/>
                <a:gd name="T5" fmla="*/ 29 h 99"/>
                <a:gd name="T6" fmla="*/ 192 w 454"/>
                <a:gd name="T7" fmla="*/ 55 h 99"/>
                <a:gd name="T8" fmla="*/ 100 w 454"/>
                <a:gd name="T9" fmla="*/ 36 h 99"/>
                <a:gd name="T10" fmla="*/ 0 w 454"/>
                <a:gd name="T11" fmla="*/ 67 h 99"/>
                <a:gd name="T12" fmla="*/ 100 w 454"/>
                <a:gd name="T13" fmla="*/ 99 h 99"/>
                <a:gd name="T14" fmla="*/ 200 w 454"/>
                <a:gd name="T15" fmla="*/ 69 h 99"/>
                <a:gd name="T16" fmla="*/ 289 w 454"/>
                <a:gd name="T17" fmla="*/ 50 h 99"/>
                <a:gd name="T18" fmla="*/ 363 w 454"/>
                <a:gd name="T19" fmla="*/ 63 h 99"/>
                <a:gd name="T20" fmla="*/ 454 w 454"/>
                <a:gd name="T21" fmla="*/ 31 h 99"/>
                <a:gd name="T22" fmla="*/ 363 w 454"/>
                <a:gd name="T23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4" h="99">
                  <a:moveTo>
                    <a:pt x="363" y="0"/>
                  </a:moveTo>
                  <a:cubicBezTo>
                    <a:pt x="313" y="0"/>
                    <a:pt x="281" y="14"/>
                    <a:pt x="281" y="31"/>
                  </a:cubicBezTo>
                  <a:cubicBezTo>
                    <a:pt x="281" y="29"/>
                    <a:pt x="281" y="29"/>
                    <a:pt x="281" y="29"/>
                  </a:cubicBezTo>
                  <a:cubicBezTo>
                    <a:pt x="192" y="55"/>
                    <a:pt x="192" y="55"/>
                    <a:pt x="192" y="55"/>
                  </a:cubicBezTo>
                  <a:cubicBezTo>
                    <a:pt x="176" y="44"/>
                    <a:pt x="141" y="36"/>
                    <a:pt x="100" y="36"/>
                  </a:cubicBezTo>
                  <a:cubicBezTo>
                    <a:pt x="45" y="36"/>
                    <a:pt x="0" y="50"/>
                    <a:pt x="0" y="67"/>
                  </a:cubicBezTo>
                  <a:cubicBezTo>
                    <a:pt x="0" y="85"/>
                    <a:pt x="45" y="99"/>
                    <a:pt x="100" y="99"/>
                  </a:cubicBezTo>
                  <a:cubicBezTo>
                    <a:pt x="153" y="99"/>
                    <a:pt x="197" y="86"/>
                    <a:pt x="200" y="69"/>
                  </a:cubicBezTo>
                  <a:cubicBezTo>
                    <a:pt x="289" y="50"/>
                    <a:pt x="289" y="50"/>
                    <a:pt x="289" y="50"/>
                  </a:cubicBezTo>
                  <a:cubicBezTo>
                    <a:pt x="305" y="59"/>
                    <a:pt x="330" y="63"/>
                    <a:pt x="363" y="63"/>
                  </a:cubicBezTo>
                  <a:cubicBezTo>
                    <a:pt x="413" y="63"/>
                    <a:pt x="454" y="49"/>
                    <a:pt x="454" y="31"/>
                  </a:cubicBezTo>
                  <a:cubicBezTo>
                    <a:pt x="454" y="14"/>
                    <a:pt x="413" y="0"/>
                    <a:pt x="363" y="0"/>
                  </a:cubicBezTo>
                </a:path>
              </a:pathLst>
            </a:custGeom>
            <a:solidFill>
              <a:srgbClr val="D4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6">
              <a:extLst>
                <a:ext uri="{FF2B5EF4-FFF2-40B4-BE49-F238E27FC236}">
                  <a16:creationId xmlns:a16="http://schemas.microsoft.com/office/drawing/2014/main" id="{110868D4-ED2E-44D1-B384-B3B9BDE2DD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6" y="1411"/>
              <a:ext cx="361" cy="96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Rectangle 7">
              <a:extLst>
                <a:ext uri="{FF2B5EF4-FFF2-40B4-BE49-F238E27FC236}">
                  <a16:creationId xmlns:a16="http://schemas.microsoft.com/office/drawing/2014/main" id="{B8BDF9EB-7E92-4321-B8E9-69A3F18B43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6" y="1370"/>
              <a:ext cx="361" cy="89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8">
              <a:extLst>
                <a:ext uri="{FF2B5EF4-FFF2-40B4-BE49-F238E27FC236}">
                  <a16:creationId xmlns:a16="http://schemas.microsoft.com/office/drawing/2014/main" id="{F9BEC4B0-9F28-4932-81F9-E8D96D4968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6" y="1324"/>
              <a:ext cx="361" cy="9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9">
              <a:extLst>
                <a:ext uri="{FF2B5EF4-FFF2-40B4-BE49-F238E27FC236}">
                  <a16:creationId xmlns:a16="http://schemas.microsoft.com/office/drawing/2014/main" id="{54E41458-E096-41B5-816E-2DA5B4AE38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5" y="1255"/>
              <a:ext cx="262" cy="69"/>
            </a:xfrm>
            <a:prstGeom prst="ellipse">
              <a:avLst/>
            </a:prstGeom>
            <a:solidFill>
              <a:srgbClr val="D4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10">
              <a:extLst>
                <a:ext uri="{FF2B5EF4-FFF2-40B4-BE49-F238E27FC236}">
                  <a16:creationId xmlns:a16="http://schemas.microsoft.com/office/drawing/2014/main" id="{CAA37137-1605-4029-B450-9166787A74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4" y="1259"/>
              <a:ext cx="226" cy="61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11">
              <a:extLst>
                <a:ext uri="{FF2B5EF4-FFF2-40B4-BE49-F238E27FC236}">
                  <a16:creationId xmlns:a16="http://schemas.microsoft.com/office/drawing/2014/main" id="{3A069BB9-E14A-40B5-8F41-85E13E6C7C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4" y="1228"/>
              <a:ext cx="226" cy="60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2">
              <a:extLst>
                <a:ext uri="{FF2B5EF4-FFF2-40B4-BE49-F238E27FC236}">
                  <a16:creationId xmlns:a16="http://schemas.microsoft.com/office/drawing/2014/main" id="{434765AC-2BAD-4D9C-B8CF-C259ED45B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5" y="1252"/>
              <a:ext cx="125" cy="173"/>
            </a:xfrm>
            <a:custGeom>
              <a:avLst/>
              <a:gdLst>
                <a:gd name="T0" fmla="*/ 0 w 125"/>
                <a:gd name="T1" fmla="*/ 130 h 173"/>
                <a:gd name="T2" fmla="*/ 125 w 125"/>
                <a:gd name="T3" fmla="*/ 0 h 173"/>
                <a:gd name="T4" fmla="*/ 125 w 125"/>
                <a:gd name="T5" fmla="*/ 63 h 173"/>
                <a:gd name="T6" fmla="*/ 62 w 125"/>
                <a:gd name="T7" fmla="*/ 173 h 173"/>
                <a:gd name="T8" fmla="*/ 0 w 125"/>
                <a:gd name="T9" fmla="*/ 13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73">
                  <a:moveTo>
                    <a:pt x="0" y="130"/>
                  </a:moveTo>
                  <a:lnTo>
                    <a:pt x="125" y="0"/>
                  </a:lnTo>
                  <a:lnTo>
                    <a:pt x="125" y="63"/>
                  </a:lnTo>
                  <a:lnTo>
                    <a:pt x="62" y="173"/>
                  </a:lnTo>
                  <a:lnTo>
                    <a:pt x="0" y="130"/>
                  </a:lnTo>
                  <a:close/>
                </a:path>
              </a:pathLst>
            </a:custGeom>
            <a:solidFill>
              <a:srgbClr val="E7E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13">
              <a:extLst>
                <a:ext uri="{FF2B5EF4-FFF2-40B4-BE49-F238E27FC236}">
                  <a16:creationId xmlns:a16="http://schemas.microsoft.com/office/drawing/2014/main" id="{3DE777C2-0874-4105-A692-9D6F524CED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4" y="1197"/>
              <a:ext cx="226" cy="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14">
              <a:extLst>
                <a:ext uri="{FF2B5EF4-FFF2-40B4-BE49-F238E27FC236}">
                  <a16:creationId xmlns:a16="http://schemas.microsoft.com/office/drawing/2014/main" id="{F3CA1AE9-24C4-43EF-9CD4-4940BA44E3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64" y="1474"/>
              <a:ext cx="380" cy="1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15">
              <a:extLst>
                <a:ext uri="{FF2B5EF4-FFF2-40B4-BE49-F238E27FC236}">
                  <a16:creationId xmlns:a16="http://schemas.microsoft.com/office/drawing/2014/main" id="{4076346C-9043-4008-A3BC-B9263F9788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64" y="1430"/>
              <a:ext cx="380" cy="104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16">
              <a:extLst>
                <a:ext uri="{FF2B5EF4-FFF2-40B4-BE49-F238E27FC236}">
                  <a16:creationId xmlns:a16="http://schemas.microsoft.com/office/drawing/2014/main" id="{C31BA1D7-B316-47B4-8A2E-07DB7C5B9D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64" y="1370"/>
              <a:ext cx="380" cy="12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17">
              <a:extLst>
                <a:ext uri="{FF2B5EF4-FFF2-40B4-BE49-F238E27FC236}">
                  <a16:creationId xmlns:a16="http://schemas.microsoft.com/office/drawing/2014/main" id="{98717EB0-1763-4489-9145-3F19B7ABBD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37" y="1339"/>
              <a:ext cx="301" cy="65"/>
            </a:xfrm>
            <a:prstGeom prst="ellipse">
              <a:avLst/>
            </a:prstGeom>
            <a:solidFill>
              <a:srgbClr val="E7E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Oval 18">
              <a:extLst>
                <a:ext uri="{FF2B5EF4-FFF2-40B4-BE49-F238E27FC236}">
                  <a16:creationId xmlns:a16="http://schemas.microsoft.com/office/drawing/2014/main" id="{6F3E57B9-56A0-49A5-BE45-3B46FC4A26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1" y="1206"/>
              <a:ext cx="190" cy="44"/>
            </a:xfrm>
            <a:prstGeom prst="ellipse">
              <a:avLst/>
            </a:prstGeom>
            <a:solidFill>
              <a:srgbClr val="E7E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19">
              <a:extLst>
                <a:ext uri="{FF2B5EF4-FFF2-40B4-BE49-F238E27FC236}">
                  <a16:creationId xmlns:a16="http://schemas.microsoft.com/office/drawing/2014/main" id="{33F69FBE-E6DA-4BA6-8714-6F50C00302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95" y="1389"/>
              <a:ext cx="318" cy="82"/>
            </a:xfrm>
            <a:prstGeom prst="ellipse">
              <a:avLst/>
            </a:prstGeom>
            <a:solidFill>
              <a:srgbClr val="E7E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0">
              <a:extLst>
                <a:ext uri="{FF2B5EF4-FFF2-40B4-BE49-F238E27FC236}">
                  <a16:creationId xmlns:a16="http://schemas.microsoft.com/office/drawing/2014/main" id="{7F090BCA-DCDF-4C65-A214-224C5D1938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4" y="1389"/>
              <a:ext cx="279" cy="145"/>
            </a:xfrm>
            <a:custGeom>
              <a:avLst/>
              <a:gdLst>
                <a:gd name="T0" fmla="*/ 0 w 279"/>
                <a:gd name="T1" fmla="*/ 41 h 145"/>
                <a:gd name="T2" fmla="*/ 279 w 279"/>
                <a:gd name="T3" fmla="*/ 0 h 145"/>
                <a:gd name="T4" fmla="*/ 279 w 279"/>
                <a:gd name="T5" fmla="*/ 87 h 145"/>
                <a:gd name="T6" fmla="*/ 0 w 279"/>
                <a:gd name="T7" fmla="*/ 145 h 145"/>
                <a:gd name="T8" fmla="*/ 0 w 279"/>
                <a:gd name="T9" fmla="*/ 41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" h="145">
                  <a:moveTo>
                    <a:pt x="0" y="41"/>
                  </a:moveTo>
                  <a:lnTo>
                    <a:pt x="279" y="0"/>
                  </a:lnTo>
                  <a:lnTo>
                    <a:pt x="279" y="87"/>
                  </a:lnTo>
                  <a:lnTo>
                    <a:pt x="0" y="145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E7E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1">
              <a:extLst>
                <a:ext uri="{FF2B5EF4-FFF2-40B4-BE49-F238E27FC236}">
                  <a16:creationId xmlns:a16="http://schemas.microsoft.com/office/drawing/2014/main" id="{AEBC69D4-81C5-459B-B4DA-93A84C9B4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7" y="1370"/>
              <a:ext cx="296" cy="60"/>
            </a:xfrm>
            <a:custGeom>
              <a:avLst/>
              <a:gdLst>
                <a:gd name="T0" fmla="*/ 17 w 296"/>
                <a:gd name="T1" fmla="*/ 60 h 60"/>
                <a:gd name="T2" fmla="*/ 296 w 296"/>
                <a:gd name="T3" fmla="*/ 19 h 60"/>
                <a:gd name="T4" fmla="*/ 279 w 296"/>
                <a:gd name="T5" fmla="*/ 0 h 60"/>
                <a:gd name="T6" fmla="*/ 0 w 296"/>
                <a:gd name="T7" fmla="*/ 39 h 60"/>
                <a:gd name="T8" fmla="*/ 17 w 296"/>
                <a:gd name="T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6" h="60">
                  <a:moveTo>
                    <a:pt x="17" y="60"/>
                  </a:moveTo>
                  <a:lnTo>
                    <a:pt x="296" y="19"/>
                  </a:lnTo>
                  <a:lnTo>
                    <a:pt x="279" y="0"/>
                  </a:lnTo>
                  <a:lnTo>
                    <a:pt x="0" y="39"/>
                  </a:lnTo>
                  <a:lnTo>
                    <a:pt x="17" y="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2">
              <a:extLst>
                <a:ext uri="{FF2B5EF4-FFF2-40B4-BE49-F238E27FC236}">
                  <a16:creationId xmlns:a16="http://schemas.microsoft.com/office/drawing/2014/main" id="{8D371E29-E51B-40FD-A568-0B0015CA77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9" y="1247"/>
              <a:ext cx="161" cy="135"/>
            </a:xfrm>
            <a:custGeom>
              <a:avLst/>
              <a:gdLst>
                <a:gd name="T0" fmla="*/ 161 w 161"/>
                <a:gd name="T1" fmla="*/ 5 h 135"/>
                <a:gd name="T2" fmla="*/ 139 w 161"/>
                <a:gd name="T3" fmla="*/ 0 h 135"/>
                <a:gd name="T4" fmla="*/ 0 w 161"/>
                <a:gd name="T5" fmla="*/ 130 h 135"/>
                <a:gd name="T6" fmla="*/ 36 w 161"/>
                <a:gd name="T7" fmla="*/ 135 h 135"/>
                <a:gd name="T8" fmla="*/ 161 w 161"/>
                <a:gd name="T9" fmla="*/ 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135">
                  <a:moveTo>
                    <a:pt x="161" y="5"/>
                  </a:moveTo>
                  <a:lnTo>
                    <a:pt x="139" y="0"/>
                  </a:lnTo>
                  <a:lnTo>
                    <a:pt x="0" y="130"/>
                  </a:lnTo>
                  <a:lnTo>
                    <a:pt x="36" y="135"/>
                  </a:lnTo>
                  <a:lnTo>
                    <a:pt x="161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3">
              <a:extLst>
                <a:ext uri="{FF2B5EF4-FFF2-40B4-BE49-F238E27FC236}">
                  <a16:creationId xmlns:a16="http://schemas.microsoft.com/office/drawing/2014/main" id="{7D1EC2CE-8114-4D40-A901-F983E7F38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9" y="805"/>
              <a:ext cx="41" cy="41"/>
            </a:xfrm>
            <a:custGeom>
              <a:avLst/>
              <a:gdLst>
                <a:gd name="T0" fmla="*/ 4 w 17"/>
                <a:gd name="T1" fmla="*/ 17 h 17"/>
                <a:gd name="T2" fmla="*/ 15 w 17"/>
                <a:gd name="T3" fmla="*/ 13 h 17"/>
                <a:gd name="T4" fmla="*/ 13 w 17"/>
                <a:gd name="T5" fmla="*/ 0 h 17"/>
                <a:gd name="T6" fmla="*/ 2 w 17"/>
                <a:gd name="T7" fmla="*/ 4 h 17"/>
                <a:gd name="T8" fmla="*/ 4 w 17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4" y="17"/>
                  </a:moveTo>
                  <a:cubicBezTo>
                    <a:pt x="6" y="17"/>
                    <a:pt x="12" y="15"/>
                    <a:pt x="15" y="13"/>
                  </a:cubicBezTo>
                  <a:cubicBezTo>
                    <a:pt x="17" y="10"/>
                    <a:pt x="13" y="0"/>
                    <a:pt x="13" y="0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0" y="16"/>
                    <a:pt x="4" y="17"/>
                  </a:cubicBez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4">
              <a:extLst>
                <a:ext uri="{FF2B5EF4-FFF2-40B4-BE49-F238E27FC236}">
                  <a16:creationId xmlns:a16="http://schemas.microsoft.com/office/drawing/2014/main" id="{76617642-83DD-4EE3-BDFB-C926CF07C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" y="1129"/>
              <a:ext cx="53" cy="97"/>
            </a:xfrm>
            <a:custGeom>
              <a:avLst/>
              <a:gdLst>
                <a:gd name="T0" fmla="*/ 3 w 22"/>
                <a:gd name="T1" fmla="*/ 20 h 40"/>
                <a:gd name="T2" fmla="*/ 4 w 22"/>
                <a:gd name="T3" fmla="*/ 31 h 40"/>
                <a:gd name="T4" fmla="*/ 1 w 22"/>
                <a:gd name="T5" fmla="*/ 38 h 40"/>
                <a:gd name="T6" fmla="*/ 8 w 22"/>
                <a:gd name="T7" fmla="*/ 38 h 40"/>
                <a:gd name="T8" fmla="*/ 16 w 22"/>
                <a:gd name="T9" fmla="*/ 30 h 40"/>
                <a:gd name="T10" fmla="*/ 16 w 22"/>
                <a:gd name="T11" fmla="*/ 21 h 40"/>
                <a:gd name="T12" fmla="*/ 17 w 22"/>
                <a:gd name="T13" fmla="*/ 10 h 40"/>
                <a:gd name="T14" fmla="*/ 3 w 22"/>
                <a:gd name="T15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40">
                  <a:moveTo>
                    <a:pt x="3" y="20"/>
                  </a:moveTo>
                  <a:cubicBezTo>
                    <a:pt x="4" y="22"/>
                    <a:pt x="5" y="29"/>
                    <a:pt x="4" y="31"/>
                  </a:cubicBezTo>
                  <a:cubicBezTo>
                    <a:pt x="3" y="33"/>
                    <a:pt x="0" y="36"/>
                    <a:pt x="1" y="38"/>
                  </a:cubicBezTo>
                  <a:cubicBezTo>
                    <a:pt x="2" y="40"/>
                    <a:pt x="4" y="40"/>
                    <a:pt x="8" y="38"/>
                  </a:cubicBezTo>
                  <a:cubicBezTo>
                    <a:pt x="11" y="36"/>
                    <a:pt x="16" y="34"/>
                    <a:pt x="16" y="30"/>
                  </a:cubicBezTo>
                  <a:cubicBezTo>
                    <a:pt x="15" y="27"/>
                    <a:pt x="15" y="23"/>
                    <a:pt x="16" y="21"/>
                  </a:cubicBezTo>
                  <a:cubicBezTo>
                    <a:pt x="18" y="18"/>
                    <a:pt x="22" y="19"/>
                    <a:pt x="17" y="10"/>
                  </a:cubicBezTo>
                  <a:cubicBezTo>
                    <a:pt x="11" y="0"/>
                    <a:pt x="3" y="10"/>
                    <a:pt x="3" y="20"/>
                  </a:cubicBezTo>
                  <a:close/>
                </a:path>
              </a:pathLst>
            </a:custGeom>
            <a:solidFill>
              <a:srgbClr val="2A2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5">
              <a:extLst>
                <a:ext uri="{FF2B5EF4-FFF2-40B4-BE49-F238E27FC236}">
                  <a16:creationId xmlns:a16="http://schemas.microsoft.com/office/drawing/2014/main" id="{7FCA4652-5558-4FC0-8BEB-2889218FBC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9" y="1161"/>
              <a:ext cx="26" cy="43"/>
            </a:xfrm>
            <a:custGeom>
              <a:avLst/>
              <a:gdLst>
                <a:gd name="T0" fmla="*/ 7 w 11"/>
                <a:gd name="T1" fmla="*/ 4 h 18"/>
                <a:gd name="T2" fmla="*/ 11 w 11"/>
                <a:gd name="T3" fmla="*/ 16 h 18"/>
                <a:gd name="T4" fmla="*/ 11 w 11"/>
                <a:gd name="T5" fmla="*/ 16 h 18"/>
                <a:gd name="T6" fmla="*/ 9 w 11"/>
                <a:gd name="T7" fmla="*/ 18 h 18"/>
                <a:gd name="T8" fmla="*/ 3 w 11"/>
                <a:gd name="T9" fmla="*/ 6 h 18"/>
                <a:gd name="T10" fmla="*/ 7 w 11"/>
                <a:gd name="T11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8">
                  <a:moveTo>
                    <a:pt x="7" y="4"/>
                  </a:moveTo>
                  <a:cubicBezTo>
                    <a:pt x="8" y="8"/>
                    <a:pt x="9" y="12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7" y="12"/>
                    <a:pt x="5" y="9"/>
                    <a:pt x="3" y="6"/>
                  </a:cubicBezTo>
                  <a:cubicBezTo>
                    <a:pt x="0" y="2"/>
                    <a:pt x="4" y="0"/>
                    <a:pt x="7" y="4"/>
                  </a:cubicBezTo>
                  <a:close/>
                </a:path>
              </a:pathLst>
            </a:custGeom>
            <a:solidFill>
              <a:srgbClr val="2A2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">
              <a:extLst>
                <a:ext uri="{FF2B5EF4-FFF2-40B4-BE49-F238E27FC236}">
                  <a16:creationId xmlns:a16="http://schemas.microsoft.com/office/drawing/2014/main" id="{062288DE-583A-409F-8D2D-E6495F61A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8" y="1158"/>
              <a:ext cx="65" cy="77"/>
            </a:xfrm>
            <a:custGeom>
              <a:avLst/>
              <a:gdLst>
                <a:gd name="T0" fmla="*/ 9 w 27"/>
                <a:gd name="T1" fmla="*/ 14 h 32"/>
                <a:gd name="T2" fmla="*/ 6 w 27"/>
                <a:gd name="T3" fmla="*/ 24 h 32"/>
                <a:gd name="T4" fmla="*/ 0 w 27"/>
                <a:gd name="T5" fmla="*/ 29 h 32"/>
                <a:gd name="T6" fmla="*/ 6 w 27"/>
                <a:gd name="T7" fmla="*/ 32 h 32"/>
                <a:gd name="T8" fmla="*/ 16 w 27"/>
                <a:gd name="T9" fmla="*/ 29 h 32"/>
                <a:gd name="T10" fmla="*/ 21 w 27"/>
                <a:gd name="T11" fmla="*/ 20 h 32"/>
                <a:gd name="T12" fmla="*/ 26 w 27"/>
                <a:gd name="T13" fmla="*/ 10 h 32"/>
                <a:gd name="T14" fmla="*/ 9 w 27"/>
                <a:gd name="T15" fmla="*/ 1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32">
                  <a:moveTo>
                    <a:pt x="9" y="14"/>
                  </a:moveTo>
                  <a:cubicBezTo>
                    <a:pt x="9" y="16"/>
                    <a:pt x="7" y="23"/>
                    <a:pt x="6" y="24"/>
                  </a:cubicBezTo>
                  <a:cubicBezTo>
                    <a:pt x="4" y="26"/>
                    <a:pt x="0" y="27"/>
                    <a:pt x="0" y="29"/>
                  </a:cubicBezTo>
                  <a:cubicBezTo>
                    <a:pt x="0" y="31"/>
                    <a:pt x="1" y="32"/>
                    <a:pt x="6" y="32"/>
                  </a:cubicBezTo>
                  <a:cubicBezTo>
                    <a:pt x="10" y="32"/>
                    <a:pt x="16" y="32"/>
                    <a:pt x="16" y="29"/>
                  </a:cubicBezTo>
                  <a:cubicBezTo>
                    <a:pt x="17" y="25"/>
                    <a:pt x="19" y="22"/>
                    <a:pt x="21" y="20"/>
                  </a:cubicBezTo>
                  <a:cubicBezTo>
                    <a:pt x="24" y="18"/>
                    <a:pt x="27" y="21"/>
                    <a:pt x="26" y="10"/>
                  </a:cubicBezTo>
                  <a:cubicBezTo>
                    <a:pt x="26" y="0"/>
                    <a:pt x="13" y="5"/>
                    <a:pt x="9" y="14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7">
              <a:extLst>
                <a:ext uri="{FF2B5EF4-FFF2-40B4-BE49-F238E27FC236}">
                  <a16:creationId xmlns:a16="http://schemas.microsoft.com/office/drawing/2014/main" id="{27AF0DF0-8181-415F-BBF6-4FF88B6C7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4" y="1190"/>
              <a:ext cx="14" cy="43"/>
            </a:xfrm>
            <a:custGeom>
              <a:avLst/>
              <a:gdLst>
                <a:gd name="T0" fmla="*/ 6 w 6"/>
                <a:gd name="T1" fmla="*/ 5 h 18"/>
                <a:gd name="T2" fmla="*/ 5 w 6"/>
                <a:gd name="T3" fmla="*/ 18 h 18"/>
                <a:gd name="T4" fmla="*/ 5 w 6"/>
                <a:gd name="T5" fmla="*/ 18 h 18"/>
                <a:gd name="T6" fmla="*/ 2 w 6"/>
                <a:gd name="T7" fmla="*/ 18 h 18"/>
                <a:gd name="T8" fmla="*/ 2 w 6"/>
                <a:gd name="T9" fmla="*/ 5 h 18"/>
                <a:gd name="T10" fmla="*/ 6 w 6"/>
                <a:gd name="T11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8">
                  <a:moveTo>
                    <a:pt x="6" y="5"/>
                  </a:moveTo>
                  <a:cubicBezTo>
                    <a:pt x="5" y="9"/>
                    <a:pt x="4" y="13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2"/>
                    <a:pt x="3" y="9"/>
                    <a:pt x="2" y="5"/>
                  </a:cubicBezTo>
                  <a:cubicBezTo>
                    <a:pt x="0" y="0"/>
                    <a:pt x="5" y="0"/>
                    <a:pt x="6" y="5"/>
                  </a:cubicBez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8">
              <a:extLst>
                <a:ext uri="{FF2B5EF4-FFF2-40B4-BE49-F238E27FC236}">
                  <a16:creationId xmlns:a16="http://schemas.microsoft.com/office/drawing/2014/main" id="{A992BF66-0772-44CA-B0E3-BB9902846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8" y="1170"/>
              <a:ext cx="65" cy="65"/>
            </a:xfrm>
            <a:custGeom>
              <a:avLst/>
              <a:gdLst>
                <a:gd name="T0" fmla="*/ 5 w 27"/>
                <a:gd name="T1" fmla="*/ 20 h 27"/>
                <a:gd name="T2" fmla="*/ 0 w 27"/>
                <a:gd name="T3" fmla="*/ 24 h 27"/>
                <a:gd name="T4" fmla="*/ 6 w 27"/>
                <a:gd name="T5" fmla="*/ 27 h 27"/>
                <a:gd name="T6" fmla="*/ 16 w 27"/>
                <a:gd name="T7" fmla="*/ 24 h 27"/>
                <a:gd name="T8" fmla="*/ 21 w 27"/>
                <a:gd name="T9" fmla="*/ 15 h 27"/>
                <a:gd name="T10" fmla="*/ 26 w 27"/>
                <a:gd name="T11" fmla="*/ 5 h 27"/>
                <a:gd name="T12" fmla="*/ 23 w 27"/>
                <a:gd name="T13" fmla="*/ 0 h 27"/>
                <a:gd name="T14" fmla="*/ 19 w 27"/>
                <a:gd name="T15" fmla="*/ 7 h 27"/>
                <a:gd name="T16" fmla="*/ 16 w 27"/>
                <a:gd name="T17" fmla="*/ 19 h 27"/>
                <a:gd name="T18" fmla="*/ 5 w 27"/>
                <a:gd name="T19" fmla="*/ 2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7">
                  <a:moveTo>
                    <a:pt x="5" y="20"/>
                  </a:moveTo>
                  <a:cubicBezTo>
                    <a:pt x="3" y="21"/>
                    <a:pt x="0" y="22"/>
                    <a:pt x="0" y="24"/>
                  </a:cubicBezTo>
                  <a:cubicBezTo>
                    <a:pt x="0" y="26"/>
                    <a:pt x="1" y="27"/>
                    <a:pt x="6" y="27"/>
                  </a:cubicBezTo>
                  <a:cubicBezTo>
                    <a:pt x="10" y="27"/>
                    <a:pt x="16" y="27"/>
                    <a:pt x="16" y="24"/>
                  </a:cubicBezTo>
                  <a:cubicBezTo>
                    <a:pt x="17" y="20"/>
                    <a:pt x="19" y="17"/>
                    <a:pt x="21" y="15"/>
                  </a:cubicBezTo>
                  <a:cubicBezTo>
                    <a:pt x="24" y="13"/>
                    <a:pt x="27" y="16"/>
                    <a:pt x="26" y="5"/>
                  </a:cubicBezTo>
                  <a:cubicBezTo>
                    <a:pt x="26" y="2"/>
                    <a:pt x="25" y="0"/>
                    <a:pt x="23" y="0"/>
                  </a:cubicBezTo>
                  <a:cubicBezTo>
                    <a:pt x="20" y="2"/>
                    <a:pt x="19" y="6"/>
                    <a:pt x="19" y="7"/>
                  </a:cubicBezTo>
                  <a:cubicBezTo>
                    <a:pt x="19" y="10"/>
                    <a:pt x="19" y="14"/>
                    <a:pt x="16" y="19"/>
                  </a:cubicBezTo>
                  <a:cubicBezTo>
                    <a:pt x="13" y="23"/>
                    <a:pt x="8" y="21"/>
                    <a:pt x="5" y="20"/>
                  </a:cubicBez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9">
              <a:extLst>
                <a:ext uri="{FF2B5EF4-FFF2-40B4-BE49-F238E27FC236}">
                  <a16:creationId xmlns:a16="http://schemas.microsoft.com/office/drawing/2014/main" id="{40D65926-BA31-4EF5-A9C9-99B47404E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4" y="648"/>
              <a:ext cx="110" cy="159"/>
            </a:xfrm>
            <a:custGeom>
              <a:avLst/>
              <a:gdLst>
                <a:gd name="T0" fmla="*/ 18 w 46"/>
                <a:gd name="T1" fmla="*/ 3 h 66"/>
                <a:gd name="T2" fmla="*/ 10 w 46"/>
                <a:gd name="T3" fmla="*/ 8 h 66"/>
                <a:gd name="T4" fmla="*/ 5 w 46"/>
                <a:gd name="T5" fmla="*/ 27 h 66"/>
                <a:gd name="T6" fmla="*/ 10 w 46"/>
                <a:gd name="T7" fmla="*/ 57 h 66"/>
                <a:gd name="T8" fmla="*/ 45 w 46"/>
                <a:gd name="T9" fmla="*/ 60 h 66"/>
                <a:gd name="T10" fmla="*/ 43 w 46"/>
                <a:gd name="T11" fmla="*/ 41 h 66"/>
                <a:gd name="T12" fmla="*/ 36 w 46"/>
                <a:gd name="T13" fmla="*/ 23 h 66"/>
                <a:gd name="T14" fmla="*/ 18 w 46"/>
                <a:gd name="T15" fmla="*/ 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66">
                  <a:moveTo>
                    <a:pt x="18" y="3"/>
                  </a:moveTo>
                  <a:cubicBezTo>
                    <a:pt x="16" y="3"/>
                    <a:pt x="11" y="4"/>
                    <a:pt x="10" y="8"/>
                  </a:cubicBezTo>
                  <a:cubicBezTo>
                    <a:pt x="8" y="13"/>
                    <a:pt x="6" y="15"/>
                    <a:pt x="5" y="27"/>
                  </a:cubicBezTo>
                  <a:cubicBezTo>
                    <a:pt x="5" y="40"/>
                    <a:pt x="0" y="55"/>
                    <a:pt x="10" y="57"/>
                  </a:cubicBezTo>
                  <a:cubicBezTo>
                    <a:pt x="19" y="58"/>
                    <a:pt x="46" y="66"/>
                    <a:pt x="45" y="60"/>
                  </a:cubicBezTo>
                  <a:cubicBezTo>
                    <a:pt x="45" y="53"/>
                    <a:pt x="46" y="44"/>
                    <a:pt x="43" y="41"/>
                  </a:cubicBezTo>
                  <a:cubicBezTo>
                    <a:pt x="41" y="37"/>
                    <a:pt x="37" y="31"/>
                    <a:pt x="36" y="23"/>
                  </a:cubicBezTo>
                  <a:cubicBezTo>
                    <a:pt x="36" y="15"/>
                    <a:pt x="29" y="0"/>
                    <a:pt x="18" y="3"/>
                  </a:cubicBezTo>
                  <a:close/>
                </a:path>
              </a:pathLst>
            </a:custGeom>
            <a:solidFill>
              <a:srgbClr val="9C65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0">
              <a:extLst>
                <a:ext uri="{FF2B5EF4-FFF2-40B4-BE49-F238E27FC236}">
                  <a16:creationId xmlns:a16="http://schemas.microsoft.com/office/drawing/2014/main" id="{A747EE28-0620-4C45-9B42-326123CE8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06" y="843"/>
              <a:ext cx="101" cy="356"/>
            </a:xfrm>
            <a:custGeom>
              <a:avLst/>
              <a:gdLst>
                <a:gd name="T0" fmla="*/ 20 w 42"/>
                <a:gd name="T1" fmla="*/ 146 h 148"/>
                <a:gd name="T2" fmla="*/ 28 w 42"/>
                <a:gd name="T3" fmla="*/ 148 h 148"/>
                <a:gd name="T4" fmla="*/ 36 w 42"/>
                <a:gd name="T5" fmla="*/ 146 h 148"/>
                <a:gd name="T6" fmla="*/ 38 w 42"/>
                <a:gd name="T7" fmla="*/ 116 h 148"/>
                <a:gd name="T8" fmla="*/ 38 w 42"/>
                <a:gd name="T9" fmla="*/ 75 h 148"/>
                <a:gd name="T10" fmla="*/ 38 w 42"/>
                <a:gd name="T11" fmla="*/ 28 h 148"/>
                <a:gd name="T12" fmla="*/ 21 w 42"/>
                <a:gd name="T13" fmla="*/ 0 h 148"/>
                <a:gd name="T14" fmla="*/ 20 w 42"/>
                <a:gd name="T15" fmla="*/ 0 h 148"/>
                <a:gd name="T16" fmla="*/ 20 w 42"/>
                <a:gd name="T17" fmla="*/ 72 h 148"/>
                <a:gd name="T18" fmla="*/ 21 w 42"/>
                <a:gd name="T19" fmla="*/ 69 h 148"/>
                <a:gd name="T20" fmla="*/ 23 w 42"/>
                <a:gd name="T21" fmla="*/ 94 h 148"/>
                <a:gd name="T22" fmla="*/ 22 w 42"/>
                <a:gd name="T23" fmla="*/ 97 h 148"/>
                <a:gd name="T24" fmla="*/ 20 w 42"/>
                <a:gd name="T25" fmla="*/ 91 h 148"/>
                <a:gd name="T26" fmla="*/ 20 w 42"/>
                <a:gd name="T27" fmla="*/ 146 h 148"/>
                <a:gd name="T28" fmla="*/ 5 w 42"/>
                <a:gd name="T29" fmla="*/ 29 h 148"/>
                <a:gd name="T30" fmla="*/ 0 w 42"/>
                <a:gd name="T31" fmla="*/ 71 h 148"/>
                <a:gd name="T32" fmla="*/ 6 w 42"/>
                <a:gd name="T33" fmla="*/ 100 h 148"/>
                <a:gd name="T34" fmla="*/ 18 w 42"/>
                <a:gd name="T35" fmla="*/ 141 h 148"/>
                <a:gd name="T36" fmla="*/ 19 w 42"/>
                <a:gd name="T37" fmla="*/ 141 h 148"/>
                <a:gd name="T38" fmla="*/ 18 w 42"/>
                <a:gd name="T39" fmla="*/ 145 h 148"/>
                <a:gd name="T40" fmla="*/ 20 w 42"/>
                <a:gd name="T41" fmla="*/ 146 h 148"/>
                <a:gd name="T42" fmla="*/ 20 w 42"/>
                <a:gd name="T43" fmla="*/ 91 h 148"/>
                <a:gd name="T44" fmla="*/ 17 w 42"/>
                <a:gd name="T45" fmla="*/ 85 h 148"/>
                <a:gd name="T46" fmla="*/ 18 w 42"/>
                <a:gd name="T47" fmla="*/ 79 h 148"/>
                <a:gd name="T48" fmla="*/ 20 w 42"/>
                <a:gd name="T49" fmla="*/ 72 h 148"/>
                <a:gd name="T50" fmla="*/ 20 w 42"/>
                <a:gd name="T51" fmla="*/ 0 h 148"/>
                <a:gd name="T52" fmla="*/ 12 w 42"/>
                <a:gd name="T53" fmla="*/ 1 h 148"/>
                <a:gd name="T54" fmla="*/ 5 w 42"/>
                <a:gd name="T55" fmla="*/ 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2" h="148">
                  <a:moveTo>
                    <a:pt x="20" y="146"/>
                  </a:moveTo>
                  <a:cubicBezTo>
                    <a:pt x="21" y="147"/>
                    <a:pt x="24" y="148"/>
                    <a:pt x="28" y="148"/>
                  </a:cubicBezTo>
                  <a:cubicBezTo>
                    <a:pt x="34" y="147"/>
                    <a:pt x="36" y="146"/>
                    <a:pt x="36" y="146"/>
                  </a:cubicBezTo>
                  <a:cubicBezTo>
                    <a:pt x="36" y="146"/>
                    <a:pt x="37" y="131"/>
                    <a:pt x="38" y="116"/>
                  </a:cubicBezTo>
                  <a:cubicBezTo>
                    <a:pt x="39" y="101"/>
                    <a:pt x="37" y="86"/>
                    <a:pt x="38" y="75"/>
                  </a:cubicBezTo>
                  <a:cubicBezTo>
                    <a:pt x="40" y="64"/>
                    <a:pt x="42" y="36"/>
                    <a:pt x="38" y="28"/>
                  </a:cubicBezTo>
                  <a:cubicBezTo>
                    <a:pt x="35" y="20"/>
                    <a:pt x="21" y="0"/>
                    <a:pt x="21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0"/>
                    <a:pt x="21" y="69"/>
                    <a:pt x="21" y="69"/>
                  </a:cubicBezTo>
                  <a:cubicBezTo>
                    <a:pt x="21" y="78"/>
                    <a:pt x="23" y="89"/>
                    <a:pt x="23" y="94"/>
                  </a:cubicBezTo>
                  <a:cubicBezTo>
                    <a:pt x="23" y="99"/>
                    <a:pt x="23" y="99"/>
                    <a:pt x="22" y="97"/>
                  </a:cubicBezTo>
                  <a:cubicBezTo>
                    <a:pt x="22" y="96"/>
                    <a:pt x="21" y="94"/>
                    <a:pt x="20" y="91"/>
                  </a:cubicBezTo>
                  <a:lnTo>
                    <a:pt x="20" y="146"/>
                  </a:lnTo>
                  <a:close/>
                  <a:moveTo>
                    <a:pt x="5" y="29"/>
                  </a:moveTo>
                  <a:cubicBezTo>
                    <a:pt x="3" y="37"/>
                    <a:pt x="0" y="57"/>
                    <a:pt x="0" y="71"/>
                  </a:cubicBezTo>
                  <a:cubicBezTo>
                    <a:pt x="0" y="85"/>
                    <a:pt x="1" y="85"/>
                    <a:pt x="6" y="100"/>
                  </a:cubicBezTo>
                  <a:cubicBezTo>
                    <a:pt x="11" y="115"/>
                    <a:pt x="18" y="141"/>
                    <a:pt x="18" y="141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18" y="145"/>
                    <a:pt x="18" y="145"/>
                    <a:pt x="18" y="145"/>
                  </a:cubicBezTo>
                  <a:cubicBezTo>
                    <a:pt x="18" y="145"/>
                    <a:pt x="19" y="146"/>
                    <a:pt x="20" y="146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19" y="88"/>
                    <a:pt x="18" y="85"/>
                    <a:pt x="17" y="85"/>
                  </a:cubicBezTo>
                  <a:cubicBezTo>
                    <a:pt x="16" y="84"/>
                    <a:pt x="18" y="81"/>
                    <a:pt x="18" y="79"/>
                  </a:cubicBezTo>
                  <a:cubicBezTo>
                    <a:pt x="18" y="78"/>
                    <a:pt x="19" y="74"/>
                    <a:pt x="20" y="72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0" y="17"/>
                    <a:pt x="5" y="29"/>
                  </a:cubicBezTo>
                  <a:close/>
                </a:path>
              </a:pathLst>
            </a:custGeom>
            <a:solidFill>
              <a:srgbClr val="7229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1">
              <a:extLst>
                <a:ext uri="{FF2B5EF4-FFF2-40B4-BE49-F238E27FC236}">
                  <a16:creationId xmlns:a16="http://schemas.microsoft.com/office/drawing/2014/main" id="{6F5BA520-CE3B-4D12-AA9A-90D532E49B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5" y="908"/>
              <a:ext cx="60" cy="77"/>
            </a:xfrm>
            <a:custGeom>
              <a:avLst/>
              <a:gdLst>
                <a:gd name="T0" fmla="*/ 9 w 25"/>
                <a:gd name="T1" fmla="*/ 32 h 32"/>
                <a:gd name="T2" fmla="*/ 6 w 25"/>
                <a:gd name="T3" fmla="*/ 20 h 32"/>
                <a:gd name="T4" fmla="*/ 2 w 25"/>
                <a:gd name="T5" fmla="*/ 21 h 32"/>
                <a:gd name="T6" fmla="*/ 2 w 25"/>
                <a:gd name="T7" fmla="*/ 21 h 32"/>
                <a:gd name="T8" fmla="*/ 2 w 25"/>
                <a:gd name="T9" fmla="*/ 20 h 32"/>
                <a:gd name="T10" fmla="*/ 2 w 25"/>
                <a:gd name="T11" fmla="*/ 20 h 32"/>
                <a:gd name="T12" fmla="*/ 2 w 25"/>
                <a:gd name="T13" fmla="*/ 19 h 32"/>
                <a:gd name="T14" fmla="*/ 2 w 25"/>
                <a:gd name="T15" fmla="*/ 19 h 32"/>
                <a:gd name="T16" fmla="*/ 2 w 25"/>
                <a:gd name="T17" fmla="*/ 18 h 32"/>
                <a:gd name="T18" fmla="*/ 5 w 25"/>
                <a:gd name="T19" fmla="*/ 17 h 32"/>
                <a:gd name="T20" fmla="*/ 5 w 25"/>
                <a:gd name="T21" fmla="*/ 17 h 32"/>
                <a:gd name="T22" fmla="*/ 2 w 25"/>
                <a:gd name="T23" fmla="*/ 5 h 32"/>
                <a:gd name="T24" fmla="*/ 22 w 25"/>
                <a:gd name="T25" fmla="*/ 0 h 32"/>
                <a:gd name="T26" fmla="*/ 22 w 25"/>
                <a:gd name="T27" fmla="*/ 1 h 32"/>
                <a:gd name="T28" fmla="*/ 24 w 25"/>
                <a:gd name="T29" fmla="*/ 29 h 32"/>
                <a:gd name="T30" fmla="*/ 9 w 25"/>
                <a:gd name="T31" fmla="*/ 32 h 32"/>
                <a:gd name="T32" fmla="*/ 2 w 25"/>
                <a:gd name="T33" fmla="*/ 21 h 32"/>
                <a:gd name="T34" fmla="*/ 0 w 25"/>
                <a:gd name="T35" fmla="*/ 20 h 32"/>
                <a:gd name="T36" fmla="*/ 1 w 25"/>
                <a:gd name="T37" fmla="*/ 18 h 32"/>
                <a:gd name="T38" fmla="*/ 2 w 25"/>
                <a:gd name="T39" fmla="*/ 18 h 32"/>
                <a:gd name="T40" fmla="*/ 2 w 25"/>
                <a:gd name="T41" fmla="*/ 19 h 32"/>
                <a:gd name="T42" fmla="*/ 2 w 25"/>
                <a:gd name="T43" fmla="*/ 19 h 32"/>
                <a:gd name="T44" fmla="*/ 1 w 25"/>
                <a:gd name="T45" fmla="*/ 20 h 32"/>
                <a:gd name="T46" fmla="*/ 2 w 25"/>
                <a:gd name="T47" fmla="*/ 20 h 32"/>
                <a:gd name="T48" fmla="*/ 2 w 25"/>
                <a:gd name="T49" fmla="*/ 2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" h="32">
                  <a:moveTo>
                    <a:pt x="9" y="32"/>
                  </a:moveTo>
                  <a:cubicBezTo>
                    <a:pt x="6" y="20"/>
                    <a:pt x="6" y="20"/>
                    <a:pt x="6" y="20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0"/>
                    <a:pt x="2" y="20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1"/>
                    <a:pt x="22" y="1"/>
                  </a:cubicBezTo>
                  <a:cubicBezTo>
                    <a:pt x="25" y="6"/>
                    <a:pt x="25" y="18"/>
                    <a:pt x="24" y="29"/>
                  </a:cubicBezTo>
                  <a:lnTo>
                    <a:pt x="9" y="32"/>
                  </a:lnTo>
                  <a:close/>
                  <a:moveTo>
                    <a:pt x="2" y="21"/>
                  </a:moveTo>
                  <a:cubicBezTo>
                    <a:pt x="1" y="21"/>
                    <a:pt x="0" y="20"/>
                    <a:pt x="0" y="20"/>
                  </a:cubicBezTo>
                  <a:cubicBezTo>
                    <a:pt x="0" y="19"/>
                    <a:pt x="0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1" y="19"/>
                    <a:pt x="1" y="20"/>
                  </a:cubicBezTo>
                  <a:cubicBezTo>
                    <a:pt x="1" y="20"/>
                    <a:pt x="1" y="20"/>
                    <a:pt x="2" y="20"/>
                  </a:cubicBezTo>
                  <a:lnTo>
                    <a:pt x="2" y="21"/>
                  </a:ln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2">
              <a:extLst>
                <a:ext uri="{FF2B5EF4-FFF2-40B4-BE49-F238E27FC236}">
                  <a16:creationId xmlns:a16="http://schemas.microsoft.com/office/drawing/2014/main" id="{8066CA51-67EA-4E5C-BC08-868256A3F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8" y="843"/>
              <a:ext cx="87" cy="144"/>
            </a:xfrm>
            <a:custGeom>
              <a:avLst/>
              <a:gdLst>
                <a:gd name="T0" fmla="*/ 0 w 36"/>
                <a:gd name="T1" fmla="*/ 29 h 60"/>
                <a:gd name="T2" fmla="*/ 0 w 36"/>
                <a:gd name="T3" fmla="*/ 32 h 60"/>
                <a:gd name="T4" fmla="*/ 5 w 36"/>
                <a:gd name="T5" fmla="*/ 35 h 60"/>
                <a:gd name="T6" fmla="*/ 7 w 36"/>
                <a:gd name="T7" fmla="*/ 20 h 60"/>
                <a:gd name="T8" fmla="*/ 8 w 36"/>
                <a:gd name="T9" fmla="*/ 23 h 60"/>
                <a:gd name="T10" fmla="*/ 10 w 36"/>
                <a:gd name="T11" fmla="*/ 32 h 60"/>
                <a:gd name="T12" fmla="*/ 18 w 36"/>
                <a:gd name="T13" fmla="*/ 34 h 60"/>
                <a:gd name="T14" fmla="*/ 31 w 36"/>
                <a:gd name="T15" fmla="*/ 33 h 60"/>
                <a:gd name="T16" fmla="*/ 31 w 36"/>
                <a:gd name="T17" fmla="*/ 43 h 60"/>
                <a:gd name="T18" fmla="*/ 30 w 36"/>
                <a:gd name="T19" fmla="*/ 50 h 60"/>
                <a:gd name="T20" fmla="*/ 30 w 36"/>
                <a:gd name="T21" fmla="*/ 56 h 60"/>
                <a:gd name="T22" fmla="*/ 30 w 36"/>
                <a:gd name="T23" fmla="*/ 59 h 60"/>
                <a:gd name="T24" fmla="*/ 35 w 36"/>
                <a:gd name="T25" fmla="*/ 58 h 60"/>
                <a:gd name="T26" fmla="*/ 33 w 36"/>
                <a:gd name="T27" fmla="*/ 28 h 60"/>
                <a:gd name="T28" fmla="*/ 16 w 36"/>
                <a:gd name="T29" fmla="*/ 0 h 60"/>
                <a:gd name="T30" fmla="*/ 7 w 36"/>
                <a:gd name="T31" fmla="*/ 1 h 60"/>
                <a:gd name="T32" fmla="*/ 0 w 36"/>
                <a:gd name="T33" fmla="*/ 2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" h="60">
                  <a:moveTo>
                    <a:pt x="0" y="29"/>
                  </a:moveTo>
                  <a:cubicBezTo>
                    <a:pt x="0" y="30"/>
                    <a:pt x="0" y="31"/>
                    <a:pt x="0" y="32"/>
                  </a:cubicBezTo>
                  <a:cubicBezTo>
                    <a:pt x="1" y="34"/>
                    <a:pt x="4" y="36"/>
                    <a:pt x="5" y="35"/>
                  </a:cubicBezTo>
                  <a:cubicBezTo>
                    <a:pt x="6" y="33"/>
                    <a:pt x="7" y="22"/>
                    <a:pt x="7" y="20"/>
                  </a:cubicBezTo>
                  <a:cubicBezTo>
                    <a:pt x="7" y="18"/>
                    <a:pt x="8" y="20"/>
                    <a:pt x="8" y="23"/>
                  </a:cubicBezTo>
                  <a:cubicBezTo>
                    <a:pt x="8" y="26"/>
                    <a:pt x="8" y="30"/>
                    <a:pt x="10" y="32"/>
                  </a:cubicBezTo>
                  <a:cubicBezTo>
                    <a:pt x="12" y="35"/>
                    <a:pt x="13" y="35"/>
                    <a:pt x="18" y="34"/>
                  </a:cubicBezTo>
                  <a:cubicBezTo>
                    <a:pt x="23" y="33"/>
                    <a:pt x="31" y="31"/>
                    <a:pt x="31" y="33"/>
                  </a:cubicBezTo>
                  <a:cubicBezTo>
                    <a:pt x="30" y="35"/>
                    <a:pt x="31" y="41"/>
                    <a:pt x="31" y="43"/>
                  </a:cubicBezTo>
                  <a:cubicBezTo>
                    <a:pt x="30" y="45"/>
                    <a:pt x="29" y="48"/>
                    <a:pt x="30" y="50"/>
                  </a:cubicBezTo>
                  <a:cubicBezTo>
                    <a:pt x="30" y="52"/>
                    <a:pt x="30" y="54"/>
                    <a:pt x="30" y="56"/>
                  </a:cubicBezTo>
                  <a:cubicBezTo>
                    <a:pt x="29" y="57"/>
                    <a:pt x="28" y="60"/>
                    <a:pt x="30" y="59"/>
                  </a:cubicBezTo>
                  <a:cubicBezTo>
                    <a:pt x="32" y="59"/>
                    <a:pt x="33" y="58"/>
                    <a:pt x="35" y="58"/>
                  </a:cubicBezTo>
                  <a:cubicBezTo>
                    <a:pt x="36" y="46"/>
                    <a:pt x="36" y="33"/>
                    <a:pt x="33" y="28"/>
                  </a:cubicBezTo>
                  <a:cubicBezTo>
                    <a:pt x="30" y="20"/>
                    <a:pt x="16" y="0"/>
                    <a:pt x="16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5" y="17"/>
                    <a:pt x="0" y="29"/>
                  </a:cubicBez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3">
              <a:extLst>
                <a:ext uri="{FF2B5EF4-FFF2-40B4-BE49-F238E27FC236}">
                  <a16:creationId xmlns:a16="http://schemas.microsoft.com/office/drawing/2014/main" id="{3C5786A4-214B-4B93-AC4A-243B3AC86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9" y="737"/>
              <a:ext cx="125" cy="188"/>
            </a:xfrm>
            <a:custGeom>
              <a:avLst/>
              <a:gdLst>
                <a:gd name="T0" fmla="*/ 10 w 52"/>
                <a:gd name="T1" fmla="*/ 24 h 78"/>
                <a:gd name="T2" fmla="*/ 7 w 52"/>
                <a:gd name="T3" fmla="*/ 39 h 78"/>
                <a:gd name="T4" fmla="*/ 8 w 52"/>
                <a:gd name="T5" fmla="*/ 49 h 78"/>
                <a:gd name="T6" fmla="*/ 2 w 52"/>
                <a:gd name="T7" fmla="*/ 72 h 78"/>
                <a:gd name="T8" fmla="*/ 2 w 52"/>
                <a:gd name="T9" fmla="*/ 75 h 78"/>
                <a:gd name="T10" fmla="*/ 8 w 52"/>
                <a:gd name="T11" fmla="*/ 72 h 78"/>
                <a:gd name="T12" fmla="*/ 10 w 52"/>
                <a:gd name="T13" fmla="*/ 60 h 78"/>
                <a:gd name="T14" fmla="*/ 13 w 52"/>
                <a:gd name="T15" fmla="*/ 46 h 78"/>
                <a:gd name="T16" fmla="*/ 12 w 52"/>
                <a:gd name="T17" fmla="*/ 64 h 78"/>
                <a:gd name="T18" fmla="*/ 17 w 52"/>
                <a:gd name="T19" fmla="*/ 77 h 78"/>
                <a:gd name="T20" fmla="*/ 35 w 52"/>
                <a:gd name="T21" fmla="*/ 75 h 78"/>
                <a:gd name="T22" fmla="*/ 40 w 52"/>
                <a:gd name="T23" fmla="*/ 70 h 78"/>
                <a:gd name="T24" fmla="*/ 36 w 52"/>
                <a:gd name="T25" fmla="*/ 51 h 78"/>
                <a:gd name="T26" fmla="*/ 40 w 52"/>
                <a:gd name="T27" fmla="*/ 34 h 78"/>
                <a:gd name="T28" fmla="*/ 47 w 52"/>
                <a:gd name="T29" fmla="*/ 6 h 78"/>
                <a:gd name="T30" fmla="*/ 35 w 52"/>
                <a:gd name="T31" fmla="*/ 0 h 78"/>
                <a:gd name="T32" fmla="*/ 17 w 52"/>
                <a:gd name="T33" fmla="*/ 6 h 78"/>
                <a:gd name="T34" fmla="*/ 10 w 52"/>
                <a:gd name="T35" fmla="*/ 2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2" h="78">
                  <a:moveTo>
                    <a:pt x="10" y="24"/>
                  </a:moveTo>
                  <a:cubicBezTo>
                    <a:pt x="8" y="27"/>
                    <a:pt x="5" y="30"/>
                    <a:pt x="7" y="39"/>
                  </a:cubicBezTo>
                  <a:cubicBezTo>
                    <a:pt x="10" y="48"/>
                    <a:pt x="8" y="47"/>
                    <a:pt x="8" y="49"/>
                  </a:cubicBezTo>
                  <a:cubicBezTo>
                    <a:pt x="7" y="51"/>
                    <a:pt x="3" y="69"/>
                    <a:pt x="2" y="72"/>
                  </a:cubicBezTo>
                  <a:cubicBezTo>
                    <a:pt x="1" y="74"/>
                    <a:pt x="0" y="74"/>
                    <a:pt x="2" y="75"/>
                  </a:cubicBezTo>
                  <a:cubicBezTo>
                    <a:pt x="4" y="76"/>
                    <a:pt x="7" y="78"/>
                    <a:pt x="8" y="72"/>
                  </a:cubicBezTo>
                  <a:cubicBezTo>
                    <a:pt x="9" y="67"/>
                    <a:pt x="9" y="67"/>
                    <a:pt x="10" y="60"/>
                  </a:cubicBezTo>
                  <a:cubicBezTo>
                    <a:pt x="12" y="54"/>
                    <a:pt x="13" y="46"/>
                    <a:pt x="13" y="46"/>
                  </a:cubicBezTo>
                  <a:cubicBezTo>
                    <a:pt x="13" y="46"/>
                    <a:pt x="12" y="57"/>
                    <a:pt x="12" y="64"/>
                  </a:cubicBezTo>
                  <a:cubicBezTo>
                    <a:pt x="13" y="70"/>
                    <a:pt x="12" y="77"/>
                    <a:pt x="17" y="77"/>
                  </a:cubicBezTo>
                  <a:cubicBezTo>
                    <a:pt x="23" y="77"/>
                    <a:pt x="31" y="76"/>
                    <a:pt x="35" y="75"/>
                  </a:cubicBezTo>
                  <a:cubicBezTo>
                    <a:pt x="39" y="75"/>
                    <a:pt x="42" y="75"/>
                    <a:pt x="40" y="70"/>
                  </a:cubicBezTo>
                  <a:cubicBezTo>
                    <a:pt x="39" y="65"/>
                    <a:pt x="35" y="57"/>
                    <a:pt x="36" y="51"/>
                  </a:cubicBezTo>
                  <a:cubicBezTo>
                    <a:pt x="38" y="44"/>
                    <a:pt x="36" y="46"/>
                    <a:pt x="40" y="34"/>
                  </a:cubicBezTo>
                  <a:cubicBezTo>
                    <a:pt x="43" y="23"/>
                    <a:pt x="52" y="9"/>
                    <a:pt x="47" y="6"/>
                  </a:cubicBezTo>
                  <a:cubicBezTo>
                    <a:pt x="42" y="4"/>
                    <a:pt x="36" y="1"/>
                    <a:pt x="35" y="0"/>
                  </a:cubicBezTo>
                  <a:cubicBezTo>
                    <a:pt x="33" y="0"/>
                    <a:pt x="20" y="4"/>
                    <a:pt x="17" y="6"/>
                  </a:cubicBezTo>
                  <a:cubicBezTo>
                    <a:pt x="10" y="10"/>
                    <a:pt x="16" y="15"/>
                    <a:pt x="10" y="24"/>
                  </a:cubicBezTo>
                  <a:close/>
                </a:path>
              </a:pathLst>
            </a:custGeom>
            <a:solidFill>
              <a:srgbClr val="7229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4">
              <a:extLst>
                <a:ext uri="{FF2B5EF4-FFF2-40B4-BE49-F238E27FC236}">
                  <a16:creationId xmlns:a16="http://schemas.microsoft.com/office/drawing/2014/main" id="{CA611DF8-B7FD-4227-BD2F-5F9920C1A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2" y="747"/>
              <a:ext cx="58" cy="94"/>
            </a:xfrm>
            <a:custGeom>
              <a:avLst/>
              <a:gdLst>
                <a:gd name="T0" fmla="*/ 0 w 24"/>
                <a:gd name="T1" fmla="*/ 39 h 39"/>
                <a:gd name="T2" fmla="*/ 22 w 24"/>
                <a:gd name="T3" fmla="*/ 5 h 39"/>
                <a:gd name="T4" fmla="*/ 19 w 24"/>
                <a:gd name="T5" fmla="*/ 5 h 39"/>
                <a:gd name="T6" fmla="*/ 23 w 24"/>
                <a:gd name="T7" fmla="*/ 0 h 39"/>
                <a:gd name="T8" fmla="*/ 21 w 24"/>
                <a:gd name="T9" fmla="*/ 5 h 39"/>
                <a:gd name="T10" fmla="*/ 24 w 24"/>
                <a:gd name="T11" fmla="*/ 4 h 39"/>
                <a:gd name="T12" fmla="*/ 6 w 24"/>
                <a:gd name="T13" fmla="*/ 29 h 39"/>
                <a:gd name="T14" fmla="*/ 0 w 24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9">
                  <a:moveTo>
                    <a:pt x="0" y="39"/>
                  </a:moveTo>
                  <a:cubicBezTo>
                    <a:pt x="6" y="26"/>
                    <a:pt x="22" y="5"/>
                    <a:pt x="22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13" y="19"/>
                    <a:pt x="6" y="29"/>
                  </a:cubicBezTo>
                  <a:cubicBezTo>
                    <a:pt x="2" y="35"/>
                    <a:pt x="1" y="39"/>
                    <a:pt x="0" y="39"/>
                  </a:cubicBez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5">
              <a:extLst>
                <a:ext uri="{FF2B5EF4-FFF2-40B4-BE49-F238E27FC236}">
                  <a16:creationId xmlns:a16="http://schemas.microsoft.com/office/drawing/2014/main" id="{71850912-7A57-4588-BE3A-D1EA5FE76F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8" y="754"/>
              <a:ext cx="37" cy="53"/>
            </a:xfrm>
            <a:custGeom>
              <a:avLst/>
              <a:gdLst>
                <a:gd name="T0" fmla="*/ 12 w 15"/>
                <a:gd name="T1" fmla="*/ 0 h 22"/>
                <a:gd name="T2" fmla="*/ 3 w 15"/>
                <a:gd name="T3" fmla="*/ 7 h 22"/>
                <a:gd name="T4" fmla="*/ 7 w 15"/>
                <a:gd name="T5" fmla="*/ 21 h 22"/>
                <a:gd name="T6" fmla="*/ 12 w 15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22">
                  <a:moveTo>
                    <a:pt x="12" y="0"/>
                  </a:moveTo>
                  <a:cubicBezTo>
                    <a:pt x="10" y="1"/>
                    <a:pt x="4" y="4"/>
                    <a:pt x="3" y="7"/>
                  </a:cubicBezTo>
                  <a:cubicBezTo>
                    <a:pt x="2" y="11"/>
                    <a:pt x="0" y="22"/>
                    <a:pt x="7" y="21"/>
                  </a:cubicBezTo>
                  <a:cubicBezTo>
                    <a:pt x="15" y="19"/>
                    <a:pt x="13" y="9"/>
                    <a:pt x="12" y="0"/>
                  </a:cubicBez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6">
              <a:extLst>
                <a:ext uri="{FF2B5EF4-FFF2-40B4-BE49-F238E27FC236}">
                  <a16:creationId xmlns:a16="http://schemas.microsoft.com/office/drawing/2014/main" id="{59C4BD61-B323-47CA-9000-7AB5934284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0" y="713"/>
              <a:ext cx="25" cy="29"/>
            </a:xfrm>
            <a:custGeom>
              <a:avLst/>
              <a:gdLst>
                <a:gd name="T0" fmla="*/ 0 w 25"/>
                <a:gd name="T1" fmla="*/ 3 h 29"/>
                <a:gd name="T2" fmla="*/ 10 w 25"/>
                <a:gd name="T3" fmla="*/ 27 h 29"/>
                <a:gd name="T4" fmla="*/ 22 w 25"/>
                <a:gd name="T5" fmla="*/ 29 h 29"/>
                <a:gd name="T6" fmla="*/ 25 w 25"/>
                <a:gd name="T7" fmla="*/ 29 h 29"/>
                <a:gd name="T8" fmla="*/ 12 w 25"/>
                <a:gd name="T9" fmla="*/ 7 h 29"/>
                <a:gd name="T10" fmla="*/ 3 w 25"/>
                <a:gd name="T11" fmla="*/ 0 h 29"/>
                <a:gd name="T12" fmla="*/ 0 w 25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9">
                  <a:moveTo>
                    <a:pt x="0" y="3"/>
                  </a:moveTo>
                  <a:lnTo>
                    <a:pt x="10" y="27"/>
                  </a:lnTo>
                  <a:lnTo>
                    <a:pt x="22" y="29"/>
                  </a:lnTo>
                  <a:lnTo>
                    <a:pt x="25" y="29"/>
                  </a:lnTo>
                  <a:lnTo>
                    <a:pt x="12" y="7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7">
              <a:extLst>
                <a:ext uri="{FF2B5EF4-FFF2-40B4-BE49-F238E27FC236}">
                  <a16:creationId xmlns:a16="http://schemas.microsoft.com/office/drawing/2014/main" id="{EB1F370A-F123-4B31-8CDD-4D90A71AA9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0" y="713"/>
              <a:ext cx="25" cy="29"/>
            </a:xfrm>
            <a:custGeom>
              <a:avLst/>
              <a:gdLst>
                <a:gd name="T0" fmla="*/ 0 w 25"/>
                <a:gd name="T1" fmla="*/ 0 h 29"/>
                <a:gd name="T2" fmla="*/ 12 w 25"/>
                <a:gd name="T3" fmla="*/ 24 h 29"/>
                <a:gd name="T4" fmla="*/ 25 w 25"/>
                <a:gd name="T5" fmla="*/ 29 h 29"/>
                <a:gd name="T6" fmla="*/ 15 w 25"/>
                <a:gd name="T7" fmla="*/ 7 h 29"/>
                <a:gd name="T8" fmla="*/ 0 w 25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9">
                  <a:moveTo>
                    <a:pt x="0" y="0"/>
                  </a:moveTo>
                  <a:lnTo>
                    <a:pt x="12" y="24"/>
                  </a:lnTo>
                  <a:lnTo>
                    <a:pt x="25" y="29"/>
                  </a:lnTo>
                  <a:lnTo>
                    <a:pt x="15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8">
              <a:extLst>
                <a:ext uri="{FF2B5EF4-FFF2-40B4-BE49-F238E27FC236}">
                  <a16:creationId xmlns:a16="http://schemas.microsoft.com/office/drawing/2014/main" id="{9FB56A41-7EED-47DC-BBCF-81DAABEF65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18" y="718"/>
              <a:ext cx="39" cy="58"/>
            </a:xfrm>
            <a:custGeom>
              <a:avLst/>
              <a:gdLst>
                <a:gd name="T0" fmla="*/ 7 w 16"/>
                <a:gd name="T1" fmla="*/ 0 h 24"/>
                <a:gd name="T2" fmla="*/ 9 w 16"/>
                <a:gd name="T3" fmla="*/ 0 h 24"/>
                <a:gd name="T4" fmla="*/ 15 w 16"/>
                <a:gd name="T5" fmla="*/ 6 h 24"/>
                <a:gd name="T6" fmla="*/ 15 w 16"/>
                <a:gd name="T7" fmla="*/ 9 h 24"/>
                <a:gd name="T8" fmla="*/ 13 w 16"/>
                <a:gd name="T9" fmla="*/ 7 h 24"/>
                <a:gd name="T10" fmla="*/ 10 w 16"/>
                <a:gd name="T11" fmla="*/ 6 h 24"/>
                <a:gd name="T12" fmla="*/ 9 w 16"/>
                <a:gd name="T13" fmla="*/ 8 h 24"/>
                <a:gd name="T14" fmla="*/ 9 w 16"/>
                <a:gd name="T15" fmla="*/ 14 h 24"/>
                <a:gd name="T16" fmla="*/ 7 w 16"/>
                <a:gd name="T17" fmla="*/ 17 h 24"/>
                <a:gd name="T18" fmla="*/ 7 w 16"/>
                <a:gd name="T19" fmla="*/ 3 h 24"/>
                <a:gd name="T20" fmla="*/ 8 w 16"/>
                <a:gd name="T21" fmla="*/ 2 h 24"/>
                <a:gd name="T22" fmla="*/ 7 w 16"/>
                <a:gd name="T23" fmla="*/ 2 h 24"/>
                <a:gd name="T24" fmla="*/ 7 w 16"/>
                <a:gd name="T25" fmla="*/ 0 h 24"/>
                <a:gd name="T26" fmla="*/ 0 w 16"/>
                <a:gd name="T27" fmla="*/ 21 h 24"/>
                <a:gd name="T28" fmla="*/ 2 w 16"/>
                <a:gd name="T29" fmla="*/ 12 h 24"/>
                <a:gd name="T30" fmla="*/ 3 w 16"/>
                <a:gd name="T31" fmla="*/ 5 h 24"/>
                <a:gd name="T32" fmla="*/ 6 w 16"/>
                <a:gd name="T33" fmla="*/ 0 h 24"/>
                <a:gd name="T34" fmla="*/ 7 w 16"/>
                <a:gd name="T35" fmla="*/ 0 h 24"/>
                <a:gd name="T36" fmla="*/ 7 w 16"/>
                <a:gd name="T37" fmla="*/ 2 h 24"/>
                <a:gd name="T38" fmla="*/ 6 w 16"/>
                <a:gd name="T39" fmla="*/ 4 h 24"/>
                <a:gd name="T40" fmla="*/ 7 w 16"/>
                <a:gd name="T41" fmla="*/ 3 h 24"/>
                <a:gd name="T42" fmla="*/ 7 w 16"/>
                <a:gd name="T43" fmla="*/ 17 h 24"/>
                <a:gd name="T44" fmla="*/ 5 w 16"/>
                <a:gd name="T45" fmla="*/ 22 h 24"/>
                <a:gd name="T46" fmla="*/ 0 w 16"/>
                <a:gd name="T4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" h="24">
                  <a:moveTo>
                    <a:pt x="7" y="0"/>
                  </a:moveTo>
                  <a:cubicBezTo>
                    <a:pt x="8" y="0"/>
                    <a:pt x="9" y="0"/>
                    <a:pt x="9" y="0"/>
                  </a:cubicBezTo>
                  <a:cubicBezTo>
                    <a:pt x="10" y="1"/>
                    <a:pt x="14" y="4"/>
                    <a:pt x="15" y="6"/>
                  </a:cubicBezTo>
                  <a:cubicBezTo>
                    <a:pt x="16" y="8"/>
                    <a:pt x="16" y="9"/>
                    <a:pt x="15" y="9"/>
                  </a:cubicBezTo>
                  <a:cubicBezTo>
                    <a:pt x="14" y="9"/>
                    <a:pt x="14" y="8"/>
                    <a:pt x="13" y="7"/>
                  </a:cubicBezTo>
                  <a:cubicBezTo>
                    <a:pt x="12" y="7"/>
                    <a:pt x="11" y="6"/>
                    <a:pt x="10" y="6"/>
                  </a:cubicBezTo>
                  <a:cubicBezTo>
                    <a:pt x="9" y="6"/>
                    <a:pt x="9" y="6"/>
                    <a:pt x="9" y="8"/>
                  </a:cubicBezTo>
                  <a:cubicBezTo>
                    <a:pt x="9" y="10"/>
                    <a:pt x="10" y="13"/>
                    <a:pt x="9" y="14"/>
                  </a:cubicBezTo>
                  <a:cubicBezTo>
                    <a:pt x="8" y="15"/>
                    <a:pt x="8" y="16"/>
                    <a:pt x="7" y="1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3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lnTo>
                    <a:pt x="7" y="0"/>
                  </a:lnTo>
                  <a:close/>
                  <a:moveTo>
                    <a:pt x="0" y="21"/>
                  </a:moveTo>
                  <a:cubicBezTo>
                    <a:pt x="1" y="19"/>
                    <a:pt x="2" y="15"/>
                    <a:pt x="2" y="12"/>
                  </a:cubicBezTo>
                  <a:cubicBezTo>
                    <a:pt x="2" y="9"/>
                    <a:pt x="2" y="7"/>
                    <a:pt x="3" y="5"/>
                  </a:cubicBezTo>
                  <a:cubicBezTo>
                    <a:pt x="4" y="3"/>
                    <a:pt x="5" y="0"/>
                    <a:pt x="6" y="0"/>
                  </a:cubicBezTo>
                  <a:cubicBezTo>
                    <a:pt x="6" y="0"/>
                    <a:pt x="7" y="0"/>
                    <a:pt x="7" y="0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6" y="19"/>
                    <a:pt x="5" y="21"/>
                    <a:pt x="5" y="22"/>
                  </a:cubicBezTo>
                  <a:cubicBezTo>
                    <a:pt x="4" y="24"/>
                    <a:pt x="0" y="24"/>
                    <a:pt x="0" y="21"/>
                  </a:cubicBezTo>
                  <a:close/>
                </a:path>
              </a:pathLst>
            </a:custGeom>
            <a:solidFill>
              <a:srgbClr val="ECB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9">
              <a:extLst>
                <a:ext uri="{FF2B5EF4-FFF2-40B4-BE49-F238E27FC236}">
                  <a16:creationId xmlns:a16="http://schemas.microsoft.com/office/drawing/2014/main" id="{86EB871B-6E00-42DB-877F-9358B8974E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2" y="699"/>
              <a:ext cx="46" cy="96"/>
            </a:xfrm>
            <a:custGeom>
              <a:avLst/>
              <a:gdLst>
                <a:gd name="T0" fmla="*/ 8 w 19"/>
                <a:gd name="T1" fmla="*/ 14 h 40"/>
                <a:gd name="T2" fmla="*/ 6 w 19"/>
                <a:gd name="T3" fmla="*/ 25 h 40"/>
                <a:gd name="T4" fmla="*/ 1 w 19"/>
                <a:gd name="T5" fmla="*/ 40 h 40"/>
                <a:gd name="T6" fmla="*/ 19 w 19"/>
                <a:gd name="T7" fmla="*/ 14 h 40"/>
                <a:gd name="T8" fmla="*/ 17 w 19"/>
                <a:gd name="T9" fmla="*/ 3 h 40"/>
                <a:gd name="T10" fmla="*/ 8 w 19"/>
                <a:gd name="T11" fmla="*/ 1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40">
                  <a:moveTo>
                    <a:pt x="8" y="14"/>
                  </a:moveTo>
                  <a:cubicBezTo>
                    <a:pt x="9" y="16"/>
                    <a:pt x="9" y="21"/>
                    <a:pt x="6" y="25"/>
                  </a:cubicBezTo>
                  <a:cubicBezTo>
                    <a:pt x="4" y="28"/>
                    <a:pt x="0" y="36"/>
                    <a:pt x="1" y="40"/>
                  </a:cubicBezTo>
                  <a:cubicBezTo>
                    <a:pt x="1" y="40"/>
                    <a:pt x="15" y="24"/>
                    <a:pt x="19" y="14"/>
                  </a:cubicBezTo>
                  <a:cubicBezTo>
                    <a:pt x="17" y="10"/>
                    <a:pt x="17" y="6"/>
                    <a:pt x="17" y="3"/>
                  </a:cubicBezTo>
                  <a:cubicBezTo>
                    <a:pt x="17" y="0"/>
                    <a:pt x="5" y="12"/>
                    <a:pt x="8" y="14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0">
              <a:extLst>
                <a:ext uri="{FF2B5EF4-FFF2-40B4-BE49-F238E27FC236}">
                  <a16:creationId xmlns:a16="http://schemas.microsoft.com/office/drawing/2014/main" id="{10FB28BB-4D0B-4D7E-BC7D-831E5FBEE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2" y="711"/>
              <a:ext cx="21" cy="26"/>
            </a:xfrm>
            <a:custGeom>
              <a:avLst/>
              <a:gdLst>
                <a:gd name="T0" fmla="*/ 0 w 9"/>
                <a:gd name="T1" fmla="*/ 11 h 11"/>
                <a:gd name="T2" fmla="*/ 5 w 9"/>
                <a:gd name="T3" fmla="*/ 7 h 11"/>
                <a:gd name="T4" fmla="*/ 9 w 9"/>
                <a:gd name="T5" fmla="*/ 0 h 11"/>
                <a:gd name="T6" fmla="*/ 6 w 9"/>
                <a:gd name="T7" fmla="*/ 7 h 11"/>
                <a:gd name="T8" fmla="*/ 0 w 9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0" y="11"/>
                  </a:moveTo>
                  <a:cubicBezTo>
                    <a:pt x="0" y="11"/>
                    <a:pt x="3" y="10"/>
                    <a:pt x="5" y="7"/>
                  </a:cubicBezTo>
                  <a:cubicBezTo>
                    <a:pt x="7" y="4"/>
                    <a:pt x="9" y="0"/>
                    <a:pt x="9" y="0"/>
                  </a:cubicBezTo>
                  <a:cubicBezTo>
                    <a:pt x="9" y="0"/>
                    <a:pt x="9" y="5"/>
                    <a:pt x="6" y="7"/>
                  </a:cubicBezTo>
                  <a:cubicBezTo>
                    <a:pt x="4" y="10"/>
                    <a:pt x="2" y="11"/>
                    <a:pt x="0" y="11"/>
                  </a:cubicBezTo>
                  <a:close/>
                </a:path>
              </a:pathLst>
            </a:custGeom>
            <a:solidFill>
              <a:srgbClr val="C79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1">
              <a:extLst>
                <a:ext uri="{FF2B5EF4-FFF2-40B4-BE49-F238E27FC236}">
                  <a16:creationId xmlns:a16="http://schemas.microsoft.com/office/drawing/2014/main" id="{049B73BE-50F4-4BB4-AD07-EE1EC4DEF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5" y="667"/>
              <a:ext cx="51" cy="70"/>
            </a:xfrm>
            <a:custGeom>
              <a:avLst/>
              <a:gdLst>
                <a:gd name="T0" fmla="*/ 0 w 21"/>
                <a:gd name="T1" fmla="*/ 14 h 29"/>
                <a:gd name="T2" fmla="*/ 5 w 21"/>
                <a:gd name="T3" fmla="*/ 25 h 29"/>
                <a:gd name="T4" fmla="*/ 9 w 21"/>
                <a:gd name="T5" fmla="*/ 29 h 29"/>
                <a:gd name="T6" fmla="*/ 16 w 21"/>
                <a:gd name="T7" fmla="*/ 24 h 29"/>
                <a:gd name="T8" fmla="*/ 20 w 21"/>
                <a:gd name="T9" fmla="*/ 14 h 29"/>
                <a:gd name="T10" fmla="*/ 10 w 21"/>
                <a:gd name="T11" fmla="*/ 2 h 29"/>
                <a:gd name="T12" fmla="*/ 0 w 21"/>
                <a:gd name="T13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9">
                  <a:moveTo>
                    <a:pt x="0" y="14"/>
                  </a:moveTo>
                  <a:cubicBezTo>
                    <a:pt x="0" y="16"/>
                    <a:pt x="1" y="21"/>
                    <a:pt x="5" y="25"/>
                  </a:cubicBezTo>
                  <a:cubicBezTo>
                    <a:pt x="8" y="28"/>
                    <a:pt x="8" y="29"/>
                    <a:pt x="9" y="29"/>
                  </a:cubicBezTo>
                  <a:cubicBezTo>
                    <a:pt x="11" y="29"/>
                    <a:pt x="14" y="28"/>
                    <a:pt x="16" y="24"/>
                  </a:cubicBezTo>
                  <a:cubicBezTo>
                    <a:pt x="19" y="20"/>
                    <a:pt x="21" y="19"/>
                    <a:pt x="20" y="14"/>
                  </a:cubicBezTo>
                  <a:cubicBezTo>
                    <a:pt x="19" y="9"/>
                    <a:pt x="15" y="0"/>
                    <a:pt x="10" y="2"/>
                  </a:cubicBezTo>
                  <a:cubicBezTo>
                    <a:pt x="1" y="5"/>
                    <a:pt x="0" y="6"/>
                    <a:pt x="0" y="14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2">
              <a:extLst>
                <a:ext uri="{FF2B5EF4-FFF2-40B4-BE49-F238E27FC236}">
                  <a16:creationId xmlns:a16="http://schemas.microsoft.com/office/drawing/2014/main" id="{1ECDD183-532D-4D2D-89FD-6331C1C74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3" y="744"/>
              <a:ext cx="53" cy="92"/>
            </a:xfrm>
            <a:custGeom>
              <a:avLst/>
              <a:gdLst>
                <a:gd name="T0" fmla="*/ 6 w 22"/>
                <a:gd name="T1" fmla="*/ 11 h 38"/>
                <a:gd name="T2" fmla="*/ 2 w 22"/>
                <a:gd name="T3" fmla="*/ 20 h 38"/>
                <a:gd name="T4" fmla="*/ 1 w 22"/>
                <a:gd name="T5" fmla="*/ 32 h 38"/>
                <a:gd name="T6" fmla="*/ 3 w 22"/>
                <a:gd name="T7" fmla="*/ 38 h 38"/>
                <a:gd name="T8" fmla="*/ 5 w 22"/>
                <a:gd name="T9" fmla="*/ 31 h 38"/>
                <a:gd name="T10" fmla="*/ 10 w 22"/>
                <a:gd name="T11" fmla="*/ 17 h 38"/>
                <a:gd name="T12" fmla="*/ 19 w 22"/>
                <a:gd name="T13" fmla="*/ 4 h 38"/>
                <a:gd name="T14" fmla="*/ 19 w 22"/>
                <a:gd name="T15" fmla="*/ 2 h 38"/>
                <a:gd name="T16" fmla="*/ 15 w 22"/>
                <a:gd name="T17" fmla="*/ 6 h 38"/>
                <a:gd name="T18" fmla="*/ 11 w 22"/>
                <a:gd name="T19" fmla="*/ 9 h 38"/>
                <a:gd name="T20" fmla="*/ 8 w 22"/>
                <a:gd name="T21" fmla="*/ 11 h 38"/>
                <a:gd name="T22" fmla="*/ 7 w 22"/>
                <a:gd name="T23" fmla="*/ 13 h 38"/>
                <a:gd name="T24" fmla="*/ 6 w 22"/>
                <a:gd name="T25" fmla="*/ 10 h 38"/>
                <a:gd name="T26" fmla="*/ 6 w 22"/>
                <a:gd name="T27" fmla="*/ 1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8">
                  <a:moveTo>
                    <a:pt x="6" y="11"/>
                  </a:moveTo>
                  <a:cubicBezTo>
                    <a:pt x="5" y="13"/>
                    <a:pt x="3" y="18"/>
                    <a:pt x="2" y="20"/>
                  </a:cubicBezTo>
                  <a:cubicBezTo>
                    <a:pt x="1" y="22"/>
                    <a:pt x="0" y="28"/>
                    <a:pt x="1" y="32"/>
                  </a:cubicBezTo>
                  <a:cubicBezTo>
                    <a:pt x="2" y="35"/>
                    <a:pt x="3" y="38"/>
                    <a:pt x="3" y="38"/>
                  </a:cubicBezTo>
                  <a:cubicBezTo>
                    <a:pt x="3" y="38"/>
                    <a:pt x="4" y="35"/>
                    <a:pt x="5" y="31"/>
                  </a:cubicBezTo>
                  <a:cubicBezTo>
                    <a:pt x="5" y="27"/>
                    <a:pt x="7" y="21"/>
                    <a:pt x="10" y="17"/>
                  </a:cubicBezTo>
                  <a:cubicBezTo>
                    <a:pt x="13" y="13"/>
                    <a:pt x="16" y="8"/>
                    <a:pt x="19" y="4"/>
                  </a:cubicBezTo>
                  <a:cubicBezTo>
                    <a:pt x="22" y="0"/>
                    <a:pt x="19" y="2"/>
                    <a:pt x="19" y="2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6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3">
              <a:extLst>
                <a:ext uri="{FF2B5EF4-FFF2-40B4-BE49-F238E27FC236}">
                  <a16:creationId xmlns:a16="http://schemas.microsoft.com/office/drawing/2014/main" id="{808ECBF0-3412-443D-8441-CC9BFEEB0E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7" y="752"/>
              <a:ext cx="34" cy="24"/>
            </a:xfrm>
            <a:custGeom>
              <a:avLst/>
              <a:gdLst>
                <a:gd name="T0" fmla="*/ 0 w 14"/>
                <a:gd name="T1" fmla="*/ 9 h 10"/>
                <a:gd name="T2" fmla="*/ 1 w 14"/>
                <a:gd name="T3" fmla="*/ 10 h 10"/>
                <a:gd name="T4" fmla="*/ 9 w 14"/>
                <a:gd name="T5" fmla="*/ 5 h 10"/>
                <a:gd name="T6" fmla="*/ 11 w 14"/>
                <a:gd name="T7" fmla="*/ 4 h 10"/>
                <a:gd name="T8" fmla="*/ 13 w 14"/>
                <a:gd name="T9" fmla="*/ 1 h 10"/>
                <a:gd name="T10" fmla="*/ 14 w 14"/>
                <a:gd name="T11" fmla="*/ 0 h 10"/>
                <a:gd name="T12" fmla="*/ 12 w 14"/>
                <a:gd name="T13" fmla="*/ 0 h 10"/>
                <a:gd name="T14" fmla="*/ 10 w 14"/>
                <a:gd name="T15" fmla="*/ 3 h 10"/>
                <a:gd name="T16" fmla="*/ 6 w 14"/>
                <a:gd name="T17" fmla="*/ 5 h 10"/>
                <a:gd name="T18" fmla="*/ 3 w 14"/>
                <a:gd name="T19" fmla="*/ 8 h 10"/>
                <a:gd name="T20" fmla="*/ 2 w 14"/>
                <a:gd name="T21" fmla="*/ 9 h 10"/>
                <a:gd name="T22" fmla="*/ 1 w 14"/>
                <a:gd name="T23" fmla="*/ 10 h 10"/>
                <a:gd name="T24" fmla="*/ 0 w 14"/>
                <a:gd name="T25" fmla="*/ 7 h 10"/>
                <a:gd name="T26" fmla="*/ 0 w 14"/>
                <a:gd name="T27" fmla="*/ 8 h 10"/>
                <a:gd name="T28" fmla="*/ 0 w 14"/>
                <a:gd name="T2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10">
                  <a:moveTo>
                    <a:pt x="0" y="9"/>
                  </a:move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6" y="6"/>
                    <a:pt x="9" y="5"/>
                  </a:cubicBezTo>
                  <a:cubicBezTo>
                    <a:pt x="10" y="5"/>
                    <a:pt x="10" y="5"/>
                    <a:pt x="11" y="4"/>
                  </a:cubicBezTo>
                  <a:cubicBezTo>
                    <a:pt x="12" y="3"/>
                    <a:pt x="12" y="2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8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4">
              <a:extLst>
                <a:ext uri="{FF2B5EF4-FFF2-40B4-BE49-F238E27FC236}">
                  <a16:creationId xmlns:a16="http://schemas.microsoft.com/office/drawing/2014/main" id="{6624DE0E-9C92-4D30-B83E-87203CE0B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" y="723"/>
              <a:ext cx="50" cy="53"/>
            </a:xfrm>
            <a:custGeom>
              <a:avLst/>
              <a:gdLst>
                <a:gd name="T0" fmla="*/ 15 w 21"/>
                <a:gd name="T1" fmla="*/ 3 h 22"/>
                <a:gd name="T2" fmla="*/ 9 w 21"/>
                <a:gd name="T3" fmla="*/ 14 h 22"/>
                <a:gd name="T4" fmla="*/ 0 w 21"/>
                <a:gd name="T5" fmla="*/ 22 h 22"/>
                <a:gd name="T6" fmla="*/ 7 w 21"/>
                <a:gd name="T7" fmla="*/ 17 h 22"/>
                <a:gd name="T8" fmla="*/ 12 w 21"/>
                <a:gd name="T9" fmla="*/ 14 h 22"/>
                <a:gd name="T10" fmla="*/ 20 w 21"/>
                <a:gd name="T11" fmla="*/ 14 h 22"/>
                <a:gd name="T12" fmla="*/ 21 w 21"/>
                <a:gd name="T13" fmla="*/ 5 h 22"/>
                <a:gd name="T14" fmla="*/ 15 w 21"/>
                <a:gd name="T15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2">
                  <a:moveTo>
                    <a:pt x="15" y="3"/>
                  </a:moveTo>
                  <a:cubicBezTo>
                    <a:pt x="15" y="3"/>
                    <a:pt x="10" y="12"/>
                    <a:pt x="9" y="14"/>
                  </a:cubicBezTo>
                  <a:cubicBezTo>
                    <a:pt x="8" y="15"/>
                    <a:pt x="2" y="19"/>
                    <a:pt x="0" y="22"/>
                  </a:cubicBezTo>
                  <a:cubicBezTo>
                    <a:pt x="2" y="20"/>
                    <a:pt x="5" y="18"/>
                    <a:pt x="7" y="17"/>
                  </a:cubicBezTo>
                  <a:cubicBezTo>
                    <a:pt x="9" y="16"/>
                    <a:pt x="10" y="13"/>
                    <a:pt x="12" y="14"/>
                  </a:cubicBezTo>
                  <a:cubicBezTo>
                    <a:pt x="15" y="15"/>
                    <a:pt x="20" y="14"/>
                    <a:pt x="20" y="14"/>
                  </a:cubicBezTo>
                  <a:cubicBezTo>
                    <a:pt x="20" y="14"/>
                    <a:pt x="21" y="8"/>
                    <a:pt x="21" y="5"/>
                  </a:cubicBezTo>
                  <a:cubicBezTo>
                    <a:pt x="20" y="2"/>
                    <a:pt x="16" y="0"/>
                    <a:pt x="15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5">
              <a:extLst>
                <a:ext uri="{FF2B5EF4-FFF2-40B4-BE49-F238E27FC236}">
                  <a16:creationId xmlns:a16="http://schemas.microsoft.com/office/drawing/2014/main" id="{5C13D9FC-A137-4CCD-B9CC-8DCC250BA1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8" y="773"/>
              <a:ext cx="22" cy="70"/>
            </a:xfrm>
            <a:custGeom>
              <a:avLst/>
              <a:gdLst>
                <a:gd name="T0" fmla="*/ 9 w 9"/>
                <a:gd name="T1" fmla="*/ 29 h 29"/>
                <a:gd name="T2" fmla="*/ 6 w 9"/>
                <a:gd name="T3" fmla="*/ 10 h 29"/>
                <a:gd name="T4" fmla="*/ 9 w 9"/>
                <a:gd name="T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9">
                  <a:moveTo>
                    <a:pt x="9" y="29"/>
                  </a:moveTo>
                  <a:cubicBezTo>
                    <a:pt x="9" y="29"/>
                    <a:pt x="4" y="21"/>
                    <a:pt x="6" y="10"/>
                  </a:cubicBezTo>
                  <a:cubicBezTo>
                    <a:pt x="7" y="0"/>
                    <a:pt x="0" y="20"/>
                    <a:pt x="9" y="29"/>
                  </a:cubicBez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6">
              <a:extLst>
                <a:ext uri="{FF2B5EF4-FFF2-40B4-BE49-F238E27FC236}">
                  <a16:creationId xmlns:a16="http://schemas.microsoft.com/office/drawing/2014/main" id="{7CC0C889-2CCF-49E8-9105-789B96E61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0" y="764"/>
              <a:ext cx="45" cy="84"/>
            </a:xfrm>
            <a:custGeom>
              <a:avLst/>
              <a:gdLst>
                <a:gd name="T0" fmla="*/ 9 w 19"/>
                <a:gd name="T1" fmla="*/ 0 h 35"/>
                <a:gd name="T2" fmla="*/ 16 w 19"/>
                <a:gd name="T3" fmla="*/ 1 h 35"/>
                <a:gd name="T4" fmla="*/ 19 w 19"/>
                <a:gd name="T5" fmla="*/ 1 h 35"/>
                <a:gd name="T6" fmla="*/ 17 w 19"/>
                <a:gd name="T7" fmla="*/ 16 h 35"/>
                <a:gd name="T8" fmla="*/ 7 w 19"/>
                <a:gd name="T9" fmla="*/ 34 h 35"/>
                <a:gd name="T10" fmla="*/ 2 w 19"/>
                <a:gd name="T11" fmla="*/ 24 h 35"/>
                <a:gd name="T12" fmla="*/ 9 w 19"/>
                <a:gd name="T13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5">
                  <a:moveTo>
                    <a:pt x="9" y="0"/>
                  </a:moveTo>
                  <a:cubicBezTo>
                    <a:pt x="9" y="0"/>
                    <a:pt x="13" y="1"/>
                    <a:pt x="16" y="1"/>
                  </a:cubicBezTo>
                  <a:cubicBezTo>
                    <a:pt x="18" y="2"/>
                    <a:pt x="19" y="1"/>
                    <a:pt x="19" y="1"/>
                  </a:cubicBezTo>
                  <a:cubicBezTo>
                    <a:pt x="19" y="1"/>
                    <a:pt x="18" y="10"/>
                    <a:pt x="17" y="16"/>
                  </a:cubicBezTo>
                  <a:cubicBezTo>
                    <a:pt x="15" y="23"/>
                    <a:pt x="14" y="35"/>
                    <a:pt x="7" y="34"/>
                  </a:cubicBezTo>
                  <a:cubicBezTo>
                    <a:pt x="4" y="33"/>
                    <a:pt x="0" y="30"/>
                    <a:pt x="2" y="24"/>
                  </a:cubicBezTo>
                  <a:cubicBezTo>
                    <a:pt x="4" y="15"/>
                    <a:pt x="9" y="4"/>
                    <a:pt x="9" y="0"/>
                  </a:cubicBezTo>
                  <a:close/>
                </a:path>
              </a:pathLst>
            </a:custGeom>
            <a:solidFill>
              <a:srgbClr val="7229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7">
              <a:extLst>
                <a:ext uri="{FF2B5EF4-FFF2-40B4-BE49-F238E27FC236}">
                  <a16:creationId xmlns:a16="http://schemas.microsoft.com/office/drawing/2014/main" id="{B8F807DE-A83C-42A8-A347-E451147BF6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1" y="939"/>
              <a:ext cx="46" cy="243"/>
            </a:xfrm>
            <a:custGeom>
              <a:avLst/>
              <a:gdLst>
                <a:gd name="T0" fmla="*/ 15 w 19"/>
                <a:gd name="T1" fmla="*/ 29 h 101"/>
                <a:gd name="T2" fmla="*/ 15 w 19"/>
                <a:gd name="T3" fmla="*/ 29 h 101"/>
                <a:gd name="T4" fmla="*/ 15 w 19"/>
                <a:gd name="T5" fmla="*/ 91 h 101"/>
                <a:gd name="T6" fmla="*/ 15 w 19"/>
                <a:gd name="T7" fmla="*/ 88 h 101"/>
                <a:gd name="T8" fmla="*/ 15 w 19"/>
                <a:gd name="T9" fmla="*/ 86 h 101"/>
                <a:gd name="T10" fmla="*/ 16 w 19"/>
                <a:gd name="T11" fmla="*/ 77 h 101"/>
                <a:gd name="T12" fmla="*/ 15 w 19"/>
                <a:gd name="T13" fmla="*/ 68 h 101"/>
                <a:gd name="T14" fmla="*/ 16 w 19"/>
                <a:gd name="T15" fmla="*/ 57 h 101"/>
                <a:gd name="T16" fmla="*/ 18 w 19"/>
                <a:gd name="T17" fmla="*/ 68 h 101"/>
                <a:gd name="T18" fmla="*/ 15 w 19"/>
                <a:gd name="T19" fmla="*/ 96 h 101"/>
                <a:gd name="T20" fmla="*/ 15 w 19"/>
                <a:gd name="T21" fmla="*/ 29 h 101"/>
                <a:gd name="T22" fmla="*/ 15 w 19"/>
                <a:gd name="T23" fmla="*/ 30 h 101"/>
                <a:gd name="T24" fmla="*/ 15 w 19"/>
                <a:gd name="T25" fmla="*/ 29 h 101"/>
                <a:gd name="T26" fmla="*/ 15 w 19"/>
                <a:gd name="T27" fmla="*/ 68 h 101"/>
                <a:gd name="T28" fmla="*/ 9 w 19"/>
                <a:gd name="T29" fmla="*/ 56 h 101"/>
                <a:gd name="T30" fmla="*/ 10 w 19"/>
                <a:gd name="T31" fmla="*/ 51 h 101"/>
                <a:gd name="T32" fmla="*/ 10 w 19"/>
                <a:gd name="T33" fmla="*/ 45 h 101"/>
                <a:gd name="T34" fmla="*/ 11 w 19"/>
                <a:gd name="T35" fmla="*/ 37 h 101"/>
                <a:gd name="T36" fmla="*/ 7 w 19"/>
                <a:gd name="T37" fmla="*/ 29 h 101"/>
                <a:gd name="T38" fmla="*/ 8 w 19"/>
                <a:gd name="T39" fmla="*/ 24 h 101"/>
                <a:gd name="T40" fmla="*/ 8 w 19"/>
                <a:gd name="T41" fmla="*/ 21 h 101"/>
                <a:gd name="T42" fmla="*/ 8 w 19"/>
                <a:gd name="T43" fmla="*/ 19 h 101"/>
                <a:gd name="T44" fmla="*/ 8 w 19"/>
                <a:gd name="T45" fmla="*/ 16 h 101"/>
                <a:gd name="T46" fmla="*/ 8 w 19"/>
                <a:gd name="T47" fmla="*/ 11 h 101"/>
                <a:gd name="T48" fmla="*/ 4 w 19"/>
                <a:gd name="T49" fmla="*/ 5 h 101"/>
                <a:gd name="T50" fmla="*/ 8 w 19"/>
                <a:gd name="T51" fmla="*/ 2 h 101"/>
                <a:gd name="T52" fmla="*/ 13 w 19"/>
                <a:gd name="T53" fmla="*/ 18 h 101"/>
                <a:gd name="T54" fmla="*/ 12 w 19"/>
                <a:gd name="T55" fmla="*/ 39 h 101"/>
                <a:gd name="T56" fmla="*/ 15 w 19"/>
                <a:gd name="T57" fmla="*/ 53 h 101"/>
                <a:gd name="T58" fmla="*/ 15 w 19"/>
                <a:gd name="T59" fmla="*/ 88 h 101"/>
                <a:gd name="T60" fmla="*/ 15 w 19"/>
                <a:gd name="T61" fmla="*/ 85 h 101"/>
                <a:gd name="T62" fmla="*/ 11 w 19"/>
                <a:gd name="T63" fmla="*/ 92 h 101"/>
                <a:gd name="T64" fmla="*/ 15 w 19"/>
                <a:gd name="T65" fmla="*/ 97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" h="101">
                  <a:moveTo>
                    <a:pt x="15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15" y="30"/>
                    <a:pt x="15" y="30"/>
                    <a:pt x="15" y="30"/>
                  </a:cubicBezTo>
                  <a:lnTo>
                    <a:pt x="15" y="29"/>
                  </a:lnTo>
                  <a:close/>
                  <a:moveTo>
                    <a:pt x="15" y="97"/>
                  </a:moveTo>
                  <a:cubicBezTo>
                    <a:pt x="15" y="91"/>
                    <a:pt x="15" y="91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0"/>
                    <a:pt x="15" y="89"/>
                    <a:pt x="15" y="88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6"/>
                  </a:cubicBezTo>
                  <a:cubicBezTo>
                    <a:pt x="17" y="88"/>
                    <a:pt x="18" y="82"/>
                    <a:pt x="17" y="80"/>
                  </a:cubicBezTo>
                  <a:cubicBezTo>
                    <a:pt x="15" y="78"/>
                    <a:pt x="14" y="75"/>
                    <a:pt x="16" y="77"/>
                  </a:cubicBezTo>
                  <a:cubicBezTo>
                    <a:pt x="17" y="78"/>
                    <a:pt x="18" y="76"/>
                    <a:pt x="17" y="73"/>
                  </a:cubicBezTo>
                  <a:cubicBezTo>
                    <a:pt x="16" y="71"/>
                    <a:pt x="15" y="70"/>
                    <a:pt x="15" y="68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15" y="55"/>
                    <a:pt x="16" y="56"/>
                    <a:pt x="16" y="57"/>
                  </a:cubicBezTo>
                  <a:cubicBezTo>
                    <a:pt x="16" y="58"/>
                    <a:pt x="17" y="58"/>
                    <a:pt x="17" y="58"/>
                  </a:cubicBezTo>
                  <a:cubicBezTo>
                    <a:pt x="17" y="61"/>
                    <a:pt x="18" y="64"/>
                    <a:pt x="18" y="68"/>
                  </a:cubicBezTo>
                  <a:cubicBezTo>
                    <a:pt x="19" y="73"/>
                    <a:pt x="19" y="76"/>
                    <a:pt x="19" y="82"/>
                  </a:cubicBezTo>
                  <a:cubicBezTo>
                    <a:pt x="18" y="88"/>
                    <a:pt x="17" y="93"/>
                    <a:pt x="15" y="96"/>
                  </a:cubicBezTo>
                  <a:lnTo>
                    <a:pt x="15" y="97"/>
                  </a:lnTo>
                  <a:close/>
                  <a:moveTo>
                    <a:pt x="15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5" y="30"/>
                    <a:pt x="15" y="30"/>
                    <a:pt x="15" y="30"/>
                  </a:cubicBezTo>
                  <a:lnTo>
                    <a:pt x="15" y="29"/>
                  </a:lnTo>
                  <a:close/>
                  <a:moveTo>
                    <a:pt x="15" y="53"/>
                  </a:moveTo>
                  <a:cubicBezTo>
                    <a:pt x="15" y="68"/>
                    <a:pt x="15" y="68"/>
                    <a:pt x="15" y="68"/>
                  </a:cubicBezTo>
                  <a:cubicBezTo>
                    <a:pt x="14" y="66"/>
                    <a:pt x="12" y="63"/>
                    <a:pt x="13" y="60"/>
                  </a:cubicBezTo>
                  <a:cubicBezTo>
                    <a:pt x="14" y="54"/>
                    <a:pt x="14" y="56"/>
                    <a:pt x="9" y="56"/>
                  </a:cubicBezTo>
                  <a:cubicBezTo>
                    <a:pt x="5" y="56"/>
                    <a:pt x="10" y="54"/>
                    <a:pt x="12" y="53"/>
                  </a:cubicBezTo>
                  <a:cubicBezTo>
                    <a:pt x="14" y="51"/>
                    <a:pt x="13" y="51"/>
                    <a:pt x="10" y="51"/>
                  </a:cubicBezTo>
                  <a:cubicBezTo>
                    <a:pt x="8" y="51"/>
                    <a:pt x="7" y="48"/>
                    <a:pt x="9" y="48"/>
                  </a:cubicBezTo>
                  <a:cubicBezTo>
                    <a:pt x="11" y="48"/>
                    <a:pt x="12" y="47"/>
                    <a:pt x="10" y="45"/>
                  </a:cubicBezTo>
                  <a:cubicBezTo>
                    <a:pt x="9" y="44"/>
                    <a:pt x="9" y="43"/>
                    <a:pt x="10" y="42"/>
                  </a:cubicBezTo>
                  <a:cubicBezTo>
                    <a:pt x="11" y="41"/>
                    <a:pt x="13" y="37"/>
                    <a:pt x="11" y="37"/>
                  </a:cubicBezTo>
                  <a:cubicBezTo>
                    <a:pt x="10" y="38"/>
                    <a:pt x="10" y="37"/>
                    <a:pt x="12" y="33"/>
                  </a:cubicBezTo>
                  <a:cubicBezTo>
                    <a:pt x="14" y="29"/>
                    <a:pt x="9" y="29"/>
                    <a:pt x="7" y="29"/>
                  </a:cubicBezTo>
                  <a:cubicBezTo>
                    <a:pt x="4" y="30"/>
                    <a:pt x="4" y="30"/>
                    <a:pt x="6" y="28"/>
                  </a:cubicBezTo>
                  <a:cubicBezTo>
                    <a:pt x="8" y="27"/>
                    <a:pt x="11" y="23"/>
                    <a:pt x="8" y="24"/>
                  </a:cubicBezTo>
                  <a:cubicBezTo>
                    <a:pt x="6" y="25"/>
                    <a:pt x="5" y="25"/>
                    <a:pt x="6" y="24"/>
                  </a:cubicBezTo>
                  <a:cubicBezTo>
                    <a:pt x="7" y="23"/>
                    <a:pt x="10" y="22"/>
                    <a:pt x="8" y="21"/>
                  </a:cubicBezTo>
                  <a:cubicBezTo>
                    <a:pt x="7" y="21"/>
                    <a:pt x="6" y="21"/>
                    <a:pt x="8" y="20"/>
                  </a:cubicBezTo>
                  <a:cubicBezTo>
                    <a:pt x="9" y="20"/>
                    <a:pt x="11" y="19"/>
                    <a:pt x="8" y="19"/>
                  </a:cubicBezTo>
                  <a:cubicBezTo>
                    <a:pt x="6" y="19"/>
                    <a:pt x="8" y="18"/>
                    <a:pt x="10" y="17"/>
                  </a:cubicBezTo>
                  <a:cubicBezTo>
                    <a:pt x="11" y="17"/>
                    <a:pt x="9" y="15"/>
                    <a:pt x="8" y="16"/>
                  </a:cubicBezTo>
                  <a:cubicBezTo>
                    <a:pt x="7" y="16"/>
                    <a:pt x="9" y="14"/>
                    <a:pt x="10" y="14"/>
                  </a:cubicBezTo>
                  <a:cubicBezTo>
                    <a:pt x="11" y="13"/>
                    <a:pt x="10" y="11"/>
                    <a:pt x="8" y="11"/>
                  </a:cubicBezTo>
                  <a:cubicBezTo>
                    <a:pt x="6" y="11"/>
                    <a:pt x="10" y="10"/>
                    <a:pt x="11" y="9"/>
                  </a:cubicBezTo>
                  <a:cubicBezTo>
                    <a:pt x="11" y="8"/>
                    <a:pt x="7" y="6"/>
                    <a:pt x="4" y="5"/>
                  </a:cubicBezTo>
                  <a:cubicBezTo>
                    <a:pt x="0" y="3"/>
                    <a:pt x="5" y="4"/>
                    <a:pt x="8" y="5"/>
                  </a:cubicBezTo>
                  <a:cubicBezTo>
                    <a:pt x="11" y="6"/>
                    <a:pt x="9" y="5"/>
                    <a:pt x="8" y="2"/>
                  </a:cubicBezTo>
                  <a:cubicBezTo>
                    <a:pt x="6" y="0"/>
                    <a:pt x="12" y="6"/>
                    <a:pt x="12" y="7"/>
                  </a:cubicBezTo>
                  <a:cubicBezTo>
                    <a:pt x="12" y="9"/>
                    <a:pt x="12" y="12"/>
                    <a:pt x="13" y="18"/>
                  </a:cubicBezTo>
                  <a:cubicBezTo>
                    <a:pt x="14" y="24"/>
                    <a:pt x="14" y="27"/>
                    <a:pt x="15" y="29"/>
                  </a:cubicBezTo>
                  <a:cubicBezTo>
                    <a:pt x="15" y="30"/>
                    <a:pt x="12" y="37"/>
                    <a:pt x="12" y="39"/>
                  </a:cubicBezTo>
                  <a:cubicBezTo>
                    <a:pt x="12" y="41"/>
                    <a:pt x="10" y="44"/>
                    <a:pt x="11" y="45"/>
                  </a:cubicBezTo>
                  <a:cubicBezTo>
                    <a:pt x="12" y="46"/>
                    <a:pt x="13" y="50"/>
                    <a:pt x="15" y="53"/>
                  </a:cubicBezTo>
                  <a:close/>
                  <a:moveTo>
                    <a:pt x="15" y="85"/>
                  </a:moveTo>
                  <a:cubicBezTo>
                    <a:pt x="15" y="88"/>
                    <a:pt x="15" y="88"/>
                    <a:pt x="15" y="88"/>
                  </a:cubicBezTo>
                  <a:cubicBezTo>
                    <a:pt x="14" y="85"/>
                    <a:pt x="10" y="81"/>
                    <a:pt x="7" y="76"/>
                  </a:cubicBezTo>
                  <a:cubicBezTo>
                    <a:pt x="3" y="70"/>
                    <a:pt x="12" y="81"/>
                    <a:pt x="15" y="85"/>
                  </a:cubicBezTo>
                  <a:close/>
                  <a:moveTo>
                    <a:pt x="15" y="91"/>
                  </a:moveTo>
                  <a:cubicBezTo>
                    <a:pt x="13" y="93"/>
                    <a:pt x="9" y="88"/>
                    <a:pt x="11" y="92"/>
                  </a:cubicBezTo>
                  <a:cubicBezTo>
                    <a:pt x="13" y="96"/>
                    <a:pt x="13" y="101"/>
                    <a:pt x="13" y="101"/>
                  </a:cubicBezTo>
                  <a:cubicBezTo>
                    <a:pt x="13" y="101"/>
                    <a:pt x="13" y="101"/>
                    <a:pt x="15" y="97"/>
                  </a:cubicBezTo>
                  <a:lnTo>
                    <a:pt x="15" y="91"/>
                  </a:ln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8">
              <a:extLst>
                <a:ext uri="{FF2B5EF4-FFF2-40B4-BE49-F238E27FC236}">
                  <a16:creationId xmlns:a16="http://schemas.microsoft.com/office/drawing/2014/main" id="{991D7FA7-426D-4AC6-88CA-2DC38F838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2" y="891"/>
              <a:ext cx="111" cy="92"/>
            </a:xfrm>
            <a:custGeom>
              <a:avLst/>
              <a:gdLst>
                <a:gd name="T0" fmla="*/ 15 w 111"/>
                <a:gd name="T1" fmla="*/ 92 h 92"/>
                <a:gd name="T2" fmla="*/ 0 w 111"/>
                <a:gd name="T3" fmla="*/ 24 h 92"/>
                <a:gd name="T4" fmla="*/ 96 w 111"/>
                <a:gd name="T5" fmla="*/ 0 h 92"/>
                <a:gd name="T6" fmla="*/ 111 w 111"/>
                <a:gd name="T7" fmla="*/ 70 h 92"/>
                <a:gd name="T8" fmla="*/ 15 w 111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92">
                  <a:moveTo>
                    <a:pt x="15" y="92"/>
                  </a:moveTo>
                  <a:lnTo>
                    <a:pt x="0" y="24"/>
                  </a:lnTo>
                  <a:lnTo>
                    <a:pt x="96" y="0"/>
                  </a:lnTo>
                  <a:lnTo>
                    <a:pt x="111" y="70"/>
                  </a:lnTo>
                  <a:lnTo>
                    <a:pt x="15" y="92"/>
                  </a:lnTo>
                  <a:close/>
                </a:path>
              </a:pathLst>
            </a:custGeom>
            <a:solidFill>
              <a:srgbClr val="5D6F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9">
              <a:extLst>
                <a:ext uri="{FF2B5EF4-FFF2-40B4-BE49-F238E27FC236}">
                  <a16:creationId xmlns:a16="http://schemas.microsoft.com/office/drawing/2014/main" id="{7085420C-2879-4C83-AAF2-7E061C9AA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7" y="896"/>
              <a:ext cx="103" cy="82"/>
            </a:xfrm>
            <a:custGeom>
              <a:avLst/>
              <a:gdLst>
                <a:gd name="T0" fmla="*/ 14 w 103"/>
                <a:gd name="T1" fmla="*/ 82 h 82"/>
                <a:gd name="T2" fmla="*/ 0 w 103"/>
                <a:gd name="T3" fmla="*/ 19 h 82"/>
                <a:gd name="T4" fmla="*/ 89 w 103"/>
                <a:gd name="T5" fmla="*/ 0 h 82"/>
                <a:gd name="T6" fmla="*/ 103 w 103"/>
                <a:gd name="T7" fmla="*/ 63 h 82"/>
                <a:gd name="T8" fmla="*/ 14 w 103"/>
                <a:gd name="T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82">
                  <a:moveTo>
                    <a:pt x="14" y="82"/>
                  </a:moveTo>
                  <a:lnTo>
                    <a:pt x="0" y="19"/>
                  </a:lnTo>
                  <a:lnTo>
                    <a:pt x="89" y="0"/>
                  </a:lnTo>
                  <a:lnTo>
                    <a:pt x="103" y="63"/>
                  </a:lnTo>
                  <a:lnTo>
                    <a:pt x="14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0">
              <a:extLst>
                <a:ext uri="{FF2B5EF4-FFF2-40B4-BE49-F238E27FC236}">
                  <a16:creationId xmlns:a16="http://schemas.microsoft.com/office/drawing/2014/main" id="{F5E0B71F-6929-409F-9FFC-9F9E65BF3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2" y="935"/>
              <a:ext cx="9" cy="24"/>
            </a:xfrm>
            <a:custGeom>
              <a:avLst/>
              <a:gdLst>
                <a:gd name="T0" fmla="*/ 5 w 9"/>
                <a:gd name="T1" fmla="*/ 24 h 24"/>
                <a:gd name="T2" fmla="*/ 0 w 9"/>
                <a:gd name="T3" fmla="*/ 0 h 24"/>
                <a:gd name="T4" fmla="*/ 2 w 9"/>
                <a:gd name="T5" fmla="*/ 0 h 24"/>
                <a:gd name="T6" fmla="*/ 9 w 9"/>
                <a:gd name="T7" fmla="*/ 24 h 24"/>
                <a:gd name="T8" fmla="*/ 5 w 9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4">
                  <a:moveTo>
                    <a:pt x="5" y="24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9" y="24"/>
                  </a:lnTo>
                  <a:lnTo>
                    <a:pt x="5" y="24"/>
                  </a:lnTo>
                  <a:close/>
                </a:path>
              </a:pathLst>
            </a:custGeom>
            <a:solidFill>
              <a:srgbClr val="CBC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1">
              <a:extLst>
                <a:ext uri="{FF2B5EF4-FFF2-40B4-BE49-F238E27FC236}">
                  <a16:creationId xmlns:a16="http://schemas.microsoft.com/office/drawing/2014/main" id="{A279D92F-2685-4E23-8BAB-C66C56593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7" y="935"/>
              <a:ext cx="10" cy="26"/>
            </a:xfrm>
            <a:custGeom>
              <a:avLst/>
              <a:gdLst>
                <a:gd name="T0" fmla="*/ 3 w 4"/>
                <a:gd name="T1" fmla="*/ 10 h 11"/>
                <a:gd name="T2" fmla="*/ 2 w 4"/>
                <a:gd name="T3" fmla="*/ 7 h 11"/>
                <a:gd name="T4" fmla="*/ 1 w 4"/>
                <a:gd name="T5" fmla="*/ 7 h 11"/>
                <a:gd name="T6" fmla="*/ 0 w 4"/>
                <a:gd name="T7" fmla="*/ 4 h 11"/>
                <a:gd name="T8" fmla="*/ 1 w 4"/>
                <a:gd name="T9" fmla="*/ 4 h 11"/>
                <a:gd name="T10" fmla="*/ 1 w 4"/>
                <a:gd name="T11" fmla="*/ 1 h 11"/>
                <a:gd name="T12" fmla="*/ 1 w 4"/>
                <a:gd name="T13" fmla="*/ 0 h 11"/>
                <a:gd name="T14" fmla="*/ 2 w 4"/>
                <a:gd name="T15" fmla="*/ 0 h 11"/>
                <a:gd name="T16" fmla="*/ 4 w 4"/>
                <a:gd name="T17" fmla="*/ 10 h 11"/>
                <a:gd name="T18" fmla="*/ 4 w 4"/>
                <a:gd name="T19" fmla="*/ 10 h 11"/>
                <a:gd name="T20" fmla="*/ 3 w 4"/>
                <a:gd name="T2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" h="11">
                  <a:moveTo>
                    <a:pt x="3" y="10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3" y="11"/>
                    <a:pt x="3" y="10"/>
                    <a:pt x="3" y="10"/>
                  </a:cubicBezTo>
                  <a:close/>
                </a:path>
              </a:pathLst>
            </a:custGeom>
            <a:solidFill>
              <a:srgbClr val="9DB7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2">
              <a:extLst>
                <a:ext uri="{FF2B5EF4-FFF2-40B4-BE49-F238E27FC236}">
                  <a16:creationId xmlns:a16="http://schemas.microsoft.com/office/drawing/2014/main" id="{0C2D3FE3-9675-41E0-B3F8-C0134A3B5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5" y="935"/>
              <a:ext cx="26" cy="26"/>
            </a:xfrm>
            <a:custGeom>
              <a:avLst/>
              <a:gdLst>
                <a:gd name="T0" fmla="*/ 7 w 11"/>
                <a:gd name="T1" fmla="*/ 10 h 11"/>
                <a:gd name="T2" fmla="*/ 7 w 11"/>
                <a:gd name="T3" fmla="*/ 7 h 11"/>
                <a:gd name="T4" fmla="*/ 2 w 11"/>
                <a:gd name="T5" fmla="*/ 8 h 11"/>
                <a:gd name="T6" fmla="*/ 2 w 11"/>
                <a:gd name="T7" fmla="*/ 8 h 11"/>
                <a:gd name="T8" fmla="*/ 2 w 11"/>
                <a:gd name="T9" fmla="*/ 7 h 11"/>
                <a:gd name="T10" fmla="*/ 2 w 11"/>
                <a:gd name="T11" fmla="*/ 7 h 11"/>
                <a:gd name="T12" fmla="*/ 3 w 11"/>
                <a:gd name="T13" fmla="*/ 7 h 11"/>
                <a:gd name="T14" fmla="*/ 2 w 11"/>
                <a:gd name="T15" fmla="*/ 6 h 11"/>
                <a:gd name="T16" fmla="*/ 2 w 11"/>
                <a:gd name="T17" fmla="*/ 5 h 11"/>
                <a:gd name="T18" fmla="*/ 6 w 11"/>
                <a:gd name="T19" fmla="*/ 4 h 11"/>
                <a:gd name="T20" fmla="*/ 6 w 11"/>
                <a:gd name="T21" fmla="*/ 1 h 11"/>
                <a:gd name="T22" fmla="*/ 6 w 11"/>
                <a:gd name="T23" fmla="*/ 0 h 11"/>
                <a:gd name="T24" fmla="*/ 8 w 11"/>
                <a:gd name="T25" fmla="*/ 0 h 11"/>
                <a:gd name="T26" fmla="*/ 11 w 11"/>
                <a:gd name="T27" fmla="*/ 10 h 11"/>
                <a:gd name="T28" fmla="*/ 9 w 11"/>
                <a:gd name="T29" fmla="*/ 11 h 11"/>
                <a:gd name="T30" fmla="*/ 7 w 11"/>
                <a:gd name="T31" fmla="*/ 10 h 11"/>
                <a:gd name="T32" fmla="*/ 2 w 11"/>
                <a:gd name="T33" fmla="*/ 8 h 11"/>
                <a:gd name="T34" fmla="*/ 0 w 11"/>
                <a:gd name="T35" fmla="*/ 7 h 11"/>
                <a:gd name="T36" fmla="*/ 2 w 11"/>
                <a:gd name="T37" fmla="*/ 5 h 11"/>
                <a:gd name="T38" fmla="*/ 2 w 11"/>
                <a:gd name="T39" fmla="*/ 5 h 11"/>
                <a:gd name="T40" fmla="*/ 2 w 11"/>
                <a:gd name="T41" fmla="*/ 6 h 11"/>
                <a:gd name="T42" fmla="*/ 2 w 11"/>
                <a:gd name="T43" fmla="*/ 6 h 11"/>
                <a:gd name="T44" fmla="*/ 1 w 11"/>
                <a:gd name="T45" fmla="*/ 7 h 11"/>
                <a:gd name="T46" fmla="*/ 2 w 11"/>
                <a:gd name="T47" fmla="*/ 7 h 11"/>
                <a:gd name="T48" fmla="*/ 2 w 11"/>
                <a:gd name="T4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" h="11">
                  <a:moveTo>
                    <a:pt x="7" y="10"/>
                  </a:moveTo>
                  <a:cubicBezTo>
                    <a:pt x="7" y="7"/>
                    <a:pt x="7" y="7"/>
                    <a:pt x="7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6"/>
                    <a:pt x="2" y="6"/>
                    <a:pt x="2" y="6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6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1"/>
                    <a:pt x="8" y="10"/>
                    <a:pt x="7" y="10"/>
                  </a:cubicBezTo>
                  <a:close/>
                  <a:moveTo>
                    <a:pt x="2" y="8"/>
                  </a:moveTo>
                  <a:cubicBezTo>
                    <a:pt x="1" y="8"/>
                    <a:pt x="1" y="8"/>
                    <a:pt x="0" y="7"/>
                  </a:cubicBezTo>
                  <a:cubicBezTo>
                    <a:pt x="0" y="6"/>
                    <a:pt x="1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1" y="6"/>
                    <a:pt x="1" y="7"/>
                  </a:cubicBezTo>
                  <a:cubicBezTo>
                    <a:pt x="2" y="7"/>
                    <a:pt x="2" y="7"/>
                    <a:pt x="2" y="7"/>
                  </a:cubicBezTo>
                  <a:lnTo>
                    <a:pt x="2" y="8"/>
                  </a:lnTo>
                  <a:close/>
                </a:path>
              </a:pathLst>
            </a:custGeom>
            <a:solidFill>
              <a:srgbClr val="EAAB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3">
              <a:extLst>
                <a:ext uri="{FF2B5EF4-FFF2-40B4-BE49-F238E27FC236}">
                  <a16:creationId xmlns:a16="http://schemas.microsoft.com/office/drawing/2014/main" id="{F0DEBA5D-D15F-4745-8972-38AF243A7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8" y="930"/>
              <a:ext cx="29" cy="55"/>
            </a:xfrm>
            <a:custGeom>
              <a:avLst/>
              <a:gdLst>
                <a:gd name="T0" fmla="*/ 3 w 12"/>
                <a:gd name="T1" fmla="*/ 4 h 23"/>
                <a:gd name="T2" fmla="*/ 1 w 12"/>
                <a:gd name="T3" fmla="*/ 12 h 23"/>
                <a:gd name="T4" fmla="*/ 1 w 12"/>
                <a:gd name="T5" fmla="*/ 18 h 23"/>
                <a:gd name="T6" fmla="*/ 2 w 12"/>
                <a:gd name="T7" fmla="*/ 20 h 23"/>
                <a:gd name="T8" fmla="*/ 1 w 12"/>
                <a:gd name="T9" fmla="*/ 22 h 23"/>
                <a:gd name="T10" fmla="*/ 3 w 12"/>
                <a:gd name="T11" fmla="*/ 21 h 23"/>
                <a:gd name="T12" fmla="*/ 6 w 12"/>
                <a:gd name="T13" fmla="*/ 21 h 23"/>
                <a:gd name="T14" fmla="*/ 7 w 12"/>
                <a:gd name="T15" fmla="*/ 20 h 23"/>
                <a:gd name="T16" fmla="*/ 9 w 12"/>
                <a:gd name="T17" fmla="*/ 20 h 23"/>
                <a:gd name="T18" fmla="*/ 10 w 12"/>
                <a:gd name="T19" fmla="*/ 19 h 23"/>
                <a:gd name="T20" fmla="*/ 12 w 12"/>
                <a:gd name="T21" fmla="*/ 17 h 23"/>
                <a:gd name="T22" fmla="*/ 12 w 12"/>
                <a:gd name="T23" fmla="*/ 9 h 23"/>
                <a:gd name="T24" fmla="*/ 12 w 12"/>
                <a:gd name="T25" fmla="*/ 2 h 23"/>
                <a:gd name="T26" fmla="*/ 3 w 12"/>
                <a:gd name="T27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3">
                  <a:moveTo>
                    <a:pt x="3" y="4"/>
                  </a:moveTo>
                  <a:cubicBezTo>
                    <a:pt x="3" y="6"/>
                    <a:pt x="1" y="9"/>
                    <a:pt x="1" y="12"/>
                  </a:cubicBezTo>
                  <a:cubicBezTo>
                    <a:pt x="1" y="14"/>
                    <a:pt x="1" y="18"/>
                    <a:pt x="1" y="18"/>
                  </a:cubicBezTo>
                  <a:cubicBezTo>
                    <a:pt x="1" y="19"/>
                    <a:pt x="2" y="20"/>
                    <a:pt x="2" y="20"/>
                  </a:cubicBezTo>
                  <a:cubicBezTo>
                    <a:pt x="2" y="20"/>
                    <a:pt x="0" y="21"/>
                    <a:pt x="1" y="22"/>
                  </a:cubicBezTo>
                  <a:cubicBezTo>
                    <a:pt x="2" y="23"/>
                    <a:pt x="3" y="21"/>
                    <a:pt x="3" y="21"/>
                  </a:cubicBezTo>
                  <a:cubicBezTo>
                    <a:pt x="3" y="21"/>
                    <a:pt x="5" y="22"/>
                    <a:pt x="6" y="21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9" y="20"/>
                    <a:pt x="9" y="20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12" y="19"/>
                    <a:pt x="12" y="17"/>
                  </a:cubicBezTo>
                  <a:cubicBezTo>
                    <a:pt x="12" y="16"/>
                    <a:pt x="12" y="12"/>
                    <a:pt x="12" y="9"/>
                  </a:cubicBezTo>
                  <a:cubicBezTo>
                    <a:pt x="11" y="6"/>
                    <a:pt x="12" y="4"/>
                    <a:pt x="12" y="2"/>
                  </a:cubicBezTo>
                  <a:cubicBezTo>
                    <a:pt x="12" y="1"/>
                    <a:pt x="5" y="0"/>
                    <a:pt x="3" y="4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4">
              <a:extLst>
                <a:ext uri="{FF2B5EF4-FFF2-40B4-BE49-F238E27FC236}">
                  <a16:creationId xmlns:a16="http://schemas.microsoft.com/office/drawing/2014/main" id="{B85EA83C-14EB-4866-8850-0F17664C1B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8" y="963"/>
              <a:ext cx="5" cy="17"/>
            </a:xfrm>
            <a:custGeom>
              <a:avLst/>
              <a:gdLst>
                <a:gd name="T0" fmla="*/ 0 w 2"/>
                <a:gd name="T1" fmla="*/ 7 h 7"/>
                <a:gd name="T2" fmla="*/ 2 w 2"/>
                <a:gd name="T3" fmla="*/ 2 h 7"/>
                <a:gd name="T4" fmla="*/ 2 w 2"/>
                <a:gd name="T5" fmla="*/ 2 h 7"/>
                <a:gd name="T6" fmla="*/ 0 w 2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7">
                  <a:moveTo>
                    <a:pt x="0" y="7"/>
                  </a:moveTo>
                  <a:cubicBezTo>
                    <a:pt x="0" y="7"/>
                    <a:pt x="2" y="4"/>
                    <a:pt x="2" y="2"/>
                  </a:cubicBezTo>
                  <a:cubicBezTo>
                    <a:pt x="2" y="0"/>
                    <a:pt x="2" y="1"/>
                    <a:pt x="2" y="2"/>
                  </a:cubicBezTo>
                  <a:cubicBezTo>
                    <a:pt x="2" y="4"/>
                    <a:pt x="1" y="7"/>
                    <a:pt x="0" y="7"/>
                  </a:cubicBezTo>
                  <a:close/>
                </a:path>
              </a:pathLst>
            </a:custGeom>
            <a:solidFill>
              <a:srgbClr val="C79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55">
              <a:extLst>
                <a:ext uri="{FF2B5EF4-FFF2-40B4-BE49-F238E27FC236}">
                  <a16:creationId xmlns:a16="http://schemas.microsoft.com/office/drawing/2014/main" id="{34ADDA5A-38B1-4554-91A7-8EEBF49C6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" y="966"/>
              <a:ext cx="5" cy="12"/>
            </a:xfrm>
            <a:custGeom>
              <a:avLst/>
              <a:gdLst>
                <a:gd name="T0" fmla="*/ 0 w 2"/>
                <a:gd name="T1" fmla="*/ 5 h 5"/>
                <a:gd name="T2" fmla="*/ 1 w 2"/>
                <a:gd name="T3" fmla="*/ 0 h 5"/>
                <a:gd name="T4" fmla="*/ 0 w 2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5">
                  <a:moveTo>
                    <a:pt x="0" y="5"/>
                  </a:moveTo>
                  <a:cubicBezTo>
                    <a:pt x="1" y="4"/>
                    <a:pt x="1" y="1"/>
                    <a:pt x="1" y="0"/>
                  </a:cubicBezTo>
                  <a:cubicBezTo>
                    <a:pt x="2" y="0"/>
                    <a:pt x="1" y="4"/>
                    <a:pt x="0" y="5"/>
                  </a:cubicBezTo>
                  <a:close/>
                </a:path>
              </a:pathLst>
            </a:custGeom>
            <a:solidFill>
              <a:srgbClr val="C79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6">
              <a:extLst>
                <a:ext uri="{FF2B5EF4-FFF2-40B4-BE49-F238E27FC236}">
                  <a16:creationId xmlns:a16="http://schemas.microsoft.com/office/drawing/2014/main" id="{BF5EA542-E839-4FFF-A0C8-E9CE44A47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2" y="963"/>
              <a:ext cx="3" cy="12"/>
            </a:xfrm>
            <a:custGeom>
              <a:avLst/>
              <a:gdLst>
                <a:gd name="T0" fmla="*/ 0 w 1"/>
                <a:gd name="T1" fmla="*/ 5 h 5"/>
                <a:gd name="T2" fmla="*/ 0 w 1"/>
                <a:gd name="T3" fmla="*/ 1 h 5"/>
                <a:gd name="T4" fmla="*/ 0 w 1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5">
                  <a:moveTo>
                    <a:pt x="0" y="5"/>
                  </a:moveTo>
                  <a:cubicBezTo>
                    <a:pt x="0" y="4"/>
                    <a:pt x="0" y="1"/>
                    <a:pt x="0" y="1"/>
                  </a:cubicBezTo>
                  <a:cubicBezTo>
                    <a:pt x="1" y="0"/>
                    <a:pt x="1" y="4"/>
                    <a:pt x="0" y="5"/>
                  </a:cubicBezTo>
                  <a:close/>
                </a:path>
              </a:pathLst>
            </a:custGeom>
            <a:solidFill>
              <a:srgbClr val="C79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7">
              <a:extLst>
                <a:ext uri="{FF2B5EF4-FFF2-40B4-BE49-F238E27FC236}">
                  <a16:creationId xmlns:a16="http://schemas.microsoft.com/office/drawing/2014/main" id="{65AD4438-203A-4E8D-85C0-2F49DD32B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3" y="951"/>
              <a:ext cx="5" cy="27"/>
            </a:xfrm>
            <a:custGeom>
              <a:avLst/>
              <a:gdLst>
                <a:gd name="T0" fmla="*/ 0 w 2"/>
                <a:gd name="T1" fmla="*/ 11 h 11"/>
                <a:gd name="T2" fmla="*/ 1 w 2"/>
                <a:gd name="T3" fmla="*/ 6 h 11"/>
                <a:gd name="T4" fmla="*/ 1 w 2"/>
                <a:gd name="T5" fmla="*/ 0 h 11"/>
                <a:gd name="T6" fmla="*/ 1 w 2"/>
                <a:gd name="T7" fmla="*/ 6 h 11"/>
                <a:gd name="T8" fmla="*/ 0 w 2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1">
                  <a:moveTo>
                    <a:pt x="0" y="11"/>
                  </a:moveTo>
                  <a:cubicBezTo>
                    <a:pt x="0" y="10"/>
                    <a:pt x="1" y="8"/>
                    <a:pt x="1" y="6"/>
                  </a:cubicBezTo>
                  <a:cubicBezTo>
                    <a:pt x="1" y="5"/>
                    <a:pt x="2" y="0"/>
                    <a:pt x="1" y="0"/>
                  </a:cubicBezTo>
                  <a:cubicBezTo>
                    <a:pt x="0" y="1"/>
                    <a:pt x="1" y="4"/>
                    <a:pt x="1" y="6"/>
                  </a:cubicBezTo>
                  <a:cubicBezTo>
                    <a:pt x="1" y="7"/>
                    <a:pt x="0" y="10"/>
                    <a:pt x="0" y="11"/>
                  </a:cubicBezTo>
                  <a:close/>
                </a:path>
              </a:pathLst>
            </a:custGeom>
            <a:solidFill>
              <a:srgbClr val="C79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58">
              <a:extLst>
                <a:ext uri="{FF2B5EF4-FFF2-40B4-BE49-F238E27FC236}">
                  <a16:creationId xmlns:a16="http://schemas.microsoft.com/office/drawing/2014/main" id="{0FEF1962-567A-43EC-93C5-93CDA071D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" y="858"/>
              <a:ext cx="39" cy="16"/>
            </a:xfrm>
            <a:custGeom>
              <a:avLst/>
              <a:gdLst>
                <a:gd name="T0" fmla="*/ 0 w 16"/>
                <a:gd name="T1" fmla="*/ 0 h 7"/>
                <a:gd name="T2" fmla="*/ 2 w 16"/>
                <a:gd name="T3" fmla="*/ 6 h 7"/>
                <a:gd name="T4" fmla="*/ 8 w 16"/>
                <a:gd name="T5" fmla="*/ 6 h 7"/>
                <a:gd name="T6" fmla="*/ 14 w 16"/>
                <a:gd name="T7" fmla="*/ 6 h 7"/>
                <a:gd name="T8" fmla="*/ 16 w 16"/>
                <a:gd name="T9" fmla="*/ 4 h 7"/>
                <a:gd name="T10" fmla="*/ 14 w 16"/>
                <a:gd name="T11" fmla="*/ 7 h 7"/>
                <a:gd name="T12" fmla="*/ 8 w 16"/>
                <a:gd name="T13" fmla="*/ 7 h 7"/>
                <a:gd name="T14" fmla="*/ 2 w 16"/>
                <a:gd name="T15" fmla="*/ 6 h 7"/>
                <a:gd name="T16" fmla="*/ 0 w 16"/>
                <a:gd name="T1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7">
                  <a:moveTo>
                    <a:pt x="0" y="0"/>
                  </a:moveTo>
                  <a:cubicBezTo>
                    <a:pt x="0" y="2"/>
                    <a:pt x="0" y="5"/>
                    <a:pt x="2" y="6"/>
                  </a:cubicBezTo>
                  <a:cubicBezTo>
                    <a:pt x="3" y="6"/>
                    <a:pt x="5" y="7"/>
                    <a:pt x="8" y="6"/>
                  </a:cubicBezTo>
                  <a:cubicBezTo>
                    <a:pt x="11" y="6"/>
                    <a:pt x="13" y="6"/>
                    <a:pt x="14" y="6"/>
                  </a:cubicBezTo>
                  <a:cubicBezTo>
                    <a:pt x="15" y="5"/>
                    <a:pt x="16" y="4"/>
                    <a:pt x="16" y="4"/>
                  </a:cubicBezTo>
                  <a:cubicBezTo>
                    <a:pt x="16" y="4"/>
                    <a:pt x="15" y="6"/>
                    <a:pt x="14" y="7"/>
                  </a:cubicBezTo>
                  <a:cubicBezTo>
                    <a:pt x="14" y="7"/>
                    <a:pt x="9" y="7"/>
                    <a:pt x="8" y="7"/>
                  </a:cubicBezTo>
                  <a:cubicBezTo>
                    <a:pt x="6" y="7"/>
                    <a:pt x="2" y="7"/>
                    <a:pt x="2" y="6"/>
                  </a:cubicBezTo>
                  <a:cubicBezTo>
                    <a:pt x="1" y="6"/>
                    <a:pt x="0" y="5"/>
                    <a:pt x="0" y="0"/>
                  </a:cubicBez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59">
              <a:extLst>
                <a:ext uri="{FF2B5EF4-FFF2-40B4-BE49-F238E27FC236}">
                  <a16:creationId xmlns:a16="http://schemas.microsoft.com/office/drawing/2014/main" id="{F64E07E8-DC24-4AC2-96AB-25560894D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2" y="766"/>
              <a:ext cx="33" cy="77"/>
            </a:xfrm>
            <a:custGeom>
              <a:avLst/>
              <a:gdLst>
                <a:gd name="T0" fmla="*/ 8 w 14"/>
                <a:gd name="T1" fmla="*/ 0 h 32"/>
                <a:gd name="T2" fmla="*/ 11 w 14"/>
                <a:gd name="T3" fmla="*/ 0 h 32"/>
                <a:gd name="T4" fmla="*/ 14 w 14"/>
                <a:gd name="T5" fmla="*/ 0 h 32"/>
                <a:gd name="T6" fmla="*/ 12 w 14"/>
                <a:gd name="T7" fmla="*/ 15 h 32"/>
                <a:gd name="T8" fmla="*/ 6 w 14"/>
                <a:gd name="T9" fmla="*/ 31 h 32"/>
                <a:gd name="T10" fmla="*/ 4 w 14"/>
                <a:gd name="T11" fmla="*/ 30 h 32"/>
                <a:gd name="T12" fmla="*/ 3 w 14"/>
                <a:gd name="T13" fmla="*/ 28 h 32"/>
                <a:gd name="T14" fmla="*/ 6 w 14"/>
                <a:gd name="T15" fmla="*/ 22 h 32"/>
                <a:gd name="T16" fmla="*/ 3 w 14"/>
                <a:gd name="T17" fmla="*/ 22 h 32"/>
                <a:gd name="T18" fmla="*/ 10 w 14"/>
                <a:gd name="T19" fmla="*/ 11 h 32"/>
                <a:gd name="T20" fmla="*/ 4 w 14"/>
                <a:gd name="T21" fmla="*/ 16 h 32"/>
                <a:gd name="T22" fmla="*/ 8 w 14"/>
                <a:gd name="T23" fmla="*/ 7 h 32"/>
                <a:gd name="T24" fmla="*/ 8 w 14"/>
                <a:gd name="T2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32">
                  <a:moveTo>
                    <a:pt x="8" y="0"/>
                  </a:moveTo>
                  <a:cubicBezTo>
                    <a:pt x="9" y="0"/>
                    <a:pt x="10" y="0"/>
                    <a:pt x="11" y="0"/>
                  </a:cubicBezTo>
                  <a:cubicBezTo>
                    <a:pt x="13" y="1"/>
                    <a:pt x="14" y="0"/>
                    <a:pt x="14" y="0"/>
                  </a:cubicBezTo>
                  <a:cubicBezTo>
                    <a:pt x="14" y="0"/>
                    <a:pt x="13" y="9"/>
                    <a:pt x="12" y="15"/>
                  </a:cubicBezTo>
                  <a:cubicBezTo>
                    <a:pt x="10" y="20"/>
                    <a:pt x="9" y="28"/>
                    <a:pt x="6" y="31"/>
                  </a:cubicBezTo>
                  <a:cubicBezTo>
                    <a:pt x="5" y="31"/>
                    <a:pt x="5" y="30"/>
                    <a:pt x="4" y="30"/>
                  </a:cubicBezTo>
                  <a:cubicBezTo>
                    <a:pt x="2" y="32"/>
                    <a:pt x="6" y="26"/>
                    <a:pt x="3" y="28"/>
                  </a:cubicBezTo>
                  <a:cubicBezTo>
                    <a:pt x="1" y="30"/>
                    <a:pt x="5" y="24"/>
                    <a:pt x="6" y="22"/>
                  </a:cubicBezTo>
                  <a:cubicBezTo>
                    <a:pt x="7" y="20"/>
                    <a:pt x="6" y="20"/>
                    <a:pt x="3" y="22"/>
                  </a:cubicBezTo>
                  <a:cubicBezTo>
                    <a:pt x="0" y="24"/>
                    <a:pt x="9" y="14"/>
                    <a:pt x="10" y="11"/>
                  </a:cubicBezTo>
                  <a:cubicBezTo>
                    <a:pt x="12" y="8"/>
                    <a:pt x="6" y="13"/>
                    <a:pt x="4" y="16"/>
                  </a:cubicBezTo>
                  <a:cubicBezTo>
                    <a:pt x="2" y="20"/>
                    <a:pt x="7" y="10"/>
                    <a:pt x="8" y="7"/>
                  </a:cubicBezTo>
                  <a:cubicBezTo>
                    <a:pt x="9" y="4"/>
                    <a:pt x="9" y="1"/>
                    <a:pt x="8" y="0"/>
                  </a:cubicBez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60">
              <a:extLst>
                <a:ext uri="{FF2B5EF4-FFF2-40B4-BE49-F238E27FC236}">
                  <a16:creationId xmlns:a16="http://schemas.microsoft.com/office/drawing/2014/main" id="{81DEA1F1-57EF-4A30-9C24-E2A6C554A2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" y="756"/>
              <a:ext cx="65" cy="159"/>
            </a:xfrm>
            <a:custGeom>
              <a:avLst/>
              <a:gdLst>
                <a:gd name="T0" fmla="*/ 17 w 27"/>
                <a:gd name="T1" fmla="*/ 66 h 66"/>
                <a:gd name="T2" fmla="*/ 17 w 27"/>
                <a:gd name="T3" fmla="*/ 62 h 66"/>
                <a:gd name="T4" fmla="*/ 13 w 27"/>
                <a:gd name="T5" fmla="*/ 43 h 66"/>
                <a:gd name="T6" fmla="*/ 17 w 27"/>
                <a:gd name="T7" fmla="*/ 27 h 66"/>
                <a:gd name="T8" fmla="*/ 25 w 27"/>
                <a:gd name="T9" fmla="*/ 0 h 66"/>
                <a:gd name="T10" fmla="*/ 19 w 27"/>
                <a:gd name="T11" fmla="*/ 0 h 66"/>
                <a:gd name="T12" fmla="*/ 14 w 27"/>
                <a:gd name="T13" fmla="*/ 15 h 66"/>
                <a:gd name="T14" fmla="*/ 10 w 27"/>
                <a:gd name="T15" fmla="*/ 21 h 66"/>
                <a:gd name="T16" fmla="*/ 9 w 27"/>
                <a:gd name="T17" fmla="*/ 27 h 66"/>
                <a:gd name="T18" fmla="*/ 4 w 27"/>
                <a:gd name="T19" fmla="*/ 30 h 66"/>
                <a:gd name="T20" fmla="*/ 9 w 27"/>
                <a:gd name="T21" fmla="*/ 37 h 66"/>
                <a:gd name="T22" fmla="*/ 12 w 27"/>
                <a:gd name="T23" fmla="*/ 42 h 66"/>
                <a:gd name="T24" fmla="*/ 12 w 27"/>
                <a:gd name="T25" fmla="*/ 50 h 66"/>
                <a:gd name="T26" fmla="*/ 14 w 27"/>
                <a:gd name="T27" fmla="*/ 56 h 66"/>
                <a:gd name="T28" fmla="*/ 13 w 27"/>
                <a:gd name="T29" fmla="*/ 64 h 66"/>
                <a:gd name="T30" fmla="*/ 17 w 27"/>
                <a:gd name="T3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7" h="66">
                  <a:moveTo>
                    <a:pt x="17" y="66"/>
                  </a:moveTo>
                  <a:cubicBezTo>
                    <a:pt x="18" y="65"/>
                    <a:pt x="18" y="64"/>
                    <a:pt x="17" y="62"/>
                  </a:cubicBezTo>
                  <a:cubicBezTo>
                    <a:pt x="16" y="57"/>
                    <a:pt x="12" y="50"/>
                    <a:pt x="13" y="43"/>
                  </a:cubicBezTo>
                  <a:cubicBezTo>
                    <a:pt x="15" y="36"/>
                    <a:pt x="13" y="38"/>
                    <a:pt x="17" y="27"/>
                  </a:cubicBezTo>
                  <a:cubicBezTo>
                    <a:pt x="20" y="17"/>
                    <a:pt x="27" y="4"/>
                    <a:pt x="25" y="0"/>
                  </a:cubicBezTo>
                  <a:cubicBezTo>
                    <a:pt x="23" y="0"/>
                    <a:pt x="22" y="0"/>
                    <a:pt x="19" y="0"/>
                  </a:cubicBezTo>
                  <a:cubicBezTo>
                    <a:pt x="17" y="3"/>
                    <a:pt x="14" y="11"/>
                    <a:pt x="14" y="15"/>
                  </a:cubicBezTo>
                  <a:cubicBezTo>
                    <a:pt x="14" y="18"/>
                    <a:pt x="8" y="20"/>
                    <a:pt x="10" y="21"/>
                  </a:cubicBezTo>
                  <a:cubicBezTo>
                    <a:pt x="12" y="22"/>
                    <a:pt x="7" y="25"/>
                    <a:pt x="9" y="27"/>
                  </a:cubicBezTo>
                  <a:cubicBezTo>
                    <a:pt x="10" y="28"/>
                    <a:pt x="0" y="28"/>
                    <a:pt x="4" y="30"/>
                  </a:cubicBezTo>
                  <a:cubicBezTo>
                    <a:pt x="8" y="32"/>
                    <a:pt x="8" y="36"/>
                    <a:pt x="9" y="37"/>
                  </a:cubicBezTo>
                  <a:cubicBezTo>
                    <a:pt x="11" y="38"/>
                    <a:pt x="10" y="41"/>
                    <a:pt x="12" y="42"/>
                  </a:cubicBezTo>
                  <a:cubicBezTo>
                    <a:pt x="13" y="43"/>
                    <a:pt x="13" y="48"/>
                    <a:pt x="12" y="50"/>
                  </a:cubicBezTo>
                  <a:cubicBezTo>
                    <a:pt x="12" y="53"/>
                    <a:pt x="13" y="54"/>
                    <a:pt x="14" y="56"/>
                  </a:cubicBezTo>
                  <a:cubicBezTo>
                    <a:pt x="15" y="57"/>
                    <a:pt x="12" y="63"/>
                    <a:pt x="13" y="64"/>
                  </a:cubicBezTo>
                  <a:cubicBezTo>
                    <a:pt x="14" y="66"/>
                    <a:pt x="18" y="64"/>
                    <a:pt x="17" y="66"/>
                  </a:cubicBez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61">
              <a:extLst>
                <a:ext uri="{FF2B5EF4-FFF2-40B4-BE49-F238E27FC236}">
                  <a16:creationId xmlns:a16="http://schemas.microsoft.com/office/drawing/2014/main" id="{F4E4B5CE-D28D-43EC-BB60-CAFB1D90C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8" y="631"/>
              <a:ext cx="77" cy="118"/>
            </a:xfrm>
            <a:custGeom>
              <a:avLst/>
              <a:gdLst>
                <a:gd name="T0" fmla="*/ 0 w 32"/>
                <a:gd name="T1" fmla="*/ 19 h 49"/>
                <a:gd name="T2" fmla="*/ 17 w 32"/>
                <a:gd name="T3" fmla="*/ 35 h 49"/>
                <a:gd name="T4" fmla="*/ 24 w 32"/>
                <a:gd name="T5" fmla="*/ 47 h 49"/>
                <a:gd name="T6" fmla="*/ 32 w 32"/>
                <a:gd name="T7" fmla="*/ 49 h 49"/>
                <a:gd name="T8" fmla="*/ 24 w 32"/>
                <a:gd name="T9" fmla="*/ 34 h 49"/>
                <a:gd name="T10" fmla="*/ 0 w 32"/>
                <a:gd name="T11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49">
                  <a:moveTo>
                    <a:pt x="0" y="19"/>
                  </a:moveTo>
                  <a:cubicBezTo>
                    <a:pt x="6" y="17"/>
                    <a:pt x="14" y="24"/>
                    <a:pt x="17" y="35"/>
                  </a:cubicBezTo>
                  <a:cubicBezTo>
                    <a:pt x="18" y="40"/>
                    <a:pt x="20" y="46"/>
                    <a:pt x="24" y="47"/>
                  </a:cubicBezTo>
                  <a:cubicBezTo>
                    <a:pt x="27" y="48"/>
                    <a:pt x="32" y="49"/>
                    <a:pt x="32" y="49"/>
                  </a:cubicBezTo>
                  <a:cubicBezTo>
                    <a:pt x="32" y="49"/>
                    <a:pt x="27" y="43"/>
                    <a:pt x="24" y="34"/>
                  </a:cubicBezTo>
                  <a:cubicBezTo>
                    <a:pt x="21" y="25"/>
                    <a:pt x="14" y="0"/>
                    <a:pt x="0" y="19"/>
                  </a:cubicBezTo>
                  <a:close/>
                </a:path>
              </a:pathLst>
            </a:custGeom>
            <a:solidFill>
              <a:srgbClr val="9C65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62">
              <a:extLst>
                <a:ext uri="{FF2B5EF4-FFF2-40B4-BE49-F238E27FC236}">
                  <a16:creationId xmlns:a16="http://schemas.microsoft.com/office/drawing/2014/main" id="{887B83E6-90B1-4D15-BC60-589F3609D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3" y="752"/>
              <a:ext cx="41" cy="195"/>
            </a:xfrm>
            <a:custGeom>
              <a:avLst/>
              <a:gdLst>
                <a:gd name="T0" fmla="*/ 11 w 17"/>
                <a:gd name="T1" fmla="*/ 1 h 81"/>
                <a:gd name="T2" fmla="*/ 14 w 17"/>
                <a:gd name="T3" fmla="*/ 10 h 81"/>
                <a:gd name="T4" fmla="*/ 16 w 17"/>
                <a:gd name="T5" fmla="*/ 32 h 81"/>
                <a:gd name="T6" fmla="*/ 13 w 17"/>
                <a:gd name="T7" fmla="*/ 70 h 81"/>
                <a:gd name="T8" fmla="*/ 11 w 17"/>
                <a:gd name="T9" fmla="*/ 81 h 81"/>
                <a:gd name="T10" fmla="*/ 0 w 17"/>
                <a:gd name="T11" fmla="*/ 79 h 81"/>
                <a:gd name="T12" fmla="*/ 2 w 17"/>
                <a:gd name="T13" fmla="*/ 60 h 81"/>
                <a:gd name="T14" fmla="*/ 4 w 17"/>
                <a:gd name="T15" fmla="*/ 31 h 81"/>
                <a:gd name="T16" fmla="*/ 11 w 17"/>
                <a:gd name="T17" fmla="*/ 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81">
                  <a:moveTo>
                    <a:pt x="11" y="1"/>
                  </a:moveTo>
                  <a:cubicBezTo>
                    <a:pt x="16" y="1"/>
                    <a:pt x="15" y="4"/>
                    <a:pt x="14" y="10"/>
                  </a:cubicBezTo>
                  <a:cubicBezTo>
                    <a:pt x="13" y="16"/>
                    <a:pt x="17" y="17"/>
                    <a:pt x="16" y="32"/>
                  </a:cubicBezTo>
                  <a:cubicBezTo>
                    <a:pt x="15" y="47"/>
                    <a:pt x="14" y="62"/>
                    <a:pt x="13" y="70"/>
                  </a:cubicBezTo>
                  <a:cubicBezTo>
                    <a:pt x="12" y="78"/>
                    <a:pt x="11" y="81"/>
                    <a:pt x="11" y="81"/>
                  </a:cubicBezTo>
                  <a:cubicBezTo>
                    <a:pt x="10" y="79"/>
                    <a:pt x="3" y="77"/>
                    <a:pt x="0" y="79"/>
                  </a:cubicBezTo>
                  <a:cubicBezTo>
                    <a:pt x="0" y="79"/>
                    <a:pt x="0" y="73"/>
                    <a:pt x="2" y="60"/>
                  </a:cubicBezTo>
                  <a:cubicBezTo>
                    <a:pt x="5" y="47"/>
                    <a:pt x="4" y="41"/>
                    <a:pt x="4" y="31"/>
                  </a:cubicBezTo>
                  <a:cubicBezTo>
                    <a:pt x="3" y="22"/>
                    <a:pt x="2" y="0"/>
                    <a:pt x="11" y="1"/>
                  </a:cubicBezTo>
                  <a:close/>
                </a:path>
              </a:pathLst>
            </a:custGeom>
            <a:solidFill>
              <a:srgbClr val="7229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63">
              <a:extLst>
                <a:ext uri="{FF2B5EF4-FFF2-40B4-BE49-F238E27FC236}">
                  <a16:creationId xmlns:a16="http://schemas.microsoft.com/office/drawing/2014/main" id="{9C15DF74-81A2-4999-9A76-E3108A6E22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0" y="735"/>
              <a:ext cx="24" cy="41"/>
            </a:xfrm>
            <a:custGeom>
              <a:avLst/>
              <a:gdLst>
                <a:gd name="T0" fmla="*/ 4 w 10"/>
                <a:gd name="T1" fmla="*/ 17 h 17"/>
                <a:gd name="T2" fmla="*/ 0 w 10"/>
                <a:gd name="T3" fmla="*/ 13 h 17"/>
                <a:gd name="T4" fmla="*/ 9 w 10"/>
                <a:gd name="T5" fmla="*/ 1 h 17"/>
                <a:gd name="T6" fmla="*/ 9 w 10"/>
                <a:gd name="T7" fmla="*/ 0 h 17"/>
                <a:gd name="T8" fmla="*/ 7 w 10"/>
                <a:gd name="T9" fmla="*/ 10 h 17"/>
                <a:gd name="T10" fmla="*/ 4 w 10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7">
                  <a:moveTo>
                    <a:pt x="4" y="17"/>
                  </a:moveTo>
                  <a:cubicBezTo>
                    <a:pt x="3" y="15"/>
                    <a:pt x="2" y="13"/>
                    <a:pt x="0" y="13"/>
                  </a:cubicBezTo>
                  <a:cubicBezTo>
                    <a:pt x="0" y="12"/>
                    <a:pt x="5" y="6"/>
                    <a:pt x="9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3"/>
                    <a:pt x="9" y="7"/>
                    <a:pt x="7" y="10"/>
                  </a:cubicBezTo>
                  <a:cubicBezTo>
                    <a:pt x="6" y="12"/>
                    <a:pt x="5" y="14"/>
                    <a:pt x="4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64">
              <a:extLst>
                <a:ext uri="{FF2B5EF4-FFF2-40B4-BE49-F238E27FC236}">
                  <a16:creationId xmlns:a16="http://schemas.microsoft.com/office/drawing/2014/main" id="{3878E14E-D7C6-4AF2-8769-B81625BA23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7" y="1067"/>
              <a:ext cx="34" cy="67"/>
            </a:xfrm>
            <a:custGeom>
              <a:avLst/>
              <a:gdLst>
                <a:gd name="T0" fmla="*/ 4 w 14"/>
                <a:gd name="T1" fmla="*/ 5 h 28"/>
                <a:gd name="T2" fmla="*/ 3 w 14"/>
                <a:gd name="T3" fmla="*/ 11 h 28"/>
                <a:gd name="T4" fmla="*/ 3 w 14"/>
                <a:gd name="T5" fmla="*/ 19 h 28"/>
                <a:gd name="T6" fmla="*/ 4 w 14"/>
                <a:gd name="T7" fmla="*/ 22 h 28"/>
                <a:gd name="T8" fmla="*/ 6 w 14"/>
                <a:gd name="T9" fmla="*/ 17 h 28"/>
                <a:gd name="T10" fmla="*/ 7 w 14"/>
                <a:gd name="T11" fmla="*/ 13 h 28"/>
                <a:gd name="T12" fmla="*/ 7 w 14"/>
                <a:gd name="T13" fmla="*/ 19 h 28"/>
                <a:gd name="T14" fmla="*/ 5 w 14"/>
                <a:gd name="T15" fmla="*/ 23 h 28"/>
                <a:gd name="T16" fmla="*/ 0 w 14"/>
                <a:gd name="T17" fmla="*/ 26 h 28"/>
                <a:gd name="T18" fmla="*/ 5 w 14"/>
                <a:gd name="T19" fmla="*/ 26 h 28"/>
                <a:gd name="T20" fmla="*/ 10 w 14"/>
                <a:gd name="T21" fmla="*/ 22 h 28"/>
                <a:gd name="T22" fmla="*/ 13 w 14"/>
                <a:gd name="T23" fmla="*/ 14 h 28"/>
                <a:gd name="T24" fmla="*/ 13 w 14"/>
                <a:gd name="T25" fmla="*/ 3 h 28"/>
                <a:gd name="T26" fmla="*/ 4 w 14"/>
                <a:gd name="T27" fmla="*/ 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" h="28">
                  <a:moveTo>
                    <a:pt x="4" y="5"/>
                  </a:moveTo>
                  <a:cubicBezTo>
                    <a:pt x="3" y="6"/>
                    <a:pt x="3" y="10"/>
                    <a:pt x="3" y="11"/>
                  </a:cubicBezTo>
                  <a:cubicBezTo>
                    <a:pt x="3" y="13"/>
                    <a:pt x="3" y="17"/>
                    <a:pt x="3" y="19"/>
                  </a:cubicBezTo>
                  <a:cubicBezTo>
                    <a:pt x="2" y="21"/>
                    <a:pt x="2" y="22"/>
                    <a:pt x="4" y="22"/>
                  </a:cubicBezTo>
                  <a:cubicBezTo>
                    <a:pt x="5" y="22"/>
                    <a:pt x="6" y="21"/>
                    <a:pt x="6" y="17"/>
                  </a:cubicBezTo>
                  <a:cubicBezTo>
                    <a:pt x="6" y="13"/>
                    <a:pt x="7" y="12"/>
                    <a:pt x="7" y="13"/>
                  </a:cubicBezTo>
                  <a:cubicBezTo>
                    <a:pt x="8" y="14"/>
                    <a:pt x="8" y="18"/>
                    <a:pt x="7" y="19"/>
                  </a:cubicBezTo>
                  <a:cubicBezTo>
                    <a:pt x="7" y="21"/>
                    <a:pt x="6" y="22"/>
                    <a:pt x="5" y="23"/>
                  </a:cubicBezTo>
                  <a:cubicBezTo>
                    <a:pt x="4" y="24"/>
                    <a:pt x="0" y="25"/>
                    <a:pt x="0" y="26"/>
                  </a:cubicBezTo>
                  <a:cubicBezTo>
                    <a:pt x="0" y="28"/>
                    <a:pt x="3" y="27"/>
                    <a:pt x="5" y="26"/>
                  </a:cubicBezTo>
                  <a:cubicBezTo>
                    <a:pt x="7" y="25"/>
                    <a:pt x="9" y="26"/>
                    <a:pt x="10" y="22"/>
                  </a:cubicBezTo>
                  <a:cubicBezTo>
                    <a:pt x="12" y="19"/>
                    <a:pt x="14" y="16"/>
                    <a:pt x="13" y="14"/>
                  </a:cubicBezTo>
                  <a:cubicBezTo>
                    <a:pt x="13" y="13"/>
                    <a:pt x="12" y="6"/>
                    <a:pt x="13" y="3"/>
                  </a:cubicBezTo>
                  <a:cubicBezTo>
                    <a:pt x="14" y="0"/>
                    <a:pt x="5" y="1"/>
                    <a:pt x="4" y="5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65">
              <a:extLst>
                <a:ext uri="{FF2B5EF4-FFF2-40B4-BE49-F238E27FC236}">
                  <a16:creationId xmlns:a16="http://schemas.microsoft.com/office/drawing/2014/main" id="{78FE01F9-C7DF-4279-B91F-C1FA88DCC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4" y="1064"/>
              <a:ext cx="27" cy="17"/>
            </a:xfrm>
            <a:custGeom>
              <a:avLst/>
              <a:gdLst>
                <a:gd name="T0" fmla="*/ 11 w 11"/>
                <a:gd name="T1" fmla="*/ 3 h 7"/>
                <a:gd name="T2" fmla="*/ 11 w 11"/>
                <a:gd name="T3" fmla="*/ 6 h 7"/>
                <a:gd name="T4" fmla="*/ 6 w 11"/>
                <a:gd name="T5" fmla="*/ 5 h 7"/>
                <a:gd name="T6" fmla="*/ 0 w 11"/>
                <a:gd name="T7" fmla="*/ 7 h 7"/>
                <a:gd name="T8" fmla="*/ 0 w 11"/>
                <a:gd name="T9" fmla="*/ 3 h 7"/>
                <a:gd name="T10" fmla="*/ 11 w 11"/>
                <a:gd name="T1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11" y="3"/>
                  </a:move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8" y="5"/>
                    <a:pt x="6" y="5"/>
                  </a:cubicBezTo>
                  <a:cubicBezTo>
                    <a:pt x="4" y="5"/>
                    <a:pt x="0" y="7"/>
                    <a:pt x="0" y="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8" y="0"/>
                    <a:pt x="1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66">
              <a:extLst>
                <a:ext uri="{FF2B5EF4-FFF2-40B4-BE49-F238E27FC236}">
                  <a16:creationId xmlns:a16="http://schemas.microsoft.com/office/drawing/2014/main" id="{B61A6E93-1AFE-407F-924E-624F650AB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4" y="843"/>
              <a:ext cx="69" cy="238"/>
            </a:xfrm>
            <a:custGeom>
              <a:avLst/>
              <a:gdLst>
                <a:gd name="T0" fmla="*/ 8 w 29"/>
                <a:gd name="T1" fmla="*/ 0 h 99"/>
                <a:gd name="T2" fmla="*/ 16 w 29"/>
                <a:gd name="T3" fmla="*/ 12 h 99"/>
                <a:gd name="T4" fmla="*/ 21 w 29"/>
                <a:gd name="T5" fmla="*/ 44 h 99"/>
                <a:gd name="T6" fmla="*/ 26 w 29"/>
                <a:gd name="T7" fmla="*/ 61 h 99"/>
                <a:gd name="T8" fmla="*/ 27 w 29"/>
                <a:gd name="T9" fmla="*/ 78 h 99"/>
                <a:gd name="T10" fmla="*/ 28 w 29"/>
                <a:gd name="T11" fmla="*/ 91 h 99"/>
                <a:gd name="T12" fmla="*/ 27 w 29"/>
                <a:gd name="T13" fmla="*/ 95 h 99"/>
                <a:gd name="T14" fmla="*/ 22 w 29"/>
                <a:gd name="T15" fmla="*/ 95 h 99"/>
                <a:gd name="T16" fmla="*/ 17 w 29"/>
                <a:gd name="T17" fmla="*/ 98 h 99"/>
                <a:gd name="T18" fmla="*/ 16 w 29"/>
                <a:gd name="T19" fmla="*/ 93 h 99"/>
                <a:gd name="T20" fmla="*/ 14 w 29"/>
                <a:gd name="T21" fmla="*/ 82 h 99"/>
                <a:gd name="T22" fmla="*/ 12 w 29"/>
                <a:gd name="T23" fmla="*/ 73 h 99"/>
                <a:gd name="T24" fmla="*/ 9 w 29"/>
                <a:gd name="T25" fmla="*/ 64 h 99"/>
                <a:gd name="T26" fmla="*/ 6 w 29"/>
                <a:gd name="T27" fmla="*/ 45 h 99"/>
                <a:gd name="T28" fmla="*/ 8 w 29"/>
                <a:gd name="T2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" h="99">
                  <a:moveTo>
                    <a:pt x="8" y="0"/>
                  </a:moveTo>
                  <a:cubicBezTo>
                    <a:pt x="13" y="0"/>
                    <a:pt x="15" y="0"/>
                    <a:pt x="16" y="12"/>
                  </a:cubicBezTo>
                  <a:cubicBezTo>
                    <a:pt x="18" y="25"/>
                    <a:pt x="21" y="40"/>
                    <a:pt x="21" y="44"/>
                  </a:cubicBezTo>
                  <a:cubicBezTo>
                    <a:pt x="22" y="49"/>
                    <a:pt x="26" y="54"/>
                    <a:pt x="26" y="61"/>
                  </a:cubicBezTo>
                  <a:cubicBezTo>
                    <a:pt x="25" y="67"/>
                    <a:pt x="27" y="74"/>
                    <a:pt x="27" y="78"/>
                  </a:cubicBezTo>
                  <a:cubicBezTo>
                    <a:pt x="27" y="82"/>
                    <a:pt x="27" y="86"/>
                    <a:pt x="28" y="91"/>
                  </a:cubicBezTo>
                  <a:cubicBezTo>
                    <a:pt x="28" y="96"/>
                    <a:pt x="29" y="96"/>
                    <a:pt x="27" y="95"/>
                  </a:cubicBezTo>
                  <a:cubicBezTo>
                    <a:pt x="26" y="95"/>
                    <a:pt x="24" y="95"/>
                    <a:pt x="22" y="95"/>
                  </a:cubicBezTo>
                  <a:cubicBezTo>
                    <a:pt x="20" y="96"/>
                    <a:pt x="18" y="97"/>
                    <a:pt x="17" y="98"/>
                  </a:cubicBezTo>
                  <a:cubicBezTo>
                    <a:pt x="16" y="99"/>
                    <a:pt x="16" y="98"/>
                    <a:pt x="16" y="93"/>
                  </a:cubicBezTo>
                  <a:cubicBezTo>
                    <a:pt x="16" y="89"/>
                    <a:pt x="16" y="85"/>
                    <a:pt x="14" y="82"/>
                  </a:cubicBezTo>
                  <a:cubicBezTo>
                    <a:pt x="13" y="80"/>
                    <a:pt x="12" y="76"/>
                    <a:pt x="12" y="73"/>
                  </a:cubicBezTo>
                  <a:cubicBezTo>
                    <a:pt x="12" y="69"/>
                    <a:pt x="12" y="70"/>
                    <a:pt x="9" y="64"/>
                  </a:cubicBezTo>
                  <a:cubicBezTo>
                    <a:pt x="7" y="58"/>
                    <a:pt x="9" y="54"/>
                    <a:pt x="6" y="45"/>
                  </a:cubicBezTo>
                  <a:cubicBezTo>
                    <a:pt x="3" y="36"/>
                    <a:pt x="0" y="0"/>
                    <a:pt x="8" y="0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67">
              <a:extLst>
                <a:ext uri="{FF2B5EF4-FFF2-40B4-BE49-F238E27FC236}">
                  <a16:creationId xmlns:a16="http://schemas.microsoft.com/office/drawing/2014/main" id="{A8A34642-AECE-46BE-82D4-94470E690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0" y="947"/>
              <a:ext cx="41" cy="127"/>
            </a:xfrm>
            <a:custGeom>
              <a:avLst/>
              <a:gdLst>
                <a:gd name="T0" fmla="*/ 13 w 17"/>
                <a:gd name="T1" fmla="*/ 53 h 53"/>
                <a:gd name="T2" fmla="*/ 5 w 17"/>
                <a:gd name="T3" fmla="*/ 30 h 53"/>
                <a:gd name="T4" fmla="*/ 2 w 17"/>
                <a:gd name="T5" fmla="*/ 21 h 53"/>
                <a:gd name="T6" fmla="*/ 3 w 17"/>
                <a:gd name="T7" fmla="*/ 1 h 53"/>
                <a:gd name="T8" fmla="*/ 4 w 17"/>
                <a:gd name="T9" fmla="*/ 0 h 53"/>
                <a:gd name="T10" fmla="*/ 10 w 17"/>
                <a:gd name="T11" fmla="*/ 12 h 53"/>
                <a:gd name="T12" fmla="*/ 9 w 17"/>
                <a:gd name="T13" fmla="*/ 16 h 53"/>
                <a:gd name="T14" fmla="*/ 9 w 17"/>
                <a:gd name="T15" fmla="*/ 18 h 53"/>
                <a:gd name="T16" fmla="*/ 9 w 17"/>
                <a:gd name="T17" fmla="*/ 21 h 53"/>
                <a:gd name="T18" fmla="*/ 11 w 17"/>
                <a:gd name="T19" fmla="*/ 30 h 53"/>
                <a:gd name="T20" fmla="*/ 13 w 17"/>
                <a:gd name="T21" fmla="*/ 38 h 53"/>
                <a:gd name="T22" fmla="*/ 13 w 17"/>
                <a:gd name="T2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53">
                  <a:moveTo>
                    <a:pt x="13" y="53"/>
                  </a:moveTo>
                  <a:cubicBezTo>
                    <a:pt x="12" y="51"/>
                    <a:pt x="5" y="33"/>
                    <a:pt x="5" y="30"/>
                  </a:cubicBezTo>
                  <a:cubicBezTo>
                    <a:pt x="5" y="26"/>
                    <a:pt x="5" y="27"/>
                    <a:pt x="2" y="21"/>
                  </a:cubicBezTo>
                  <a:cubicBezTo>
                    <a:pt x="0" y="15"/>
                    <a:pt x="0" y="10"/>
                    <a:pt x="3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6"/>
                    <a:pt x="7" y="12"/>
                    <a:pt x="10" y="12"/>
                  </a:cubicBezTo>
                  <a:cubicBezTo>
                    <a:pt x="13" y="12"/>
                    <a:pt x="14" y="16"/>
                    <a:pt x="9" y="16"/>
                  </a:cubicBezTo>
                  <a:cubicBezTo>
                    <a:pt x="5" y="15"/>
                    <a:pt x="7" y="17"/>
                    <a:pt x="9" y="18"/>
                  </a:cubicBezTo>
                  <a:cubicBezTo>
                    <a:pt x="11" y="18"/>
                    <a:pt x="12" y="20"/>
                    <a:pt x="9" y="21"/>
                  </a:cubicBezTo>
                  <a:cubicBezTo>
                    <a:pt x="7" y="21"/>
                    <a:pt x="6" y="26"/>
                    <a:pt x="11" y="30"/>
                  </a:cubicBezTo>
                  <a:cubicBezTo>
                    <a:pt x="15" y="33"/>
                    <a:pt x="17" y="39"/>
                    <a:pt x="13" y="38"/>
                  </a:cubicBezTo>
                  <a:cubicBezTo>
                    <a:pt x="10" y="37"/>
                    <a:pt x="13" y="50"/>
                    <a:pt x="13" y="53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68">
              <a:extLst>
                <a:ext uri="{FF2B5EF4-FFF2-40B4-BE49-F238E27FC236}">
                  <a16:creationId xmlns:a16="http://schemas.microsoft.com/office/drawing/2014/main" id="{E4250B10-E9FA-45AE-A171-5DC2AE772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1" y="1397"/>
              <a:ext cx="46" cy="60"/>
            </a:xfrm>
            <a:custGeom>
              <a:avLst/>
              <a:gdLst>
                <a:gd name="T0" fmla="*/ 4 w 19"/>
                <a:gd name="T1" fmla="*/ 6 h 25"/>
                <a:gd name="T2" fmla="*/ 3 w 19"/>
                <a:gd name="T3" fmla="*/ 12 h 25"/>
                <a:gd name="T4" fmla="*/ 1 w 19"/>
                <a:gd name="T5" fmla="*/ 20 h 25"/>
                <a:gd name="T6" fmla="*/ 11 w 19"/>
                <a:gd name="T7" fmla="*/ 25 h 25"/>
                <a:gd name="T8" fmla="*/ 19 w 19"/>
                <a:gd name="T9" fmla="*/ 21 h 25"/>
                <a:gd name="T10" fmla="*/ 17 w 19"/>
                <a:gd name="T11" fmla="*/ 11 h 25"/>
                <a:gd name="T12" fmla="*/ 17 w 19"/>
                <a:gd name="T13" fmla="*/ 1 h 25"/>
                <a:gd name="T14" fmla="*/ 4 w 19"/>
                <a:gd name="T15" fmla="*/ 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5">
                  <a:moveTo>
                    <a:pt x="4" y="6"/>
                  </a:moveTo>
                  <a:cubicBezTo>
                    <a:pt x="4" y="7"/>
                    <a:pt x="3" y="10"/>
                    <a:pt x="3" y="12"/>
                  </a:cubicBezTo>
                  <a:cubicBezTo>
                    <a:pt x="2" y="14"/>
                    <a:pt x="0" y="18"/>
                    <a:pt x="1" y="20"/>
                  </a:cubicBezTo>
                  <a:cubicBezTo>
                    <a:pt x="1" y="22"/>
                    <a:pt x="6" y="25"/>
                    <a:pt x="11" y="25"/>
                  </a:cubicBezTo>
                  <a:cubicBezTo>
                    <a:pt x="16" y="25"/>
                    <a:pt x="19" y="23"/>
                    <a:pt x="19" y="21"/>
                  </a:cubicBezTo>
                  <a:cubicBezTo>
                    <a:pt x="18" y="18"/>
                    <a:pt x="17" y="14"/>
                    <a:pt x="17" y="11"/>
                  </a:cubicBezTo>
                  <a:cubicBezTo>
                    <a:pt x="17" y="7"/>
                    <a:pt x="17" y="3"/>
                    <a:pt x="17" y="1"/>
                  </a:cubicBezTo>
                  <a:cubicBezTo>
                    <a:pt x="17" y="0"/>
                    <a:pt x="5" y="1"/>
                    <a:pt x="4" y="6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69">
              <a:extLst>
                <a:ext uri="{FF2B5EF4-FFF2-40B4-BE49-F238E27FC236}">
                  <a16:creationId xmlns:a16="http://schemas.microsoft.com/office/drawing/2014/main" id="{70F4D1C0-187D-4000-8DEF-5F0CE73756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7" y="1375"/>
              <a:ext cx="92" cy="65"/>
            </a:xfrm>
            <a:custGeom>
              <a:avLst/>
              <a:gdLst>
                <a:gd name="T0" fmla="*/ 3 w 38"/>
                <a:gd name="T1" fmla="*/ 4 h 27"/>
                <a:gd name="T2" fmla="*/ 0 w 38"/>
                <a:gd name="T3" fmla="*/ 13 h 27"/>
                <a:gd name="T4" fmla="*/ 3 w 38"/>
                <a:gd name="T5" fmla="*/ 16 h 27"/>
                <a:gd name="T6" fmla="*/ 8 w 38"/>
                <a:gd name="T7" fmla="*/ 18 h 27"/>
                <a:gd name="T8" fmla="*/ 9 w 38"/>
                <a:gd name="T9" fmla="*/ 15 h 27"/>
                <a:gd name="T10" fmla="*/ 14 w 38"/>
                <a:gd name="T11" fmla="*/ 20 h 27"/>
                <a:gd name="T12" fmla="*/ 23 w 38"/>
                <a:gd name="T13" fmla="*/ 26 h 27"/>
                <a:gd name="T14" fmla="*/ 36 w 38"/>
                <a:gd name="T15" fmla="*/ 27 h 27"/>
                <a:gd name="T16" fmla="*/ 36 w 38"/>
                <a:gd name="T17" fmla="*/ 24 h 27"/>
                <a:gd name="T18" fmla="*/ 25 w 38"/>
                <a:gd name="T19" fmla="*/ 18 h 27"/>
                <a:gd name="T20" fmla="*/ 23 w 38"/>
                <a:gd name="T21" fmla="*/ 7 h 27"/>
                <a:gd name="T22" fmla="*/ 3 w 38"/>
                <a:gd name="T23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27">
                  <a:moveTo>
                    <a:pt x="3" y="4"/>
                  </a:moveTo>
                  <a:cubicBezTo>
                    <a:pt x="2" y="6"/>
                    <a:pt x="0" y="11"/>
                    <a:pt x="0" y="13"/>
                  </a:cubicBezTo>
                  <a:cubicBezTo>
                    <a:pt x="0" y="14"/>
                    <a:pt x="1" y="14"/>
                    <a:pt x="3" y="16"/>
                  </a:cubicBezTo>
                  <a:cubicBezTo>
                    <a:pt x="6" y="17"/>
                    <a:pt x="8" y="18"/>
                    <a:pt x="8" y="18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12" y="18"/>
                    <a:pt x="14" y="20"/>
                  </a:cubicBezTo>
                  <a:cubicBezTo>
                    <a:pt x="15" y="22"/>
                    <a:pt x="18" y="26"/>
                    <a:pt x="23" y="26"/>
                  </a:cubicBezTo>
                  <a:cubicBezTo>
                    <a:pt x="27" y="27"/>
                    <a:pt x="35" y="27"/>
                    <a:pt x="36" y="27"/>
                  </a:cubicBezTo>
                  <a:cubicBezTo>
                    <a:pt x="38" y="27"/>
                    <a:pt x="38" y="25"/>
                    <a:pt x="36" y="24"/>
                  </a:cubicBezTo>
                  <a:cubicBezTo>
                    <a:pt x="35" y="23"/>
                    <a:pt x="26" y="20"/>
                    <a:pt x="25" y="18"/>
                  </a:cubicBezTo>
                  <a:cubicBezTo>
                    <a:pt x="24" y="16"/>
                    <a:pt x="23" y="10"/>
                    <a:pt x="23" y="7"/>
                  </a:cubicBezTo>
                  <a:cubicBezTo>
                    <a:pt x="23" y="4"/>
                    <a:pt x="10" y="0"/>
                    <a:pt x="3" y="4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70">
              <a:extLst>
                <a:ext uri="{FF2B5EF4-FFF2-40B4-BE49-F238E27FC236}">
                  <a16:creationId xmlns:a16="http://schemas.microsoft.com/office/drawing/2014/main" id="{4DB1D4AF-DA1B-4B1B-8F3E-9459F8B39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7" y="761"/>
              <a:ext cx="57" cy="94"/>
            </a:xfrm>
            <a:custGeom>
              <a:avLst/>
              <a:gdLst>
                <a:gd name="T0" fmla="*/ 18 w 24"/>
                <a:gd name="T1" fmla="*/ 10 h 39"/>
                <a:gd name="T2" fmla="*/ 22 w 24"/>
                <a:gd name="T3" fmla="*/ 29 h 39"/>
                <a:gd name="T4" fmla="*/ 1 w 24"/>
                <a:gd name="T5" fmla="*/ 39 h 39"/>
                <a:gd name="T6" fmla="*/ 1 w 24"/>
                <a:gd name="T7" fmla="*/ 20 h 39"/>
                <a:gd name="T8" fmla="*/ 18 w 24"/>
                <a:gd name="T9" fmla="*/ 1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9">
                  <a:moveTo>
                    <a:pt x="18" y="10"/>
                  </a:moveTo>
                  <a:cubicBezTo>
                    <a:pt x="18" y="16"/>
                    <a:pt x="19" y="23"/>
                    <a:pt x="22" y="29"/>
                  </a:cubicBezTo>
                  <a:cubicBezTo>
                    <a:pt x="24" y="34"/>
                    <a:pt x="1" y="39"/>
                    <a:pt x="1" y="39"/>
                  </a:cubicBezTo>
                  <a:cubicBezTo>
                    <a:pt x="1" y="39"/>
                    <a:pt x="2" y="28"/>
                    <a:pt x="1" y="20"/>
                  </a:cubicBezTo>
                  <a:cubicBezTo>
                    <a:pt x="0" y="12"/>
                    <a:pt x="14" y="0"/>
                    <a:pt x="18" y="10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71">
              <a:extLst>
                <a:ext uri="{FF2B5EF4-FFF2-40B4-BE49-F238E27FC236}">
                  <a16:creationId xmlns:a16="http://schemas.microsoft.com/office/drawing/2014/main" id="{6DCA2C41-079C-4ED9-A968-100E76443C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3" y="747"/>
              <a:ext cx="72" cy="86"/>
            </a:xfrm>
            <a:custGeom>
              <a:avLst/>
              <a:gdLst>
                <a:gd name="T0" fmla="*/ 2 w 30"/>
                <a:gd name="T1" fmla="*/ 7 h 36"/>
                <a:gd name="T2" fmla="*/ 10 w 30"/>
                <a:gd name="T3" fmla="*/ 27 h 36"/>
                <a:gd name="T4" fmla="*/ 18 w 30"/>
                <a:gd name="T5" fmla="*/ 34 h 36"/>
                <a:gd name="T6" fmla="*/ 28 w 30"/>
                <a:gd name="T7" fmla="*/ 21 h 36"/>
                <a:gd name="T8" fmla="*/ 29 w 30"/>
                <a:gd name="T9" fmla="*/ 13 h 36"/>
                <a:gd name="T10" fmla="*/ 28 w 30"/>
                <a:gd name="T11" fmla="*/ 9 h 36"/>
                <a:gd name="T12" fmla="*/ 25 w 30"/>
                <a:gd name="T13" fmla="*/ 10 h 36"/>
                <a:gd name="T14" fmla="*/ 13 w 30"/>
                <a:gd name="T15" fmla="*/ 1 h 36"/>
                <a:gd name="T16" fmla="*/ 4 w 30"/>
                <a:gd name="T17" fmla="*/ 3 h 36"/>
                <a:gd name="T18" fmla="*/ 2 w 30"/>
                <a:gd name="T19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36">
                  <a:moveTo>
                    <a:pt x="2" y="7"/>
                  </a:moveTo>
                  <a:cubicBezTo>
                    <a:pt x="2" y="13"/>
                    <a:pt x="8" y="23"/>
                    <a:pt x="10" y="27"/>
                  </a:cubicBezTo>
                  <a:cubicBezTo>
                    <a:pt x="11" y="31"/>
                    <a:pt x="14" y="36"/>
                    <a:pt x="18" y="34"/>
                  </a:cubicBezTo>
                  <a:cubicBezTo>
                    <a:pt x="23" y="32"/>
                    <a:pt x="29" y="27"/>
                    <a:pt x="28" y="21"/>
                  </a:cubicBezTo>
                  <a:cubicBezTo>
                    <a:pt x="27" y="16"/>
                    <a:pt x="28" y="17"/>
                    <a:pt x="29" y="13"/>
                  </a:cubicBezTo>
                  <a:cubicBezTo>
                    <a:pt x="29" y="9"/>
                    <a:pt x="30" y="7"/>
                    <a:pt x="28" y="9"/>
                  </a:cubicBezTo>
                  <a:cubicBezTo>
                    <a:pt x="26" y="11"/>
                    <a:pt x="29" y="21"/>
                    <a:pt x="25" y="10"/>
                  </a:cubicBezTo>
                  <a:cubicBezTo>
                    <a:pt x="22" y="0"/>
                    <a:pt x="16" y="0"/>
                    <a:pt x="13" y="1"/>
                  </a:cubicBezTo>
                  <a:cubicBezTo>
                    <a:pt x="9" y="2"/>
                    <a:pt x="7" y="4"/>
                    <a:pt x="4" y="3"/>
                  </a:cubicBezTo>
                  <a:cubicBezTo>
                    <a:pt x="2" y="3"/>
                    <a:pt x="0" y="5"/>
                    <a:pt x="2" y="7"/>
                  </a:cubicBezTo>
                  <a:close/>
                </a:path>
              </a:pathLst>
            </a:custGeom>
            <a:solidFill>
              <a:srgbClr val="D6A0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72">
              <a:extLst>
                <a:ext uri="{FF2B5EF4-FFF2-40B4-BE49-F238E27FC236}">
                  <a16:creationId xmlns:a16="http://schemas.microsoft.com/office/drawing/2014/main" id="{AFDE2398-48FA-4EDC-A049-D62084617F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0" y="1007"/>
              <a:ext cx="169" cy="406"/>
            </a:xfrm>
            <a:custGeom>
              <a:avLst/>
              <a:gdLst>
                <a:gd name="T0" fmla="*/ 16 w 70"/>
                <a:gd name="T1" fmla="*/ 5 h 169"/>
                <a:gd name="T2" fmla="*/ 43 w 70"/>
                <a:gd name="T3" fmla="*/ 3 h 169"/>
                <a:gd name="T4" fmla="*/ 59 w 70"/>
                <a:gd name="T5" fmla="*/ 35 h 169"/>
                <a:gd name="T6" fmla="*/ 65 w 70"/>
                <a:gd name="T7" fmla="*/ 70 h 169"/>
                <a:gd name="T8" fmla="*/ 68 w 70"/>
                <a:gd name="T9" fmla="*/ 96 h 169"/>
                <a:gd name="T10" fmla="*/ 58 w 70"/>
                <a:gd name="T11" fmla="*/ 155 h 169"/>
                <a:gd name="T12" fmla="*/ 47 w 70"/>
                <a:gd name="T13" fmla="*/ 161 h 169"/>
                <a:gd name="T14" fmla="*/ 35 w 70"/>
                <a:gd name="T15" fmla="*/ 155 h 169"/>
                <a:gd name="T16" fmla="*/ 42 w 70"/>
                <a:gd name="T17" fmla="*/ 134 h 169"/>
                <a:gd name="T18" fmla="*/ 47 w 70"/>
                <a:gd name="T19" fmla="*/ 101 h 169"/>
                <a:gd name="T20" fmla="*/ 43 w 70"/>
                <a:gd name="T21" fmla="*/ 72 h 169"/>
                <a:gd name="T22" fmla="*/ 33 w 70"/>
                <a:gd name="T23" fmla="*/ 50 h 169"/>
                <a:gd name="T24" fmla="*/ 28 w 70"/>
                <a:gd name="T25" fmla="*/ 57 h 169"/>
                <a:gd name="T26" fmla="*/ 26 w 70"/>
                <a:gd name="T27" fmla="*/ 105 h 169"/>
                <a:gd name="T28" fmla="*/ 28 w 70"/>
                <a:gd name="T29" fmla="*/ 133 h 169"/>
                <a:gd name="T30" fmla="*/ 32 w 70"/>
                <a:gd name="T31" fmla="*/ 158 h 169"/>
                <a:gd name="T32" fmla="*/ 29 w 70"/>
                <a:gd name="T33" fmla="*/ 168 h 169"/>
                <a:gd name="T34" fmla="*/ 17 w 70"/>
                <a:gd name="T35" fmla="*/ 169 h 169"/>
                <a:gd name="T36" fmla="*/ 9 w 70"/>
                <a:gd name="T37" fmla="*/ 149 h 169"/>
                <a:gd name="T38" fmla="*/ 7 w 70"/>
                <a:gd name="T39" fmla="*/ 117 h 169"/>
                <a:gd name="T40" fmla="*/ 5 w 70"/>
                <a:gd name="T41" fmla="*/ 72 h 169"/>
                <a:gd name="T42" fmla="*/ 2 w 70"/>
                <a:gd name="T43" fmla="*/ 25 h 169"/>
                <a:gd name="T44" fmla="*/ 16 w 70"/>
                <a:gd name="T45" fmla="*/ 5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0" h="169">
                  <a:moveTo>
                    <a:pt x="16" y="5"/>
                  </a:moveTo>
                  <a:cubicBezTo>
                    <a:pt x="21" y="5"/>
                    <a:pt x="37" y="6"/>
                    <a:pt x="43" y="3"/>
                  </a:cubicBezTo>
                  <a:cubicBezTo>
                    <a:pt x="49" y="0"/>
                    <a:pt x="54" y="22"/>
                    <a:pt x="59" y="35"/>
                  </a:cubicBezTo>
                  <a:cubicBezTo>
                    <a:pt x="63" y="48"/>
                    <a:pt x="62" y="59"/>
                    <a:pt x="65" y="70"/>
                  </a:cubicBezTo>
                  <a:cubicBezTo>
                    <a:pt x="68" y="81"/>
                    <a:pt x="70" y="84"/>
                    <a:pt x="68" y="96"/>
                  </a:cubicBezTo>
                  <a:cubicBezTo>
                    <a:pt x="66" y="109"/>
                    <a:pt x="58" y="147"/>
                    <a:pt x="58" y="155"/>
                  </a:cubicBezTo>
                  <a:cubicBezTo>
                    <a:pt x="57" y="162"/>
                    <a:pt x="58" y="163"/>
                    <a:pt x="47" y="161"/>
                  </a:cubicBezTo>
                  <a:cubicBezTo>
                    <a:pt x="36" y="159"/>
                    <a:pt x="32" y="159"/>
                    <a:pt x="35" y="155"/>
                  </a:cubicBezTo>
                  <a:cubicBezTo>
                    <a:pt x="39" y="151"/>
                    <a:pt x="40" y="147"/>
                    <a:pt x="42" y="134"/>
                  </a:cubicBezTo>
                  <a:cubicBezTo>
                    <a:pt x="44" y="122"/>
                    <a:pt x="45" y="109"/>
                    <a:pt x="47" y="101"/>
                  </a:cubicBezTo>
                  <a:cubicBezTo>
                    <a:pt x="49" y="93"/>
                    <a:pt x="47" y="84"/>
                    <a:pt x="43" y="72"/>
                  </a:cubicBezTo>
                  <a:cubicBezTo>
                    <a:pt x="39" y="60"/>
                    <a:pt x="34" y="52"/>
                    <a:pt x="33" y="50"/>
                  </a:cubicBezTo>
                  <a:cubicBezTo>
                    <a:pt x="32" y="47"/>
                    <a:pt x="29" y="54"/>
                    <a:pt x="28" y="57"/>
                  </a:cubicBezTo>
                  <a:cubicBezTo>
                    <a:pt x="28" y="60"/>
                    <a:pt x="28" y="98"/>
                    <a:pt x="26" y="105"/>
                  </a:cubicBezTo>
                  <a:cubicBezTo>
                    <a:pt x="25" y="111"/>
                    <a:pt x="29" y="127"/>
                    <a:pt x="28" y="133"/>
                  </a:cubicBezTo>
                  <a:cubicBezTo>
                    <a:pt x="27" y="140"/>
                    <a:pt x="32" y="153"/>
                    <a:pt x="32" y="158"/>
                  </a:cubicBezTo>
                  <a:cubicBezTo>
                    <a:pt x="31" y="163"/>
                    <a:pt x="32" y="168"/>
                    <a:pt x="29" y="168"/>
                  </a:cubicBezTo>
                  <a:cubicBezTo>
                    <a:pt x="26" y="168"/>
                    <a:pt x="19" y="169"/>
                    <a:pt x="17" y="169"/>
                  </a:cubicBezTo>
                  <a:cubicBezTo>
                    <a:pt x="14" y="169"/>
                    <a:pt x="11" y="156"/>
                    <a:pt x="9" y="149"/>
                  </a:cubicBezTo>
                  <a:cubicBezTo>
                    <a:pt x="7" y="142"/>
                    <a:pt x="8" y="132"/>
                    <a:pt x="7" y="117"/>
                  </a:cubicBezTo>
                  <a:cubicBezTo>
                    <a:pt x="5" y="103"/>
                    <a:pt x="7" y="87"/>
                    <a:pt x="5" y="72"/>
                  </a:cubicBezTo>
                  <a:cubicBezTo>
                    <a:pt x="3" y="58"/>
                    <a:pt x="0" y="42"/>
                    <a:pt x="2" y="25"/>
                  </a:cubicBezTo>
                  <a:cubicBezTo>
                    <a:pt x="4" y="8"/>
                    <a:pt x="3" y="2"/>
                    <a:pt x="16" y="5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73">
              <a:extLst>
                <a:ext uri="{FF2B5EF4-FFF2-40B4-BE49-F238E27FC236}">
                  <a16:creationId xmlns:a16="http://schemas.microsoft.com/office/drawing/2014/main" id="{C9471D23-9E6D-481D-9490-073C36619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3" y="821"/>
              <a:ext cx="120" cy="215"/>
            </a:xfrm>
            <a:custGeom>
              <a:avLst/>
              <a:gdLst>
                <a:gd name="T0" fmla="*/ 10 w 50"/>
                <a:gd name="T1" fmla="*/ 4 h 89"/>
                <a:gd name="T2" fmla="*/ 20 w 50"/>
                <a:gd name="T3" fmla="*/ 7 h 89"/>
                <a:gd name="T4" fmla="*/ 26 w 50"/>
                <a:gd name="T5" fmla="*/ 7 h 89"/>
                <a:gd name="T6" fmla="*/ 32 w 50"/>
                <a:gd name="T7" fmla="*/ 0 h 89"/>
                <a:gd name="T8" fmla="*/ 43 w 50"/>
                <a:gd name="T9" fmla="*/ 9 h 89"/>
                <a:gd name="T10" fmla="*/ 50 w 50"/>
                <a:gd name="T11" fmla="*/ 83 h 89"/>
                <a:gd name="T12" fmla="*/ 13 w 50"/>
                <a:gd name="T13" fmla="*/ 89 h 89"/>
                <a:gd name="T14" fmla="*/ 10 w 50"/>
                <a:gd name="T15" fmla="*/ 4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89">
                  <a:moveTo>
                    <a:pt x="10" y="4"/>
                  </a:moveTo>
                  <a:cubicBezTo>
                    <a:pt x="20" y="7"/>
                    <a:pt x="20" y="7"/>
                    <a:pt x="20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0" y="23"/>
                    <a:pt x="10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74">
              <a:extLst>
                <a:ext uri="{FF2B5EF4-FFF2-40B4-BE49-F238E27FC236}">
                  <a16:creationId xmlns:a16="http://schemas.microsoft.com/office/drawing/2014/main" id="{CD63E4BD-9947-4129-9621-166B1DBFD4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7" y="821"/>
              <a:ext cx="31" cy="41"/>
            </a:xfrm>
            <a:custGeom>
              <a:avLst/>
              <a:gdLst>
                <a:gd name="T0" fmla="*/ 2 w 13"/>
                <a:gd name="T1" fmla="*/ 0 h 17"/>
                <a:gd name="T2" fmla="*/ 0 w 13"/>
                <a:gd name="T3" fmla="*/ 4 h 17"/>
                <a:gd name="T4" fmla="*/ 5 w 13"/>
                <a:gd name="T5" fmla="*/ 17 h 17"/>
                <a:gd name="T6" fmla="*/ 13 w 13"/>
                <a:gd name="T7" fmla="*/ 6 h 17"/>
                <a:gd name="T8" fmla="*/ 2 w 13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7">
                  <a:moveTo>
                    <a:pt x="2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5" y="5"/>
                    <a:pt x="2" y="0"/>
                  </a:cubicBezTo>
                  <a:close/>
                </a:path>
              </a:pathLst>
            </a:custGeom>
            <a:solidFill>
              <a:srgbClr val="CBC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75">
              <a:extLst>
                <a:ext uri="{FF2B5EF4-FFF2-40B4-BE49-F238E27FC236}">
                  <a16:creationId xmlns:a16="http://schemas.microsoft.com/office/drawing/2014/main" id="{190F5E50-8ED0-49B3-83E4-8CFA345D6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0" y="812"/>
              <a:ext cx="29" cy="48"/>
            </a:xfrm>
            <a:custGeom>
              <a:avLst/>
              <a:gdLst>
                <a:gd name="T0" fmla="*/ 0 w 12"/>
                <a:gd name="T1" fmla="*/ 9 h 20"/>
                <a:gd name="T2" fmla="*/ 12 w 12"/>
                <a:gd name="T3" fmla="*/ 20 h 20"/>
                <a:gd name="T4" fmla="*/ 8 w 12"/>
                <a:gd name="T5" fmla="*/ 3 h 20"/>
                <a:gd name="T6" fmla="*/ 6 w 12"/>
                <a:gd name="T7" fmla="*/ 0 h 20"/>
                <a:gd name="T8" fmla="*/ 0 w 12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0">
                  <a:moveTo>
                    <a:pt x="0" y="9"/>
                  </a:moveTo>
                  <a:cubicBezTo>
                    <a:pt x="12" y="20"/>
                    <a:pt x="12" y="20"/>
                    <a:pt x="12" y="20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7"/>
                    <a:pt x="0" y="9"/>
                  </a:cubicBezTo>
                  <a:close/>
                </a:path>
              </a:pathLst>
            </a:custGeom>
            <a:solidFill>
              <a:srgbClr val="CBC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76">
              <a:extLst>
                <a:ext uri="{FF2B5EF4-FFF2-40B4-BE49-F238E27FC236}">
                  <a16:creationId xmlns:a16="http://schemas.microsoft.com/office/drawing/2014/main" id="{0062BD2B-8932-4E85-AA3C-48F58B916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" y="1009"/>
              <a:ext cx="113" cy="27"/>
            </a:xfrm>
            <a:custGeom>
              <a:avLst/>
              <a:gdLst>
                <a:gd name="T0" fmla="*/ 14 w 47"/>
                <a:gd name="T1" fmla="*/ 3 h 11"/>
                <a:gd name="T2" fmla="*/ 41 w 47"/>
                <a:gd name="T3" fmla="*/ 2 h 11"/>
                <a:gd name="T4" fmla="*/ 47 w 47"/>
                <a:gd name="T5" fmla="*/ 6 h 11"/>
                <a:gd name="T6" fmla="*/ 0 w 47"/>
                <a:gd name="T7" fmla="*/ 7 h 11"/>
                <a:gd name="T8" fmla="*/ 14 w 47"/>
                <a:gd name="T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1">
                  <a:moveTo>
                    <a:pt x="14" y="3"/>
                  </a:moveTo>
                  <a:cubicBezTo>
                    <a:pt x="19" y="4"/>
                    <a:pt x="37" y="4"/>
                    <a:pt x="41" y="2"/>
                  </a:cubicBezTo>
                  <a:cubicBezTo>
                    <a:pt x="45" y="0"/>
                    <a:pt x="45" y="3"/>
                    <a:pt x="47" y="6"/>
                  </a:cubicBezTo>
                  <a:cubicBezTo>
                    <a:pt x="35" y="11"/>
                    <a:pt x="9" y="10"/>
                    <a:pt x="0" y="7"/>
                  </a:cubicBezTo>
                  <a:cubicBezTo>
                    <a:pt x="2" y="4"/>
                    <a:pt x="8" y="2"/>
                    <a:pt x="14" y="3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77">
              <a:extLst>
                <a:ext uri="{FF2B5EF4-FFF2-40B4-BE49-F238E27FC236}">
                  <a16:creationId xmlns:a16="http://schemas.microsoft.com/office/drawing/2014/main" id="{EA2D0D37-4E75-4EB4-B74E-317239D68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8" y="718"/>
              <a:ext cx="79" cy="77"/>
            </a:xfrm>
            <a:custGeom>
              <a:avLst/>
              <a:gdLst>
                <a:gd name="T0" fmla="*/ 4 w 33"/>
                <a:gd name="T1" fmla="*/ 23 h 32"/>
                <a:gd name="T2" fmla="*/ 5 w 33"/>
                <a:gd name="T3" fmla="*/ 7 h 32"/>
                <a:gd name="T4" fmla="*/ 16 w 33"/>
                <a:gd name="T5" fmla="*/ 0 h 32"/>
                <a:gd name="T6" fmla="*/ 28 w 33"/>
                <a:gd name="T7" fmla="*/ 6 h 32"/>
                <a:gd name="T8" fmla="*/ 31 w 33"/>
                <a:gd name="T9" fmla="*/ 27 h 32"/>
                <a:gd name="T10" fmla="*/ 4 w 33"/>
                <a:gd name="T11" fmla="*/ 2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2">
                  <a:moveTo>
                    <a:pt x="4" y="23"/>
                  </a:moveTo>
                  <a:cubicBezTo>
                    <a:pt x="2" y="18"/>
                    <a:pt x="0" y="11"/>
                    <a:pt x="5" y="7"/>
                  </a:cubicBezTo>
                  <a:cubicBezTo>
                    <a:pt x="9" y="2"/>
                    <a:pt x="12" y="0"/>
                    <a:pt x="16" y="0"/>
                  </a:cubicBezTo>
                  <a:cubicBezTo>
                    <a:pt x="20" y="0"/>
                    <a:pt x="26" y="0"/>
                    <a:pt x="28" y="6"/>
                  </a:cubicBezTo>
                  <a:cubicBezTo>
                    <a:pt x="31" y="13"/>
                    <a:pt x="33" y="22"/>
                    <a:pt x="31" y="27"/>
                  </a:cubicBezTo>
                  <a:cubicBezTo>
                    <a:pt x="28" y="32"/>
                    <a:pt x="11" y="32"/>
                    <a:pt x="4" y="23"/>
                  </a:cubicBezTo>
                  <a:close/>
                </a:path>
              </a:pathLst>
            </a:custGeom>
            <a:solidFill>
              <a:srgbClr val="AA7A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78">
              <a:extLst>
                <a:ext uri="{FF2B5EF4-FFF2-40B4-BE49-F238E27FC236}">
                  <a16:creationId xmlns:a16="http://schemas.microsoft.com/office/drawing/2014/main" id="{23FA0810-3228-4177-A753-87A4395D95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3" y="744"/>
              <a:ext cx="77" cy="87"/>
            </a:xfrm>
            <a:custGeom>
              <a:avLst/>
              <a:gdLst>
                <a:gd name="T0" fmla="*/ 2 w 32"/>
                <a:gd name="T1" fmla="*/ 8 h 36"/>
                <a:gd name="T2" fmla="*/ 8 w 32"/>
                <a:gd name="T3" fmla="*/ 27 h 36"/>
                <a:gd name="T4" fmla="*/ 18 w 32"/>
                <a:gd name="T5" fmla="*/ 34 h 36"/>
                <a:gd name="T6" fmla="*/ 27 w 32"/>
                <a:gd name="T7" fmla="*/ 23 h 36"/>
                <a:gd name="T8" fmla="*/ 32 w 32"/>
                <a:gd name="T9" fmla="*/ 13 h 36"/>
                <a:gd name="T10" fmla="*/ 28 w 32"/>
                <a:gd name="T11" fmla="*/ 9 h 36"/>
                <a:gd name="T12" fmla="*/ 25 w 32"/>
                <a:gd name="T13" fmla="*/ 10 h 36"/>
                <a:gd name="T14" fmla="*/ 13 w 32"/>
                <a:gd name="T15" fmla="*/ 1 h 36"/>
                <a:gd name="T16" fmla="*/ 4 w 32"/>
                <a:gd name="T17" fmla="*/ 4 h 36"/>
                <a:gd name="T18" fmla="*/ 2 w 32"/>
                <a:gd name="T19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6">
                  <a:moveTo>
                    <a:pt x="2" y="8"/>
                  </a:moveTo>
                  <a:cubicBezTo>
                    <a:pt x="2" y="14"/>
                    <a:pt x="7" y="23"/>
                    <a:pt x="8" y="27"/>
                  </a:cubicBezTo>
                  <a:cubicBezTo>
                    <a:pt x="10" y="31"/>
                    <a:pt x="14" y="36"/>
                    <a:pt x="18" y="34"/>
                  </a:cubicBezTo>
                  <a:cubicBezTo>
                    <a:pt x="22" y="32"/>
                    <a:pt x="26" y="27"/>
                    <a:pt x="27" y="23"/>
                  </a:cubicBezTo>
                  <a:cubicBezTo>
                    <a:pt x="28" y="18"/>
                    <a:pt x="31" y="17"/>
                    <a:pt x="32" y="13"/>
                  </a:cubicBezTo>
                  <a:cubicBezTo>
                    <a:pt x="32" y="9"/>
                    <a:pt x="30" y="6"/>
                    <a:pt x="28" y="9"/>
                  </a:cubicBezTo>
                  <a:cubicBezTo>
                    <a:pt x="26" y="11"/>
                    <a:pt x="29" y="20"/>
                    <a:pt x="25" y="10"/>
                  </a:cubicBezTo>
                  <a:cubicBezTo>
                    <a:pt x="21" y="0"/>
                    <a:pt x="16" y="0"/>
                    <a:pt x="13" y="1"/>
                  </a:cubicBezTo>
                  <a:cubicBezTo>
                    <a:pt x="9" y="3"/>
                    <a:pt x="7" y="4"/>
                    <a:pt x="4" y="4"/>
                  </a:cubicBezTo>
                  <a:cubicBezTo>
                    <a:pt x="2" y="4"/>
                    <a:pt x="0" y="6"/>
                    <a:pt x="2" y="8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79">
              <a:extLst>
                <a:ext uri="{FF2B5EF4-FFF2-40B4-BE49-F238E27FC236}">
                  <a16:creationId xmlns:a16="http://schemas.microsoft.com/office/drawing/2014/main" id="{F74AFF22-7720-4C98-8425-735B548D1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" y="836"/>
              <a:ext cx="41" cy="190"/>
            </a:xfrm>
            <a:custGeom>
              <a:avLst/>
              <a:gdLst>
                <a:gd name="T0" fmla="*/ 1 w 17"/>
                <a:gd name="T1" fmla="*/ 2 h 79"/>
                <a:gd name="T2" fmla="*/ 3 w 17"/>
                <a:gd name="T3" fmla="*/ 3 h 79"/>
                <a:gd name="T4" fmla="*/ 3 w 17"/>
                <a:gd name="T5" fmla="*/ 7 h 79"/>
                <a:gd name="T6" fmla="*/ 3 w 17"/>
                <a:gd name="T7" fmla="*/ 40 h 79"/>
                <a:gd name="T8" fmla="*/ 5 w 17"/>
                <a:gd name="T9" fmla="*/ 76 h 79"/>
                <a:gd name="T10" fmla="*/ 12 w 17"/>
                <a:gd name="T11" fmla="*/ 79 h 79"/>
                <a:gd name="T12" fmla="*/ 17 w 17"/>
                <a:gd name="T13" fmla="*/ 73 h 79"/>
                <a:gd name="T14" fmla="*/ 14 w 17"/>
                <a:gd name="T15" fmla="*/ 40 h 79"/>
                <a:gd name="T16" fmla="*/ 6 w 17"/>
                <a:gd name="T17" fmla="*/ 6 h 79"/>
                <a:gd name="T18" fmla="*/ 6 w 17"/>
                <a:gd name="T19" fmla="*/ 3 h 79"/>
                <a:gd name="T20" fmla="*/ 8 w 17"/>
                <a:gd name="T21" fmla="*/ 1 h 79"/>
                <a:gd name="T22" fmla="*/ 4 w 17"/>
                <a:gd name="T23" fmla="*/ 0 h 79"/>
                <a:gd name="T24" fmla="*/ 4 w 17"/>
                <a:gd name="T25" fmla="*/ 0 h 79"/>
                <a:gd name="T26" fmla="*/ 1 w 17"/>
                <a:gd name="T27" fmla="*/ 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79">
                  <a:moveTo>
                    <a:pt x="1" y="2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4"/>
                    <a:pt x="2" y="6"/>
                    <a:pt x="3" y="7"/>
                  </a:cubicBezTo>
                  <a:cubicBezTo>
                    <a:pt x="3" y="7"/>
                    <a:pt x="2" y="23"/>
                    <a:pt x="3" y="40"/>
                  </a:cubicBezTo>
                  <a:cubicBezTo>
                    <a:pt x="5" y="56"/>
                    <a:pt x="3" y="75"/>
                    <a:pt x="5" y="76"/>
                  </a:cubicBezTo>
                  <a:cubicBezTo>
                    <a:pt x="7" y="77"/>
                    <a:pt x="12" y="79"/>
                    <a:pt x="12" y="79"/>
                  </a:cubicBezTo>
                  <a:cubicBezTo>
                    <a:pt x="17" y="73"/>
                    <a:pt x="17" y="73"/>
                    <a:pt x="17" y="73"/>
                  </a:cubicBezTo>
                  <a:cubicBezTo>
                    <a:pt x="17" y="73"/>
                    <a:pt x="15" y="47"/>
                    <a:pt x="14" y="40"/>
                  </a:cubicBezTo>
                  <a:cubicBezTo>
                    <a:pt x="13" y="32"/>
                    <a:pt x="9" y="8"/>
                    <a:pt x="6" y="6"/>
                  </a:cubicBezTo>
                  <a:cubicBezTo>
                    <a:pt x="7" y="5"/>
                    <a:pt x="7" y="4"/>
                    <a:pt x="6" y="3"/>
                  </a:cubicBezTo>
                  <a:cubicBezTo>
                    <a:pt x="7" y="2"/>
                    <a:pt x="8" y="1"/>
                    <a:pt x="8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0" y="1"/>
                    <a:pt x="1" y="2"/>
                  </a:cubicBezTo>
                  <a:close/>
                </a:path>
              </a:pathLst>
            </a:custGeom>
            <a:solidFill>
              <a:srgbClr val="FFD0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80">
              <a:extLst>
                <a:ext uri="{FF2B5EF4-FFF2-40B4-BE49-F238E27FC236}">
                  <a16:creationId xmlns:a16="http://schemas.microsoft.com/office/drawing/2014/main" id="{628633BA-CE23-4DDF-86E9-07699E67F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7" y="821"/>
              <a:ext cx="31" cy="34"/>
            </a:xfrm>
            <a:custGeom>
              <a:avLst/>
              <a:gdLst>
                <a:gd name="T0" fmla="*/ 2 w 13"/>
                <a:gd name="T1" fmla="*/ 0 h 14"/>
                <a:gd name="T2" fmla="*/ 0 w 13"/>
                <a:gd name="T3" fmla="*/ 4 h 14"/>
                <a:gd name="T4" fmla="*/ 4 w 13"/>
                <a:gd name="T5" fmla="*/ 14 h 14"/>
                <a:gd name="T6" fmla="*/ 13 w 13"/>
                <a:gd name="T7" fmla="*/ 6 h 14"/>
                <a:gd name="T8" fmla="*/ 2 w 1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2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5" y="5"/>
                    <a:pt x="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81">
              <a:extLst>
                <a:ext uri="{FF2B5EF4-FFF2-40B4-BE49-F238E27FC236}">
                  <a16:creationId xmlns:a16="http://schemas.microsoft.com/office/drawing/2014/main" id="{067B13D7-5940-4975-91B4-91655EF951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0" y="812"/>
              <a:ext cx="24" cy="41"/>
            </a:xfrm>
            <a:custGeom>
              <a:avLst/>
              <a:gdLst>
                <a:gd name="T0" fmla="*/ 0 w 10"/>
                <a:gd name="T1" fmla="*/ 9 h 17"/>
                <a:gd name="T2" fmla="*/ 10 w 10"/>
                <a:gd name="T3" fmla="*/ 17 h 17"/>
                <a:gd name="T4" fmla="*/ 8 w 10"/>
                <a:gd name="T5" fmla="*/ 3 h 17"/>
                <a:gd name="T6" fmla="*/ 6 w 10"/>
                <a:gd name="T7" fmla="*/ 0 h 17"/>
                <a:gd name="T8" fmla="*/ 0 w 1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7">
                  <a:moveTo>
                    <a:pt x="0" y="9"/>
                  </a:moveTo>
                  <a:cubicBezTo>
                    <a:pt x="10" y="17"/>
                    <a:pt x="10" y="17"/>
                    <a:pt x="10" y="1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7"/>
                    <a:pt x="0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82">
              <a:extLst>
                <a:ext uri="{FF2B5EF4-FFF2-40B4-BE49-F238E27FC236}">
                  <a16:creationId xmlns:a16="http://schemas.microsoft.com/office/drawing/2014/main" id="{4F1ADBA3-6A77-47CE-A888-AA4B2FBFBC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3" y="1096"/>
              <a:ext cx="65" cy="293"/>
            </a:xfrm>
            <a:custGeom>
              <a:avLst/>
              <a:gdLst>
                <a:gd name="T0" fmla="*/ 8 w 27"/>
                <a:gd name="T1" fmla="*/ 113 h 122"/>
                <a:gd name="T2" fmla="*/ 8 w 27"/>
                <a:gd name="T3" fmla="*/ 112 h 122"/>
                <a:gd name="T4" fmla="*/ 6 w 27"/>
                <a:gd name="T5" fmla="*/ 80 h 122"/>
                <a:gd name="T6" fmla="*/ 4 w 27"/>
                <a:gd name="T7" fmla="*/ 35 h 122"/>
                <a:gd name="T8" fmla="*/ 0 w 27"/>
                <a:gd name="T9" fmla="*/ 3 h 122"/>
                <a:gd name="T10" fmla="*/ 9 w 27"/>
                <a:gd name="T11" fmla="*/ 3 h 122"/>
                <a:gd name="T12" fmla="*/ 16 w 27"/>
                <a:gd name="T13" fmla="*/ 13 h 122"/>
                <a:gd name="T14" fmla="*/ 20 w 27"/>
                <a:gd name="T15" fmla="*/ 19 h 122"/>
                <a:gd name="T16" fmla="*/ 14 w 27"/>
                <a:gd name="T17" fmla="*/ 17 h 122"/>
                <a:gd name="T18" fmla="*/ 15 w 27"/>
                <a:gd name="T19" fmla="*/ 38 h 122"/>
                <a:gd name="T20" fmla="*/ 18 w 27"/>
                <a:gd name="T21" fmla="*/ 48 h 122"/>
                <a:gd name="T22" fmla="*/ 13 w 27"/>
                <a:gd name="T23" fmla="*/ 46 h 122"/>
                <a:gd name="T24" fmla="*/ 10 w 27"/>
                <a:gd name="T25" fmla="*/ 47 h 122"/>
                <a:gd name="T26" fmla="*/ 16 w 27"/>
                <a:gd name="T27" fmla="*/ 58 h 122"/>
                <a:gd name="T28" fmla="*/ 16 w 27"/>
                <a:gd name="T29" fmla="*/ 89 h 122"/>
                <a:gd name="T30" fmla="*/ 12 w 27"/>
                <a:gd name="T31" fmla="*/ 96 h 122"/>
                <a:gd name="T32" fmla="*/ 8 w 27"/>
                <a:gd name="T33" fmla="*/ 101 h 122"/>
                <a:gd name="T34" fmla="*/ 22 w 27"/>
                <a:gd name="T35" fmla="*/ 112 h 122"/>
                <a:gd name="T36" fmla="*/ 24 w 27"/>
                <a:gd name="T37" fmla="*/ 117 h 122"/>
                <a:gd name="T38" fmla="*/ 18 w 27"/>
                <a:gd name="T39" fmla="*/ 118 h 122"/>
                <a:gd name="T40" fmla="*/ 8 w 27"/>
                <a:gd name="T41" fmla="*/ 11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" h="122">
                  <a:moveTo>
                    <a:pt x="8" y="113"/>
                  </a:moveTo>
                  <a:cubicBezTo>
                    <a:pt x="8" y="112"/>
                    <a:pt x="8" y="112"/>
                    <a:pt x="8" y="112"/>
                  </a:cubicBezTo>
                  <a:cubicBezTo>
                    <a:pt x="6" y="105"/>
                    <a:pt x="7" y="95"/>
                    <a:pt x="6" y="80"/>
                  </a:cubicBezTo>
                  <a:cubicBezTo>
                    <a:pt x="5" y="66"/>
                    <a:pt x="6" y="50"/>
                    <a:pt x="4" y="35"/>
                  </a:cubicBezTo>
                  <a:cubicBezTo>
                    <a:pt x="3" y="25"/>
                    <a:pt x="1" y="14"/>
                    <a:pt x="0" y="3"/>
                  </a:cubicBezTo>
                  <a:cubicBezTo>
                    <a:pt x="5" y="0"/>
                    <a:pt x="8" y="0"/>
                    <a:pt x="9" y="3"/>
                  </a:cubicBezTo>
                  <a:cubicBezTo>
                    <a:pt x="10" y="7"/>
                    <a:pt x="13" y="9"/>
                    <a:pt x="16" y="13"/>
                  </a:cubicBezTo>
                  <a:cubicBezTo>
                    <a:pt x="19" y="16"/>
                    <a:pt x="22" y="22"/>
                    <a:pt x="20" y="19"/>
                  </a:cubicBezTo>
                  <a:cubicBezTo>
                    <a:pt x="18" y="17"/>
                    <a:pt x="14" y="12"/>
                    <a:pt x="14" y="17"/>
                  </a:cubicBezTo>
                  <a:cubicBezTo>
                    <a:pt x="14" y="22"/>
                    <a:pt x="14" y="33"/>
                    <a:pt x="15" y="38"/>
                  </a:cubicBezTo>
                  <a:cubicBezTo>
                    <a:pt x="15" y="43"/>
                    <a:pt x="14" y="43"/>
                    <a:pt x="18" y="48"/>
                  </a:cubicBezTo>
                  <a:cubicBezTo>
                    <a:pt x="22" y="53"/>
                    <a:pt x="16" y="50"/>
                    <a:pt x="13" y="46"/>
                  </a:cubicBezTo>
                  <a:cubicBezTo>
                    <a:pt x="9" y="42"/>
                    <a:pt x="8" y="43"/>
                    <a:pt x="10" y="47"/>
                  </a:cubicBezTo>
                  <a:cubicBezTo>
                    <a:pt x="11" y="52"/>
                    <a:pt x="15" y="54"/>
                    <a:pt x="16" y="58"/>
                  </a:cubicBezTo>
                  <a:cubicBezTo>
                    <a:pt x="16" y="61"/>
                    <a:pt x="15" y="76"/>
                    <a:pt x="16" y="89"/>
                  </a:cubicBezTo>
                  <a:cubicBezTo>
                    <a:pt x="16" y="101"/>
                    <a:pt x="15" y="100"/>
                    <a:pt x="12" y="96"/>
                  </a:cubicBezTo>
                  <a:cubicBezTo>
                    <a:pt x="10" y="92"/>
                    <a:pt x="7" y="97"/>
                    <a:pt x="8" y="101"/>
                  </a:cubicBezTo>
                  <a:cubicBezTo>
                    <a:pt x="9" y="105"/>
                    <a:pt x="18" y="109"/>
                    <a:pt x="22" y="112"/>
                  </a:cubicBezTo>
                  <a:cubicBezTo>
                    <a:pt x="26" y="115"/>
                    <a:pt x="27" y="120"/>
                    <a:pt x="24" y="117"/>
                  </a:cubicBezTo>
                  <a:cubicBezTo>
                    <a:pt x="21" y="115"/>
                    <a:pt x="13" y="113"/>
                    <a:pt x="18" y="118"/>
                  </a:cubicBezTo>
                  <a:cubicBezTo>
                    <a:pt x="21" y="122"/>
                    <a:pt x="15" y="118"/>
                    <a:pt x="8" y="113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83">
              <a:extLst>
                <a:ext uri="{FF2B5EF4-FFF2-40B4-BE49-F238E27FC236}">
                  <a16:creationId xmlns:a16="http://schemas.microsoft.com/office/drawing/2014/main" id="{544BA034-829A-4209-98D2-1E4F7F463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3" y="932"/>
              <a:ext cx="60" cy="185"/>
            </a:xfrm>
            <a:custGeom>
              <a:avLst/>
              <a:gdLst>
                <a:gd name="T0" fmla="*/ 0 w 25"/>
                <a:gd name="T1" fmla="*/ 73 h 77"/>
                <a:gd name="T2" fmla="*/ 12 w 25"/>
                <a:gd name="T3" fmla="*/ 76 h 77"/>
                <a:gd name="T4" fmla="*/ 24 w 25"/>
                <a:gd name="T5" fmla="*/ 36 h 77"/>
                <a:gd name="T6" fmla="*/ 0 w 25"/>
                <a:gd name="T7" fmla="*/ 7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77">
                  <a:moveTo>
                    <a:pt x="0" y="73"/>
                  </a:moveTo>
                  <a:cubicBezTo>
                    <a:pt x="3" y="75"/>
                    <a:pt x="8" y="77"/>
                    <a:pt x="12" y="76"/>
                  </a:cubicBezTo>
                  <a:cubicBezTo>
                    <a:pt x="15" y="74"/>
                    <a:pt x="25" y="59"/>
                    <a:pt x="24" y="36"/>
                  </a:cubicBezTo>
                  <a:cubicBezTo>
                    <a:pt x="23" y="0"/>
                    <a:pt x="2" y="68"/>
                    <a:pt x="0" y="73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84">
              <a:extLst>
                <a:ext uri="{FF2B5EF4-FFF2-40B4-BE49-F238E27FC236}">
                  <a16:creationId xmlns:a16="http://schemas.microsoft.com/office/drawing/2014/main" id="{F5048ACA-6147-4332-8B9D-114C15DA7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9" y="833"/>
              <a:ext cx="110" cy="287"/>
            </a:xfrm>
            <a:custGeom>
              <a:avLst/>
              <a:gdLst>
                <a:gd name="T0" fmla="*/ 19 w 46"/>
                <a:gd name="T1" fmla="*/ 0 h 119"/>
                <a:gd name="T2" fmla="*/ 2 w 46"/>
                <a:gd name="T3" fmla="*/ 10 h 119"/>
                <a:gd name="T4" fmla="*/ 4 w 46"/>
                <a:gd name="T5" fmla="*/ 28 h 119"/>
                <a:gd name="T6" fmla="*/ 11 w 46"/>
                <a:gd name="T7" fmla="*/ 65 h 119"/>
                <a:gd name="T8" fmla="*/ 8 w 46"/>
                <a:gd name="T9" fmla="*/ 103 h 119"/>
                <a:gd name="T10" fmla="*/ 9 w 46"/>
                <a:gd name="T11" fmla="*/ 114 h 119"/>
                <a:gd name="T12" fmla="*/ 23 w 46"/>
                <a:gd name="T13" fmla="*/ 115 h 119"/>
                <a:gd name="T14" fmla="*/ 19 w 46"/>
                <a:gd name="T1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119">
                  <a:moveTo>
                    <a:pt x="19" y="0"/>
                  </a:moveTo>
                  <a:cubicBezTo>
                    <a:pt x="19" y="0"/>
                    <a:pt x="5" y="8"/>
                    <a:pt x="2" y="10"/>
                  </a:cubicBezTo>
                  <a:cubicBezTo>
                    <a:pt x="0" y="11"/>
                    <a:pt x="0" y="14"/>
                    <a:pt x="4" y="28"/>
                  </a:cubicBezTo>
                  <a:cubicBezTo>
                    <a:pt x="9" y="43"/>
                    <a:pt x="11" y="56"/>
                    <a:pt x="11" y="65"/>
                  </a:cubicBezTo>
                  <a:cubicBezTo>
                    <a:pt x="11" y="75"/>
                    <a:pt x="9" y="96"/>
                    <a:pt x="8" y="103"/>
                  </a:cubicBezTo>
                  <a:cubicBezTo>
                    <a:pt x="7" y="109"/>
                    <a:pt x="5" y="113"/>
                    <a:pt x="9" y="114"/>
                  </a:cubicBezTo>
                  <a:cubicBezTo>
                    <a:pt x="13" y="115"/>
                    <a:pt x="20" y="119"/>
                    <a:pt x="23" y="115"/>
                  </a:cubicBezTo>
                  <a:cubicBezTo>
                    <a:pt x="46" y="84"/>
                    <a:pt x="30" y="31"/>
                    <a:pt x="19" y="0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85">
              <a:extLst>
                <a:ext uri="{FF2B5EF4-FFF2-40B4-BE49-F238E27FC236}">
                  <a16:creationId xmlns:a16="http://schemas.microsoft.com/office/drawing/2014/main" id="{08B6A3A2-2236-4E09-94EA-171AA05390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6" y="1014"/>
              <a:ext cx="41" cy="94"/>
            </a:xfrm>
            <a:custGeom>
              <a:avLst/>
              <a:gdLst>
                <a:gd name="T0" fmla="*/ 0 w 17"/>
                <a:gd name="T1" fmla="*/ 5 h 39"/>
                <a:gd name="T2" fmla="*/ 9 w 17"/>
                <a:gd name="T3" fmla="*/ 39 h 39"/>
                <a:gd name="T4" fmla="*/ 15 w 17"/>
                <a:gd name="T5" fmla="*/ 31 h 39"/>
                <a:gd name="T6" fmla="*/ 0 w 17"/>
                <a:gd name="T7" fmla="*/ 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39">
                  <a:moveTo>
                    <a:pt x="0" y="5"/>
                  </a:moveTo>
                  <a:cubicBezTo>
                    <a:pt x="0" y="11"/>
                    <a:pt x="3" y="38"/>
                    <a:pt x="9" y="39"/>
                  </a:cubicBezTo>
                  <a:cubicBezTo>
                    <a:pt x="15" y="39"/>
                    <a:pt x="17" y="33"/>
                    <a:pt x="15" y="31"/>
                  </a:cubicBezTo>
                  <a:cubicBezTo>
                    <a:pt x="14" y="28"/>
                    <a:pt x="7" y="0"/>
                    <a:pt x="0" y="5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86">
              <a:extLst>
                <a:ext uri="{FF2B5EF4-FFF2-40B4-BE49-F238E27FC236}">
                  <a16:creationId xmlns:a16="http://schemas.microsoft.com/office/drawing/2014/main" id="{9999DC1A-24EA-437B-84E9-E7A13A782A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" y="829"/>
              <a:ext cx="67" cy="279"/>
            </a:xfrm>
            <a:custGeom>
              <a:avLst/>
              <a:gdLst>
                <a:gd name="T0" fmla="*/ 0 w 28"/>
                <a:gd name="T1" fmla="*/ 0 h 116"/>
                <a:gd name="T2" fmla="*/ 17 w 28"/>
                <a:gd name="T3" fmla="*/ 5 h 116"/>
                <a:gd name="T4" fmla="*/ 20 w 28"/>
                <a:gd name="T5" fmla="*/ 22 h 116"/>
                <a:gd name="T6" fmla="*/ 19 w 28"/>
                <a:gd name="T7" fmla="*/ 68 h 116"/>
                <a:gd name="T8" fmla="*/ 26 w 28"/>
                <a:gd name="T9" fmla="*/ 107 h 116"/>
                <a:gd name="T10" fmla="*/ 22 w 28"/>
                <a:gd name="T11" fmla="*/ 115 h 116"/>
                <a:gd name="T12" fmla="*/ 14 w 28"/>
                <a:gd name="T13" fmla="*/ 105 h 116"/>
                <a:gd name="T14" fmla="*/ 8 w 28"/>
                <a:gd name="T15" fmla="*/ 56 h 116"/>
                <a:gd name="T16" fmla="*/ 0 w 28"/>
                <a:gd name="T17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16">
                  <a:moveTo>
                    <a:pt x="0" y="0"/>
                  </a:moveTo>
                  <a:cubicBezTo>
                    <a:pt x="6" y="2"/>
                    <a:pt x="15" y="4"/>
                    <a:pt x="17" y="5"/>
                  </a:cubicBezTo>
                  <a:cubicBezTo>
                    <a:pt x="20" y="7"/>
                    <a:pt x="21" y="6"/>
                    <a:pt x="20" y="22"/>
                  </a:cubicBezTo>
                  <a:cubicBezTo>
                    <a:pt x="18" y="38"/>
                    <a:pt x="18" y="61"/>
                    <a:pt x="19" y="68"/>
                  </a:cubicBezTo>
                  <a:cubicBezTo>
                    <a:pt x="20" y="75"/>
                    <a:pt x="24" y="103"/>
                    <a:pt x="26" y="107"/>
                  </a:cubicBezTo>
                  <a:cubicBezTo>
                    <a:pt x="28" y="111"/>
                    <a:pt x="24" y="114"/>
                    <a:pt x="22" y="115"/>
                  </a:cubicBezTo>
                  <a:cubicBezTo>
                    <a:pt x="20" y="116"/>
                    <a:pt x="17" y="115"/>
                    <a:pt x="14" y="105"/>
                  </a:cubicBezTo>
                  <a:cubicBezTo>
                    <a:pt x="12" y="95"/>
                    <a:pt x="8" y="80"/>
                    <a:pt x="8" y="56"/>
                  </a:cubicBezTo>
                  <a:cubicBezTo>
                    <a:pt x="7" y="31"/>
                    <a:pt x="9" y="19"/>
                    <a:pt x="0" y="0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87">
              <a:extLst>
                <a:ext uri="{FF2B5EF4-FFF2-40B4-BE49-F238E27FC236}">
                  <a16:creationId xmlns:a16="http://schemas.microsoft.com/office/drawing/2014/main" id="{8E4F45A9-4819-4F8E-B4B6-167F7FC77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" y="829"/>
              <a:ext cx="58" cy="163"/>
            </a:xfrm>
            <a:custGeom>
              <a:avLst/>
              <a:gdLst>
                <a:gd name="T0" fmla="*/ 9 w 24"/>
                <a:gd name="T1" fmla="*/ 0 h 68"/>
                <a:gd name="T2" fmla="*/ 3 w 24"/>
                <a:gd name="T3" fmla="*/ 10 h 68"/>
                <a:gd name="T4" fmla="*/ 6 w 24"/>
                <a:gd name="T5" fmla="*/ 12 h 68"/>
                <a:gd name="T6" fmla="*/ 0 w 24"/>
                <a:gd name="T7" fmla="*/ 12 h 68"/>
                <a:gd name="T8" fmla="*/ 23 w 24"/>
                <a:gd name="T9" fmla="*/ 66 h 68"/>
                <a:gd name="T10" fmla="*/ 9 w 24"/>
                <a:gd name="T1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68">
                  <a:moveTo>
                    <a:pt x="9" y="0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3" y="66"/>
                    <a:pt x="23" y="66"/>
                    <a:pt x="23" y="66"/>
                  </a:cubicBezTo>
                  <a:cubicBezTo>
                    <a:pt x="24" y="68"/>
                    <a:pt x="16" y="17"/>
                    <a:pt x="9" y="0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88">
              <a:extLst>
                <a:ext uri="{FF2B5EF4-FFF2-40B4-BE49-F238E27FC236}">
                  <a16:creationId xmlns:a16="http://schemas.microsoft.com/office/drawing/2014/main" id="{8BD7819D-1D89-4FE3-9A96-EB47DC8E1E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0" y="821"/>
              <a:ext cx="36" cy="157"/>
            </a:xfrm>
            <a:custGeom>
              <a:avLst/>
              <a:gdLst>
                <a:gd name="T0" fmla="*/ 0 w 15"/>
                <a:gd name="T1" fmla="*/ 0 h 65"/>
                <a:gd name="T2" fmla="*/ 12 w 15"/>
                <a:gd name="T3" fmla="*/ 10 h 65"/>
                <a:gd name="T4" fmla="*/ 9 w 15"/>
                <a:gd name="T5" fmla="*/ 13 h 65"/>
                <a:gd name="T6" fmla="*/ 15 w 15"/>
                <a:gd name="T7" fmla="*/ 13 h 65"/>
                <a:gd name="T8" fmla="*/ 9 w 15"/>
                <a:gd name="T9" fmla="*/ 65 h 65"/>
                <a:gd name="T10" fmla="*/ 0 w 15"/>
                <a:gd name="T1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65">
                  <a:moveTo>
                    <a:pt x="0" y="0"/>
                  </a:moveTo>
                  <a:cubicBezTo>
                    <a:pt x="12" y="10"/>
                    <a:pt x="12" y="10"/>
                    <a:pt x="12" y="10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9" y="65"/>
                    <a:pt x="8" y="16"/>
                    <a:pt x="0" y="0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89">
              <a:extLst>
                <a:ext uri="{FF2B5EF4-FFF2-40B4-BE49-F238E27FC236}">
                  <a16:creationId xmlns:a16="http://schemas.microsoft.com/office/drawing/2014/main" id="{684909D7-C9C5-45D4-8678-74C1186C16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" y="1031"/>
              <a:ext cx="84" cy="255"/>
            </a:xfrm>
            <a:custGeom>
              <a:avLst/>
              <a:gdLst>
                <a:gd name="T0" fmla="*/ 13 w 35"/>
                <a:gd name="T1" fmla="*/ 106 h 106"/>
                <a:gd name="T2" fmla="*/ 16 w 35"/>
                <a:gd name="T3" fmla="*/ 91 h 106"/>
                <a:gd name="T4" fmla="*/ 12 w 35"/>
                <a:gd name="T5" fmla="*/ 62 h 106"/>
                <a:gd name="T6" fmla="*/ 2 w 35"/>
                <a:gd name="T7" fmla="*/ 40 h 106"/>
                <a:gd name="T8" fmla="*/ 1 w 35"/>
                <a:gd name="T9" fmla="*/ 39 h 106"/>
                <a:gd name="T10" fmla="*/ 2 w 35"/>
                <a:gd name="T11" fmla="*/ 33 h 106"/>
                <a:gd name="T12" fmla="*/ 2 w 35"/>
                <a:gd name="T13" fmla="*/ 2 h 106"/>
                <a:gd name="T14" fmla="*/ 3 w 35"/>
                <a:gd name="T15" fmla="*/ 22 h 106"/>
                <a:gd name="T16" fmla="*/ 13 w 35"/>
                <a:gd name="T17" fmla="*/ 31 h 106"/>
                <a:gd name="T18" fmla="*/ 10 w 35"/>
                <a:gd name="T19" fmla="*/ 32 h 106"/>
                <a:gd name="T20" fmla="*/ 5 w 35"/>
                <a:gd name="T21" fmla="*/ 34 h 106"/>
                <a:gd name="T22" fmla="*/ 26 w 35"/>
                <a:gd name="T23" fmla="*/ 57 h 106"/>
                <a:gd name="T24" fmla="*/ 30 w 35"/>
                <a:gd name="T25" fmla="*/ 65 h 106"/>
                <a:gd name="T26" fmla="*/ 15 w 35"/>
                <a:gd name="T27" fmla="*/ 55 h 106"/>
                <a:gd name="T28" fmla="*/ 31 w 35"/>
                <a:gd name="T29" fmla="*/ 74 h 106"/>
                <a:gd name="T30" fmla="*/ 22 w 35"/>
                <a:gd name="T31" fmla="*/ 67 h 106"/>
                <a:gd name="T32" fmla="*/ 16 w 35"/>
                <a:gd name="T33" fmla="*/ 64 h 106"/>
                <a:gd name="T34" fmla="*/ 30 w 35"/>
                <a:gd name="T35" fmla="*/ 79 h 106"/>
                <a:gd name="T36" fmla="*/ 18 w 35"/>
                <a:gd name="T37" fmla="*/ 72 h 106"/>
                <a:gd name="T38" fmla="*/ 23 w 35"/>
                <a:gd name="T39" fmla="*/ 82 h 106"/>
                <a:gd name="T40" fmla="*/ 19 w 35"/>
                <a:gd name="T41" fmla="*/ 85 h 106"/>
                <a:gd name="T42" fmla="*/ 17 w 35"/>
                <a:gd name="T43" fmla="*/ 92 h 106"/>
                <a:gd name="T44" fmla="*/ 22 w 35"/>
                <a:gd name="T45" fmla="*/ 91 h 106"/>
                <a:gd name="T46" fmla="*/ 30 w 35"/>
                <a:gd name="T47" fmla="*/ 85 h 106"/>
                <a:gd name="T48" fmla="*/ 16 w 35"/>
                <a:gd name="T49" fmla="*/ 99 h 106"/>
                <a:gd name="T50" fmla="*/ 13 w 35"/>
                <a:gd name="T5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5" h="106">
                  <a:moveTo>
                    <a:pt x="13" y="106"/>
                  </a:moveTo>
                  <a:cubicBezTo>
                    <a:pt x="14" y="100"/>
                    <a:pt x="15" y="95"/>
                    <a:pt x="16" y="91"/>
                  </a:cubicBezTo>
                  <a:cubicBezTo>
                    <a:pt x="18" y="83"/>
                    <a:pt x="16" y="74"/>
                    <a:pt x="12" y="62"/>
                  </a:cubicBezTo>
                  <a:cubicBezTo>
                    <a:pt x="8" y="50"/>
                    <a:pt x="3" y="42"/>
                    <a:pt x="2" y="40"/>
                  </a:cubicBezTo>
                  <a:cubicBezTo>
                    <a:pt x="2" y="39"/>
                    <a:pt x="2" y="39"/>
                    <a:pt x="1" y="39"/>
                  </a:cubicBezTo>
                  <a:cubicBezTo>
                    <a:pt x="2" y="37"/>
                    <a:pt x="2" y="36"/>
                    <a:pt x="2" y="33"/>
                  </a:cubicBezTo>
                  <a:cubicBezTo>
                    <a:pt x="2" y="29"/>
                    <a:pt x="0" y="0"/>
                    <a:pt x="2" y="2"/>
                  </a:cubicBezTo>
                  <a:cubicBezTo>
                    <a:pt x="2" y="4"/>
                    <a:pt x="3" y="19"/>
                    <a:pt x="3" y="22"/>
                  </a:cubicBezTo>
                  <a:cubicBezTo>
                    <a:pt x="3" y="26"/>
                    <a:pt x="8" y="29"/>
                    <a:pt x="13" y="31"/>
                  </a:cubicBezTo>
                  <a:cubicBezTo>
                    <a:pt x="18" y="33"/>
                    <a:pt x="14" y="34"/>
                    <a:pt x="10" y="32"/>
                  </a:cubicBezTo>
                  <a:cubicBezTo>
                    <a:pt x="5" y="30"/>
                    <a:pt x="2" y="31"/>
                    <a:pt x="5" y="34"/>
                  </a:cubicBezTo>
                  <a:cubicBezTo>
                    <a:pt x="8" y="38"/>
                    <a:pt x="20" y="50"/>
                    <a:pt x="26" y="57"/>
                  </a:cubicBezTo>
                  <a:cubicBezTo>
                    <a:pt x="31" y="64"/>
                    <a:pt x="34" y="70"/>
                    <a:pt x="30" y="65"/>
                  </a:cubicBezTo>
                  <a:cubicBezTo>
                    <a:pt x="25" y="61"/>
                    <a:pt x="10" y="49"/>
                    <a:pt x="15" y="55"/>
                  </a:cubicBezTo>
                  <a:cubicBezTo>
                    <a:pt x="20" y="61"/>
                    <a:pt x="29" y="71"/>
                    <a:pt x="31" y="74"/>
                  </a:cubicBezTo>
                  <a:cubicBezTo>
                    <a:pt x="32" y="76"/>
                    <a:pt x="27" y="71"/>
                    <a:pt x="22" y="67"/>
                  </a:cubicBezTo>
                  <a:cubicBezTo>
                    <a:pt x="17" y="62"/>
                    <a:pt x="11" y="59"/>
                    <a:pt x="16" y="64"/>
                  </a:cubicBezTo>
                  <a:cubicBezTo>
                    <a:pt x="21" y="70"/>
                    <a:pt x="35" y="81"/>
                    <a:pt x="30" y="79"/>
                  </a:cubicBezTo>
                  <a:cubicBezTo>
                    <a:pt x="26" y="76"/>
                    <a:pt x="15" y="66"/>
                    <a:pt x="18" y="72"/>
                  </a:cubicBezTo>
                  <a:cubicBezTo>
                    <a:pt x="22" y="78"/>
                    <a:pt x="26" y="85"/>
                    <a:pt x="23" y="82"/>
                  </a:cubicBezTo>
                  <a:cubicBezTo>
                    <a:pt x="20" y="79"/>
                    <a:pt x="17" y="82"/>
                    <a:pt x="19" y="85"/>
                  </a:cubicBezTo>
                  <a:cubicBezTo>
                    <a:pt x="21" y="87"/>
                    <a:pt x="18" y="90"/>
                    <a:pt x="17" y="92"/>
                  </a:cubicBezTo>
                  <a:cubicBezTo>
                    <a:pt x="16" y="94"/>
                    <a:pt x="19" y="94"/>
                    <a:pt x="22" y="91"/>
                  </a:cubicBezTo>
                  <a:cubicBezTo>
                    <a:pt x="26" y="87"/>
                    <a:pt x="34" y="80"/>
                    <a:pt x="30" y="85"/>
                  </a:cubicBezTo>
                  <a:cubicBezTo>
                    <a:pt x="27" y="90"/>
                    <a:pt x="17" y="94"/>
                    <a:pt x="16" y="99"/>
                  </a:cubicBezTo>
                  <a:cubicBezTo>
                    <a:pt x="15" y="101"/>
                    <a:pt x="14" y="103"/>
                    <a:pt x="13" y="106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90">
              <a:extLst>
                <a:ext uri="{FF2B5EF4-FFF2-40B4-BE49-F238E27FC236}">
                  <a16:creationId xmlns:a16="http://schemas.microsoft.com/office/drawing/2014/main" id="{7A78BCA7-AB16-4630-B4A4-518849CB46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7" y="1399"/>
              <a:ext cx="22" cy="19"/>
            </a:xfrm>
            <a:custGeom>
              <a:avLst/>
              <a:gdLst>
                <a:gd name="T0" fmla="*/ 1 w 9"/>
                <a:gd name="T1" fmla="*/ 0 h 8"/>
                <a:gd name="T2" fmla="*/ 0 w 9"/>
                <a:gd name="T3" fmla="*/ 3 h 8"/>
                <a:gd name="T4" fmla="*/ 3 w 9"/>
                <a:gd name="T5" fmla="*/ 6 h 8"/>
                <a:gd name="T6" fmla="*/ 8 w 9"/>
                <a:gd name="T7" fmla="*/ 8 h 8"/>
                <a:gd name="T8" fmla="*/ 9 w 9"/>
                <a:gd name="T9" fmla="*/ 6 h 8"/>
                <a:gd name="T10" fmla="*/ 1 w 9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8">
                  <a:moveTo>
                    <a:pt x="1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0" y="4"/>
                    <a:pt x="1" y="4"/>
                    <a:pt x="3" y="6"/>
                  </a:cubicBezTo>
                  <a:cubicBezTo>
                    <a:pt x="6" y="7"/>
                    <a:pt x="8" y="8"/>
                    <a:pt x="8" y="8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4"/>
                    <a:pt x="4" y="2"/>
                    <a:pt x="1" y="0"/>
                  </a:cubicBezTo>
                  <a:close/>
                </a:path>
              </a:pathLst>
            </a:custGeom>
            <a:solidFill>
              <a:srgbClr val="0E10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91">
              <a:extLst>
                <a:ext uri="{FF2B5EF4-FFF2-40B4-BE49-F238E27FC236}">
                  <a16:creationId xmlns:a16="http://schemas.microsoft.com/office/drawing/2014/main" id="{C541B360-FA10-4DF3-BFF5-37CE922A3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" y="1392"/>
              <a:ext cx="36" cy="41"/>
            </a:xfrm>
            <a:custGeom>
              <a:avLst/>
              <a:gdLst>
                <a:gd name="T0" fmla="*/ 1 w 15"/>
                <a:gd name="T1" fmla="*/ 1 h 17"/>
                <a:gd name="T2" fmla="*/ 3 w 15"/>
                <a:gd name="T3" fmla="*/ 4 h 17"/>
                <a:gd name="T4" fmla="*/ 10 w 15"/>
                <a:gd name="T5" fmla="*/ 10 h 17"/>
                <a:gd name="T6" fmla="*/ 14 w 15"/>
                <a:gd name="T7" fmla="*/ 14 h 17"/>
                <a:gd name="T8" fmla="*/ 8 w 15"/>
                <a:gd name="T9" fmla="*/ 5 h 17"/>
                <a:gd name="T10" fmla="*/ 1 w 15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7">
                  <a:moveTo>
                    <a:pt x="1" y="1"/>
                  </a:moveTo>
                  <a:cubicBezTo>
                    <a:pt x="0" y="2"/>
                    <a:pt x="1" y="3"/>
                    <a:pt x="3" y="4"/>
                  </a:cubicBezTo>
                  <a:cubicBezTo>
                    <a:pt x="5" y="5"/>
                    <a:pt x="9" y="8"/>
                    <a:pt x="10" y="10"/>
                  </a:cubicBezTo>
                  <a:cubicBezTo>
                    <a:pt x="12" y="13"/>
                    <a:pt x="15" y="17"/>
                    <a:pt x="14" y="14"/>
                  </a:cubicBezTo>
                  <a:cubicBezTo>
                    <a:pt x="13" y="11"/>
                    <a:pt x="11" y="7"/>
                    <a:pt x="8" y="5"/>
                  </a:cubicBezTo>
                  <a:cubicBezTo>
                    <a:pt x="5" y="3"/>
                    <a:pt x="1" y="0"/>
                    <a:pt x="1" y="1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92">
              <a:extLst>
                <a:ext uri="{FF2B5EF4-FFF2-40B4-BE49-F238E27FC236}">
                  <a16:creationId xmlns:a16="http://schemas.microsoft.com/office/drawing/2014/main" id="{1C2A2AFB-7C64-476D-8E67-DABAEB6A2B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1" y="1397"/>
              <a:ext cx="38" cy="33"/>
            </a:xfrm>
            <a:custGeom>
              <a:avLst/>
              <a:gdLst>
                <a:gd name="T0" fmla="*/ 3 w 16"/>
                <a:gd name="T1" fmla="*/ 2 h 14"/>
                <a:gd name="T2" fmla="*/ 7 w 16"/>
                <a:gd name="T3" fmla="*/ 9 h 14"/>
                <a:gd name="T4" fmla="*/ 13 w 16"/>
                <a:gd name="T5" fmla="*/ 13 h 14"/>
                <a:gd name="T6" fmla="*/ 13 w 16"/>
                <a:gd name="T7" fmla="*/ 12 h 14"/>
                <a:gd name="T8" fmla="*/ 8 w 16"/>
                <a:gd name="T9" fmla="*/ 4 h 14"/>
                <a:gd name="T10" fmla="*/ 4 w 16"/>
                <a:gd name="T11" fmla="*/ 1 h 14"/>
                <a:gd name="T12" fmla="*/ 3 w 16"/>
                <a:gd name="T13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4">
                  <a:moveTo>
                    <a:pt x="3" y="2"/>
                  </a:moveTo>
                  <a:cubicBezTo>
                    <a:pt x="5" y="3"/>
                    <a:pt x="5" y="6"/>
                    <a:pt x="7" y="9"/>
                  </a:cubicBezTo>
                  <a:cubicBezTo>
                    <a:pt x="8" y="12"/>
                    <a:pt x="9" y="12"/>
                    <a:pt x="13" y="13"/>
                  </a:cubicBezTo>
                  <a:cubicBezTo>
                    <a:pt x="16" y="14"/>
                    <a:pt x="16" y="13"/>
                    <a:pt x="13" y="12"/>
                  </a:cubicBezTo>
                  <a:cubicBezTo>
                    <a:pt x="11" y="10"/>
                    <a:pt x="8" y="7"/>
                    <a:pt x="8" y="4"/>
                  </a:cubicBezTo>
                  <a:cubicBezTo>
                    <a:pt x="8" y="2"/>
                    <a:pt x="7" y="1"/>
                    <a:pt x="4" y="1"/>
                  </a:cubicBezTo>
                  <a:cubicBezTo>
                    <a:pt x="2" y="0"/>
                    <a:pt x="0" y="1"/>
                    <a:pt x="3" y="2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93">
              <a:extLst>
                <a:ext uri="{FF2B5EF4-FFF2-40B4-BE49-F238E27FC236}">
                  <a16:creationId xmlns:a16="http://schemas.microsoft.com/office/drawing/2014/main" id="{E2994FC3-9C12-4473-B7D6-F86FA5DB5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6" y="1409"/>
              <a:ext cx="19" cy="36"/>
            </a:xfrm>
            <a:custGeom>
              <a:avLst/>
              <a:gdLst>
                <a:gd name="T0" fmla="*/ 2 w 8"/>
                <a:gd name="T1" fmla="*/ 3 h 15"/>
                <a:gd name="T2" fmla="*/ 0 w 8"/>
                <a:gd name="T3" fmla="*/ 13 h 15"/>
                <a:gd name="T4" fmla="*/ 3 w 8"/>
                <a:gd name="T5" fmla="*/ 15 h 15"/>
                <a:gd name="T6" fmla="*/ 6 w 8"/>
                <a:gd name="T7" fmla="*/ 13 h 15"/>
                <a:gd name="T8" fmla="*/ 4 w 8"/>
                <a:gd name="T9" fmla="*/ 8 h 15"/>
                <a:gd name="T10" fmla="*/ 2 w 8"/>
                <a:gd name="T11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5">
                  <a:moveTo>
                    <a:pt x="2" y="3"/>
                  </a:moveTo>
                  <a:cubicBezTo>
                    <a:pt x="2" y="6"/>
                    <a:pt x="0" y="11"/>
                    <a:pt x="0" y="13"/>
                  </a:cubicBezTo>
                  <a:cubicBezTo>
                    <a:pt x="0" y="15"/>
                    <a:pt x="1" y="15"/>
                    <a:pt x="3" y="15"/>
                  </a:cubicBezTo>
                  <a:cubicBezTo>
                    <a:pt x="6" y="15"/>
                    <a:pt x="8" y="15"/>
                    <a:pt x="6" y="13"/>
                  </a:cubicBezTo>
                  <a:cubicBezTo>
                    <a:pt x="3" y="10"/>
                    <a:pt x="3" y="10"/>
                    <a:pt x="4" y="8"/>
                  </a:cubicBezTo>
                  <a:cubicBezTo>
                    <a:pt x="6" y="6"/>
                    <a:pt x="4" y="0"/>
                    <a:pt x="2" y="3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94">
              <a:extLst>
                <a:ext uri="{FF2B5EF4-FFF2-40B4-BE49-F238E27FC236}">
                  <a16:creationId xmlns:a16="http://schemas.microsoft.com/office/drawing/2014/main" id="{27C3685D-41CB-4E6A-99C0-C2E65827B5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0" y="829"/>
              <a:ext cx="53" cy="163"/>
            </a:xfrm>
            <a:custGeom>
              <a:avLst/>
              <a:gdLst>
                <a:gd name="T0" fmla="*/ 7 w 22"/>
                <a:gd name="T1" fmla="*/ 0 h 68"/>
                <a:gd name="T2" fmla="*/ 2 w 22"/>
                <a:gd name="T3" fmla="*/ 10 h 68"/>
                <a:gd name="T4" fmla="*/ 7 w 22"/>
                <a:gd name="T5" fmla="*/ 12 h 68"/>
                <a:gd name="T6" fmla="*/ 0 w 22"/>
                <a:gd name="T7" fmla="*/ 13 h 68"/>
                <a:gd name="T8" fmla="*/ 21 w 22"/>
                <a:gd name="T9" fmla="*/ 66 h 68"/>
                <a:gd name="T10" fmla="*/ 7 w 22"/>
                <a:gd name="T1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68">
                  <a:moveTo>
                    <a:pt x="7" y="0"/>
                  </a:moveTo>
                  <a:cubicBezTo>
                    <a:pt x="2" y="10"/>
                    <a:pt x="2" y="10"/>
                    <a:pt x="2" y="1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22" y="68"/>
                    <a:pt x="14" y="17"/>
                    <a:pt x="7" y="0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95">
              <a:extLst>
                <a:ext uri="{FF2B5EF4-FFF2-40B4-BE49-F238E27FC236}">
                  <a16:creationId xmlns:a16="http://schemas.microsoft.com/office/drawing/2014/main" id="{0EE02CDD-2F11-48A4-BF07-0A2B0F45F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0" y="821"/>
              <a:ext cx="28" cy="157"/>
            </a:xfrm>
            <a:custGeom>
              <a:avLst/>
              <a:gdLst>
                <a:gd name="T0" fmla="*/ 0 w 12"/>
                <a:gd name="T1" fmla="*/ 0 h 65"/>
                <a:gd name="T2" fmla="*/ 10 w 12"/>
                <a:gd name="T3" fmla="*/ 11 h 65"/>
                <a:gd name="T4" fmla="*/ 8 w 12"/>
                <a:gd name="T5" fmla="*/ 13 h 65"/>
                <a:gd name="T6" fmla="*/ 12 w 12"/>
                <a:gd name="T7" fmla="*/ 14 h 65"/>
                <a:gd name="T8" fmla="*/ 9 w 12"/>
                <a:gd name="T9" fmla="*/ 65 h 65"/>
                <a:gd name="T10" fmla="*/ 0 w 12"/>
                <a:gd name="T1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5">
                  <a:moveTo>
                    <a:pt x="0" y="0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9" y="65"/>
                    <a:pt x="8" y="16"/>
                    <a:pt x="0" y="0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96">
              <a:extLst>
                <a:ext uri="{FF2B5EF4-FFF2-40B4-BE49-F238E27FC236}">
                  <a16:creationId xmlns:a16="http://schemas.microsoft.com/office/drawing/2014/main" id="{64BB1EFD-D178-4568-9573-40C464E137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3" y="1132"/>
              <a:ext cx="94" cy="127"/>
            </a:xfrm>
            <a:custGeom>
              <a:avLst/>
              <a:gdLst>
                <a:gd name="T0" fmla="*/ 39 w 39"/>
                <a:gd name="T1" fmla="*/ 13 h 53"/>
                <a:gd name="T2" fmla="*/ 9 w 39"/>
                <a:gd name="T3" fmla="*/ 0 h 53"/>
                <a:gd name="T4" fmla="*/ 1 w 39"/>
                <a:gd name="T5" fmla="*/ 10 h 53"/>
                <a:gd name="T6" fmla="*/ 0 w 39"/>
                <a:gd name="T7" fmla="*/ 39 h 53"/>
                <a:gd name="T8" fmla="*/ 30 w 39"/>
                <a:gd name="T9" fmla="*/ 53 h 53"/>
                <a:gd name="T10" fmla="*/ 39 w 39"/>
                <a:gd name="T11" fmla="*/ 1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53">
                  <a:moveTo>
                    <a:pt x="39" y="13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6" y="35"/>
                    <a:pt x="39" y="13"/>
                  </a:cubicBezTo>
                  <a:close/>
                </a:path>
              </a:pathLst>
            </a:custGeom>
            <a:solidFill>
              <a:srgbClr val="F28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97">
              <a:extLst>
                <a:ext uri="{FF2B5EF4-FFF2-40B4-BE49-F238E27FC236}">
                  <a16:creationId xmlns:a16="http://schemas.microsoft.com/office/drawing/2014/main" id="{B445708E-3CC6-428D-9B20-4C5D17D5E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1" y="1163"/>
              <a:ext cx="28" cy="99"/>
            </a:xfrm>
            <a:custGeom>
              <a:avLst/>
              <a:gdLst>
                <a:gd name="T0" fmla="*/ 10 w 12"/>
                <a:gd name="T1" fmla="*/ 0 h 41"/>
                <a:gd name="T2" fmla="*/ 3 w 12"/>
                <a:gd name="T3" fmla="*/ 0 h 41"/>
                <a:gd name="T4" fmla="*/ 0 w 12"/>
                <a:gd name="T5" fmla="*/ 3 h 41"/>
                <a:gd name="T6" fmla="*/ 0 w 12"/>
                <a:gd name="T7" fmla="*/ 38 h 41"/>
                <a:gd name="T8" fmla="*/ 3 w 12"/>
                <a:gd name="T9" fmla="*/ 41 h 41"/>
                <a:gd name="T10" fmla="*/ 10 w 12"/>
                <a:gd name="T11" fmla="*/ 41 h 41"/>
                <a:gd name="T12" fmla="*/ 12 w 12"/>
                <a:gd name="T13" fmla="*/ 38 h 41"/>
                <a:gd name="T14" fmla="*/ 12 w 12"/>
                <a:gd name="T15" fmla="*/ 3 h 41"/>
                <a:gd name="T16" fmla="*/ 10 w 12"/>
                <a:gd name="T1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41">
                  <a:moveTo>
                    <a:pt x="10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0"/>
                    <a:pt x="1" y="41"/>
                    <a:pt x="3" y="41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1" y="41"/>
                    <a:pt x="12" y="40"/>
                    <a:pt x="12" y="38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1"/>
                    <a:pt x="11" y="0"/>
                    <a:pt x="10" y="0"/>
                  </a:cubicBezTo>
                  <a:close/>
                </a:path>
              </a:pathLst>
            </a:custGeom>
            <a:solidFill>
              <a:srgbClr val="F28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98">
              <a:extLst>
                <a:ext uri="{FF2B5EF4-FFF2-40B4-BE49-F238E27FC236}">
                  <a16:creationId xmlns:a16="http://schemas.microsoft.com/office/drawing/2014/main" id="{51B89648-C601-4517-82D7-DD6803A5E2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5" y="1168"/>
              <a:ext cx="22" cy="89"/>
            </a:xfrm>
            <a:custGeom>
              <a:avLst/>
              <a:gdLst>
                <a:gd name="T0" fmla="*/ 8 w 9"/>
                <a:gd name="T1" fmla="*/ 0 h 37"/>
                <a:gd name="T2" fmla="*/ 1 w 9"/>
                <a:gd name="T3" fmla="*/ 0 h 37"/>
                <a:gd name="T4" fmla="*/ 0 w 9"/>
                <a:gd name="T5" fmla="*/ 1 h 37"/>
                <a:gd name="T6" fmla="*/ 0 w 9"/>
                <a:gd name="T7" fmla="*/ 36 h 37"/>
                <a:gd name="T8" fmla="*/ 1 w 9"/>
                <a:gd name="T9" fmla="*/ 37 h 37"/>
                <a:gd name="T10" fmla="*/ 8 w 9"/>
                <a:gd name="T11" fmla="*/ 37 h 37"/>
                <a:gd name="T12" fmla="*/ 9 w 9"/>
                <a:gd name="T13" fmla="*/ 36 h 37"/>
                <a:gd name="T14" fmla="*/ 9 w 9"/>
                <a:gd name="T15" fmla="*/ 1 h 37"/>
                <a:gd name="T16" fmla="*/ 8 w 9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37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1" y="37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7"/>
                    <a:pt x="9" y="37"/>
                    <a:pt x="9" y="36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8" y="0"/>
                    <a:pt x="8" y="0"/>
                  </a:cubicBezTo>
                  <a:close/>
                </a:path>
              </a:pathLst>
            </a:custGeom>
            <a:solidFill>
              <a:srgbClr val="9A5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99">
              <a:extLst>
                <a:ext uri="{FF2B5EF4-FFF2-40B4-BE49-F238E27FC236}">
                  <a16:creationId xmlns:a16="http://schemas.microsoft.com/office/drawing/2014/main" id="{15ED544D-6A19-4172-9730-83FB9209F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7" y="1125"/>
              <a:ext cx="29" cy="16"/>
            </a:xfrm>
            <a:custGeom>
              <a:avLst/>
              <a:gdLst>
                <a:gd name="T0" fmla="*/ 0 w 12"/>
                <a:gd name="T1" fmla="*/ 5 h 7"/>
                <a:gd name="T2" fmla="*/ 2 w 12"/>
                <a:gd name="T3" fmla="*/ 7 h 7"/>
                <a:gd name="T4" fmla="*/ 3 w 12"/>
                <a:gd name="T5" fmla="*/ 5 h 7"/>
                <a:gd name="T6" fmla="*/ 3 w 12"/>
                <a:gd name="T7" fmla="*/ 4 h 7"/>
                <a:gd name="T8" fmla="*/ 10 w 12"/>
                <a:gd name="T9" fmla="*/ 7 h 7"/>
                <a:gd name="T10" fmla="*/ 12 w 12"/>
                <a:gd name="T11" fmla="*/ 6 h 7"/>
                <a:gd name="T12" fmla="*/ 11 w 12"/>
                <a:gd name="T13" fmla="*/ 4 h 7"/>
                <a:gd name="T14" fmla="*/ 4 w 12"/>
                <a:gd name="T15" fmla="*/ 1 h 7"/>
                <a:gd name="T16" fmla="*/ 4 w 12"/>
                <a:gd name="T17" fmla="*/ 1 h 7"/>
                <a:gd name="T18" fmla="*/ 2 w 12"/>
                <a:gd name="T19" fmla="*/ 0 h 7"/>
                <a:gd name="T20" fmla="*/ 0 w 12"/>
                <a:gd name="T21" fmla="*/ 3 h 7"/>
                <a:gd name="T22" fmla="*/ 0 w 12"/>
                <a:gd name="T23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7">
                  <a:moveTo>
                    <a:pt x="0" y="5"/>
                  </a:moveTo>
                  <a:cubicBezTo>
                    <a:pt x="0" y="6"/>
                    <a:pt x="1" y="7"/>
                    <a:pt x="2" y="7"/>
                  </a:cubicBezTo>
                  <a:cubicBezTo>
                    <a:pt x="3" y="7"/>
                    <a:pt x="3" y="6"/>
                    <a:pt x="3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2" y="7"/>
                    <a:pt x="12" y="6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3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9A5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100">
              <a:extLst>
                <a:ext uri="{FF2B5EF4-FFF2-40B4-BE49-F238E27FC236}">
                  <a16:creationId xmlns:a16="http://schemas.microsoft.com/office/drawing/2014/main" id="{5F559DD1-AA44-41BC-95AA-39447AFC77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4" y="1132"/>
              <a:ext cx="22" cy="24"/>
            </a:xfrm>
            <a:custGeom>
              <a:avLst/>
              <a:gdLst>
                <a:gd name="T0" fmla="*/ 6 w 9"/>
                <a:gd name="T1" fmla="*/ 8 h 10"/>
                <a:gd name="T2" fmla="*/ 8 w 9"/>
                <a:gd name="T3" fmla="*/ 10 h 10"/>
                <a:gd name="T4" fmla="*/ 9 w 9"/>
                <a:gd name="T5" fmla="*/ 8 h 10"/>
                <a:gd name="T6" fmla="*/ 9 w 9"/>
                <a:gd name="T7" fmla="*/ 6 h 10"/>
                <a:gd name="T8" fmla="*/ 6 w 9"/>
                <a:gd name="T9" fmla="*/ 2 h 10"/>
                <a:gd name="T10" fmla="*/ 2 w 9"/>
                <a:gd name="T11" fmla="*/ 0 h 10"/>
                <a:gd name="T12" fmla="*/ 0 w 9"/>
                <a:gd name="T13" fmla="*/ 1 h 10"/>
                <a:gd name="T14" fmla="*/ 1 w 9"/>
                <a:gd name="T15" fmla="*/ 3 h 10"/>
                <a:gd name="T16" fmla="*/ 5 w 9"/>
                <a:gd name="T17" fmla="*/ 5 h 10"/>
                <a:gd name="T18" fmla="*/ 6 w 9"/>
                <a:gd name="T19" fmla="*/ 6 h 10"/>
                <a:gd name="T20" fmla="*/ 6 w 9"/>
                <a:gd name="T2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10">
                  <a:moveTo>
                    <a:pt x="6" y="8"/>
                  </a:moveTo>
                  <a:cubicBezTo>
                    <a:pt x="6" y="9"/>
                    <a:pt x="7" y="10"/>
                    <a:pt x="8" y="10"/>
                  </a:cubicBezTo>
                  <a:cubicBezTo>
                    <a:pt x="9" y="10"/>
                    <a:pt x="9" y="9"/>
                    <a:pt x="9" y="8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3"/>
                    <a:pt x="8" y="3"/>
                    <a:pt x="6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5"/>
                    <a:pt x="6" y="5"/>
                    <a:pt x="6" y="6"/>
                  </a:cubicBezTo>
                  <a:lnTo>
                    <a:pt x="6" y="8"/>
                  </a:lnTo>
                  <a:close/>
                </a:path>
              </a:pathLst>
            </a:custGeom>
            <a:solidFill>
              <a:srgbClr val="9A5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01">
              <a:extLst>
                <a:ext uri="{FF2B5EF4-FFF2-40B4-BE49-F238E27FC236}">
                  <a16:creationId xmlns:a16="http://schemas.microsoft.com/office/drawing/2014/main" id="{73F2327E-5CF7-42D7-BFAA-6C648F8BCE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3" y="1139"/>
              <a:ext cx="72" cy="99"/>
            </a:xfrm>
            <a:custGeom>
              <a:avLst/>
              <a:gdLst>
                <a:gd name="T0" fmla="*/ 27 w 30"/>
                <a:gd name="T1" fmla="*/ 12 h 41"/>
                <a:gd name="T2" fmla="*/ 3 w 30"/>
                <a:gd name="T3" fmla="*/ 1 h 41"/>
                <a:gd name="T4" fmla="*/ 0 w 30"/>
                <a:gd name="T5" fmla="*/ 3 h 41"/>
                <a:gd name="T6" fmla="*/ 0 w 30"/>
                <a:gd name="T7" fmla="*/ 24 h 41"/>
                <a:gd name="T8" fmla="*/ 3 w 30"/>
                <a:gd name="T9" fmla="*/ 29 h 41"/>
                <a:gd name="T10" fmla="*/ 27 w 30"/>
                <a:gd name="T11" fmla="*/ 41 h 41"/>
                <a:gd name="T12" fmla="*/ 30 w 30"/>
                <a:gd name="T13" fmla="*/ 38 h 41"/>
                <a:gd name="T14" fmla="*/ 30 w 30"/>
                <a:gd name="T15" fmla="*/ 18 h 41"/>
                <a:gd name="T16" fmla="*/ 27 w 30"/>
                <a:gd name="T17" fmla="*/ 1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41">
                  <a:moveTo>
                    <a:pt x="27" y="12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6"/>
                    <a:pt x="1" y="28"/>
                    <a:pt x="3" y="29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8" y="41"/>
                    <a:pt x="30" y="40"/>
                    <a:pt x="30" y="3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6"/>
                    <a:pt x="28" y="13"/>
                    <a:pt x="27" y="12"/>
                  </a:cubicBezTo>
                  <a:close/>
                </a:path>
              </a:pathLst>
            </a:custGeom>
            <a:solidFill>
              <a:srgbClr val="9A5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02">
              <a:extLst>
                <a:ext uri="{FF2B5EF4-FFF2-40B4-BE49-F238E27FC236}">
                  <a16:creationId xmlns:a16="http://schemas.microsoft.com/office/drawing/2014/main" id="{61A37EDF-2C11-4256-A825-775BCE4DD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8" y="1139"/>
              <a:ext cx="77" cy="94"/>
            </a:xfrm>
            <a:custGeom>
              <a:avLst/>
              <a:gdLst>
                <a:gd name="T0" fmla="*/ 28 w 32"/>
                <a:gd name="T1" fmla="*/ 12 h 39"/>
                <a:gd name="T2" fmla="*/ 5 w 32"/>
                <a:gd name="T3" fmla="*/ 1 h 39"/>
                <a:gd name="T4" fmla="*/ 2 w 32"/>
                <a:gd name="T5" fmla="*/ 3 h 39"/>
                <a:gd name="T6" fmla="*/ 0 w 32"/>
                <a:gd name="T7" fmla="*/ 21 h 39"/>
                <a:gd name="T8" fmla="*/ 3 w 32"/>
                <a:gd name="T9" fmla="*/ 26 h 39"/>
                <a:gd name="T10" fmla="*/ 27 w 32"/>
                <a:gd name="T11" fmla="*/ 38 h 39"/>
                <a:gd name="T12" fmla="*/ 30 w 32"/>
                <a:gd name="T13" fmla="*/ 35 h 39"/>
                <a:gd name="T14" fmla="*/ 32 w 32"/>
                <a:gd name="T15" fmla="*/ 18 h 39"/>
                <a:gd name="T16" fmla="*/ 28 w 32"/>
                <a:gd name="T17" fmla="*/ 1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9">
                  <a:moveTo>
                    <a:pt x="28" y="12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1"/>
                    <a:pt x="2" y="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3"/>
                    <a:pt x="2" y="26"/>
                    <a:pt x="3" y="26"/>
                  </a:cubicBezTo>
                  <a:cubicBezTo>
                    <a:pt x="27" y="38"/>
                    <a:pt x="27" y="38"/>
                    <a:pt x="27" y="38"/>
                  </a:cubicBezTo>
                  <a:cubicBezTo>
                    <a:pt x="29" y="39"/>
                    <a:pt x="30" y="38"/>
                    <a:pt x="30" y="35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6"/>
                    <a:pt x="30" y="13"/>
                    <a:pt x="28" y="12"/>
                  </a:cubicBezTo>
                  <a:close/>
                </a:path>
              </a:pathLst>
            </a:custGeom>
            <a:solidFill>
              <a:srgbClr val="F28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03">
              <a:extLst>
                <a:ext uri="{FF2B5EF4-FFF2-40B4-BE49-F238E27FC236}">
                  <a16:creationId xmlns:a16="http://schemas.microsoft.com/office/drawing/2014/main" id="{0F0E72FD-92A3-4FCC-9CA9-36B73AEEA2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5" y="1084"/>
              <a:ext cx="34" cy="65"/>
            </a:xfrm>
            <a:custGeom>
              <a:avLst/>
              <a:gdLst>
                <a:gd name="T0" fmla="*/ 10 w 14"/>
                <a:gd name="T1" fmla="*/ 5 h 27"/>
                <a:gd name="T2" fmla="*/ 11 w 14"/>
                <a:gd name="T3" fmla="*/ 11 h 27"/>
                <a:gd name="T4" fmla="*/ 12 w 14"/>
                <a:gd name="T5" fmla="*/ 18 h 27"/>
                <a:gd name="T6" fmla="*/ 11 w 14"/>
                <a:gd name="T7" fmla="*/ 22 h 27"/>
                <a:gd name="T8" fmla="*/ 8 w 14"/>
                <a:gd name="T9" fmla="*/ 17 h 27"/>
                <a:gd name="T10" fmla="*/ 6 w 14"/>
                <a:gd name="T11" fmla="*/ 13 h 27"/>
                <a:gd name="T12" fmla="*/ 7 w 14"/>
                <a:gd name="T13" fmla="*/ 19 h 27"/>
                <a:gd name="T14" fmla="*/ 9 w 14"/>
                <a:gd name="T15" fmla="*/ 23 h 27"/>
                <a:gd name="T16" fmla="*/ 14 w 14"/>
                <a:gd name="T17" fmla="*/ 26 h 27"/>
                <a:gd name="T18" fmla="*/ 9 w 14"/>
                <a:gd name="T19" fmla="*/ 26 h 27"/>
                <a:gd name="T20" fmla="*/ 4 w 14"/>
                <a:gd name="T21" fmla="*/ 22 h 27"/>
                <a:gd name="T22" fmla="*/ 1 w 14"/>
                <a:gd name="T23" fmla="*/ 14 h 27"/>
                <a:gd name="T24" fmla="*/ 1 w 14"/>
                <a:gd name="T25" fmla="*/ 3 h 27"/>
                <a:gd name="T26" fmla="*/ 10 w 14"/>
                <a:gd name="T27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" h="27">
                  <a:moveTo>
                    <a:pt x="10" y="5"/>
                  </a:moveTo>
                  <a:cubicBezTo>
                    <a:pt x="11" y="6"/>
                    <a:pt x="11" y="10"/>
                    <a:pt x="11" y="11"/>
                  </a:cubicBezTo>
                  <a:cubicBezTo>
                    <a:pt x="11" y="12"/>
                    <a:pt x="11" y="16"/>
                    <a:pt x="12" y="18"/>
                  </a:cubicBezTo>
                  <a:cubicBezTo>
                    <a:pt x="12" y="20"/>
                    <a:pt x="12" y="22"/>
                    <a:pt x="11" y="22"/>
                  </a:cubicBezTo>
                  <a:cubicBezTo>
                    <a:pt x="9" y="22"/>
                    <a:pt x="8" y="21"/>
                    <a:pt x="8" y="17"/>
                  </a:cubicBezTo>
                  <a:cubicBezTo>
                    <a:pt x="7" y="13"/>
                    <a:pt x="7" y="12"/>
                    <a:pt x="6" y="13"/>
                  </a:cubicBezTo>
                  <a:cubicBezTo>
                    <a:pt x="6" y="14"/>
                    <a:pt x="6" y="17"/>
                    <a:pt x="7" y="19"/>
                  </a:cubicBezTo>
                  <a:cubicBezTo>
                    <a:pt x="7" y="20"/>
                    <a:pt x="8" y="22"/>
                    <a:pt x="9" y="23"/>
                  </a:cubicBezTo>
                  <a:cubicBezTo>
                    <a:pt x="10" y="24"/>
                    <a:pt x="14" y="25"/>
                    <a:pt x="14" y="26"/>
                  </a:cubicBezTo>
                  <a:cubicBezTo>
                    <a:pt x="14" y="27"/>
                    <a:pt x="11" y="27"/>
                    <a:pt x="9" y="26"/>
                  </a:cubicBezTo>
                  <a:cubicBezTo>
                    <a:pt x="7" y="25"/>
                    <a:pt x="6" y="25"/>
                    <a:pt x="4" y="22"/>
                  </a:cubicBezTo>
                  <a:cubicBezTo>
                    <a:pt x="2" y="19"/>
                    <a:pt x="0" y="16"/>
                    <a:pt x="1" y="14"/>
                  </a:cubicBezTo>
                  <a:cubicBezTo>
                    <a:pt x="1" y="13"/>
                    <a:pt x="2" y="6"/>
                    <a:pt x="1" y="3"/>
                  </a:cubicBezTo>
                  <a:cubicBezTo>
                    <a:pt x="0" y="0"/>
                    <a:pt x="9" y="1"/>
                    <a:pt x="10" y="5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04">
              <a:extLst>
                <a:ext uri="{FF2B5EF4-FFF2-40B4-BE49-F238E27FC236}">
                  <a16:creationId xmlns:a16="http://schemas.microsoft.com/office/drawing/2014/main" id="{24BA9EC0-48B0-4FE3-8828-2C826BB8C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5" y="1081"/>
              <a:ext cx="26" cy="17"/>
            </a:xfrm>
            <a:custGeom>
              <a:avLst/>
              <a:gdLst>
                <a:gd name="T0" fmla="*/ 0 w 11"/>
                <a:gd name="T1" fmla="*/ 3 h 7"/>
                <a:gd name="T2" fmla="*/ 0 w 11"/>
                <a:gd name="T3" fmla="*/ 6 h 7"/>
                <a:gd name="T4" fmla="*/ 5 w 11"/>
                <a:gd name="T5" fmla="*/ 5 h 7"/>
                <a:gd name="T6" fmla="*/ 11 w 11"/>
                <a:gd name="T7" fmla="*/ 7 h 7"/>
                <a:gd name="T8" fmla="*/ 11 w 11"/>
                <a:gd name="T9" fmla="*/ 2 h 7"/>
                <a:gd name="T10" fmla="*/ 0 w 11"/>
                <a:gd name="T1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0" y="3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3" y="5"/>
                    <a:pt x="5" y="5"/>
                  </a:cubicBezTo>
                  <a:cubicBezTo>
                    <a:pt x="7" y="5"/>
                    <a:pt x="11" y="7"/>
                    <a:pt x="11" y="7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2" y="0"/>
                    <a:pt x="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05">
              <a:extLst>
                <a:ext uri="{FF2B5EF4-FFF2-40B4-BE49-F238E27FC236}">
                  <a16:creationId xmlns:a16="http://schemas.microsoft.com/office/drawing/2014/main" id="{8FF38802-3B5E-4304-859D-9F7CC497A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" y="858"/>
              <a:ext cx="65" cy="238"/>
            </a:xfrm>
            <a:custGeom>
              <a:avLst/>
              <a:gdLst>
                <a:gd name="T0" fmla="*/ 18 w 27"/>
                <a:gd name="T1" fmla="*/ 0 h 99"/>
                <a:gd name="T2" fmla="*/ 10 w 27"/>
                <a:gd name="T3" fmla="*/ 13 h 99"/>
                <a:gd name="T4" fmla="*/ 6 w 27"/>
                <a:gd name="T5" fmla="*/ 45 h 99"/>
                <a:gd name="T6" fmla="*/ 2 w 27"/>
                <a:gd name="T7" fmla="*/ 61 h 99"/>
                <a:gd name="T8" fmla="*/ 2 w 27"/>
                <a:gd name="T9" fmla="*/ 79 h 99"/>
                <a:gd name="T10" fmla="*/ 1 w 27"/>
                <a:gd name="T11" fmla="*/ 92 h 99"/>
                <a:gd name="T12" fmla="*/ 2 w 27"/>
                <a:gd name="T13" fmla="*/ 96 h 99"/>
                <a:gd name="T14" fmla="*/ 7 w 27"/>
                <a:gd name="T15" fmla="*/ 96 h 99"/>
                <a:gd name="T16" fmla="*/ 12 w 27"/>
                <a:gd name="T17" fmla="*/ 98 h 99"/>
                <a:gd name="T18" fmla="*/ 13 w 27"/>
                <a:gd name="T19" fmla="*/ 94 h 99"/>
                <a:gd name="T20" fmla="*/ 14 w 27"/>
                <a:gd name="T21" fmla="*/ 83 h 99"/>
                <a:gd name="T22" fmla="*/ 17 w 27"/>
                <a:gd name="T23" fmla="*/ 73 h 99"/>
                <a:gd name="T24" fmla="*/ 19 w 27"/>
                <a:gd name="T25" fmla="*/ 64 h 99"/>
                <a:gd name="T26" fmla="*/ 21 w 27"/>
                <a:gd name="T27" fmla="*/ 45 h 99"/>
                <a:gd name="T28" fmla="*/ 18 w 27"/>
                <a:gd name="T2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99">
                  <a:moveTo>
                    <a:pt x="18" y="0"/>
                  </a:moveTo>
                  <a:cubicBezTo>
                    <a:pt x="14" y="1"/>
                    <a:pt x="12" y="1"/>
                    <a:pt x="10" y="13"/>
                  </a:cubicBezTo>
                  <a:cubicBezTo>
                    <a:pt x="9" y="25"/>
                    <a:pt x="6" y="41"/>
                    <a:pt x="6" y="45"/>
                  </a:cubicBezTo>
                  <a:cubicBezTo>
                    <a:pt x="6" y="50"/>
                    <a:pt x="2" y="55"/>
                    <a:pt x="2" y="61"/>
                  </a:cubicBezTo>
                  <a:cubicBezTo>
                    <a:pt x="3" y="68"/>
                    <a:pt x="1" y="75"/>
                    <a:pt x="2" y="79"/>
                  </a:cubicBezTo>
                  <a:cubicBezTo>
                    <a:pt x="2" y="82"/>
                    <a:pt x="2" y="87"/>
                    <a:pt x="1" y="92"/>
                  </a:cubicBezTo>
                  <a:cubicBezTo>
                    <a:pt x="1" y="97"/>
                    <a:pt x="0" y="97"/>
                    <a:pt x="2" y="96"/>
                  </a:cubicBezTo>
                  <a:cubicBezTo>
                    <a:pt x="3" y="96"/>
                    <a:pt x="5" y="96"/>
                    <a:pt x="7" y="96"/>
                  </a:cubicBezTo>
                  <a:cubicBezTo>
                    <a:pt x="9" y="97"/>
                    <a:pt x="11" y="97"/>
                    <a:pt x="12" y="98"/>
                  </a:cubicBezTo>
                  <a:cubicBezTo>
                    <a:pt x="12" y="99"/>
                    <a:pt x="13" y="99"/>
                    <a:pt x="13" y="94"/>
                  </a:cubicBezTo>
                  <a:cubicBezTo>
                    <a:pt x="12" y="89"/>
                    <a:pt x="13" y="85"/>
                    <a:pt x="14" y="83"/>
                  </a:cubicBezTo>
                  <a:cubicBezTo>
                    <a:pt x="16" y="80"/>
                    <a:pt x="17" y="77"/>
                    <a:pt x="17" y="73"/>
                  </a:cubicBezTo>
                  <a:cubicBezTo>
                    <a:pt x="16" y="70"/>
                    <a:pt x="16" y="70"/>
                    <a:pt x="19" y="64"/>
                  </a:cubicBezTo>
                  <a:cubicBezTo>
                    <a:pt x="21" y="58"/>
                    <a:pt x="19" y="54"/>
                    <a:pt x="21" y="45"/>
                  </a:cubicBezTo>
                  <a:cubicBezTo>
                    <a:pt x="24" y="36"/>
                    <a:pt x="27" y="0"/>
                    <a:pt x="18" y="0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06">
              <a:extLst>
                <a:ext uri="{FF2B5EF4-FFF2-40B4-BE49-F238E27FC236}">
                  <a16:creationId xmlns:a16="http://schemas.microsoft.com/office/drawing/2014/main" id="{B0561375-5546-4560-8B40-51BB006ABC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2" y="968"/>
              <a:ext cx="41" cy="89"/>
            </a:xfrm>
            <a:custGeom>
              <a:avLst/>
              <a:gdLst>
                <a:gd name="T0" fmla="*/ 11 w 17"/>
                <a:gd name="T1" fmla="*/ 36 h 37"/>
                <a:gd name="T2" fmla="*/ 13 w 17"/>
                <a:gd name="T3" fmla="*/ 27 h 37"/>
                <a:gd name="T4" fmla="*/ 15 w 17"/>
                <a:gd name="T5" fmla="*/ 18 h 37"/>
                <a:gd name="T6" fmla="*/ 17 w 17"/>
                <a:gd name="T7" fmla="*/ 0 h 37"/>
                <a:gd name="T8" fmla="*/ 17 w 17"/>
                <a:gd name="T9" fmla="*/ 0 h 37"/>
                <a:gd name="T10" fmla="*/ 7 w 17"/>
                <a:gd name="T11" fmla="*/ 9 h 37"/>
                <a:gd name="T12" fmla="*/ 11 w 17"/>
                <a:gd name="T13" fmla="*/ 12 h 37"/>
                <a:gd name="T14" fmla="*/ 13 w 17"/>
                <a:gd name="T15" fmla="*/ 15 h 37"/>
                <a:gd name="T16" fmla="*/ 11 w 17"/>
                <a:gd name="T17" fmla="*/ 18 h 37"/>
                <a:gd name="T18" fmla="*/ 10 w 17"/>
                <a:gd name="T19" fmla="*/ 29 h 37"/>
                <a:gd name="T20" fmla="*/ 4 w 17"/>
                <a:gd name="T21" fmla="*/ 36 h 37"/>
                <a:gd name="T22" fmla="*/ 11 w 17"/>
                <a:gd name="T23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37">
                  <a:moveTo>
                    <a:pt x="11" y="36"/>
                  </a:moveTo>
                  <a:cubicBezTo>
                    <a:pt x="12" y="34"/>
                    <a:pt x="13" y="30"/>
                    <a:pt x="13" y="27"/>
                  </a:cubicBezTo>
                  <a:cubicBezTo>
                    <a:pt x="12" y="24"/>
                    <a:pt x="12" y="24"/>
                    <a:pt x="15" y="18"/>
                  </a:cubicBezTo>
                  <a:cubicBezTo>
                    <a:pt x="17" y="12"/>
                    <a:pt x="15" y="8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4" y="6"/>
                    <a:pt x="9" y="9"/>
                    <a:pt x="7" y="9"/>
                  </a:cubicBezTo>
                  <a:cubicBezTo>
                    <a:pt x="4" y="10"/>
                    <a:pt x="6" y="13"/>
                    <a:pt x="11" y="12"/>
                  </a:cubicBezTo>
                  <a:cubicBezTo>
                    <a:pt x="15" y="12"/>
                    <a:pt x="15" y="15"/>
                    <a:pt x="13" y="15"/>
                  </a:cubicBezTo>
                  <a:cubicBezTo>
                    <a:pt x="10" y="15"/>
                    <a:pt x="8" y="18"/>
                    <a:pt x="11" y="18"/>
                  </a:cubicBezTo>
                  <a:cubicBezTo>
                    <a:pt x="13" y="19"/>
                    <a:pt x="14" y="25"/>
                    <a:pt x="10" y="29"/>
                  </a:cubicBezTo>
                  <a:cubicBezTo>
                    <a:pt x="5" y="33"/>
                    <a:pt x="0" y="37"/>
                    <a:pt x="4" y="36"/>
                  </a:cubicBezTo>
                  <a:cubicBezTo>
                    <a:pt x="7" y="35"/>
                    <a:pt x="9" y="35"/>
                    <a:pt x="11" y="36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07">
              <a:extLst>
                <a:ext uri="{FF2B5EF4-FFF2-40B4-BE49-F238E27FC236}">
                  <a16:creationId xmlns:a16="http://schemas.microsoft.com/office/drawing/2014/main" id="{870F2290-857D-4C7E-86D4-C3569827FC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9" y="872"/>
              <a:ext cx="26" cy="96"/>
            </a:xfrm>
            <a:custGeom>
              <a:avLst/>
              <a:gdLst>
                <a:gd name="T0" fmla="*/ 11 w 11"/>
                <a:gd name="T1" fmla="*/ 40 h 40"/>
                <a:gd name="T2" fmla="*/ 3 w 11"/>
                <a:gd name="T3" fmla="*/ 8 h 40"/>
                <a:gd name="T4" fmla="*/ 5 w 11"/>
                <a:gd name="T5" fmla="*/ 9 h 40"/>
                <a:gd name="T6" fmla="*/ 11 w 11"/>
                <a:gd name="T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40">
                  <a:moveTo>
                    <a:pt x="11" y="40"/>
                  </a:moveTo>
                  <a:cubicBezTo>
                    <a:pt x="9" y="32"/>
                    <a:pt x="5" y="14"/>
                    <a:pt x="3" y="8"/>
                  </a:cubicBezTo>
                  <a:cubicBezTo>
                    <a:pt x="0" y="2"/>
                    <a:pt x="3" y="0"/>
                    <a:pt x="5" y="9"/>
                  </a:cubicBezTo>
                  <a:cubicBezTo>
                    <a:pt x="7" y="18"/>
                    <a:pt x="11" y="25"/>
                    <a:pt x="11" y="40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08">
              <a:extLst>
                <a:ext uri="{FF2B5EF4-FFF2-40B4-BE49-F238E27FC236}">
                  <a16:creationId xmlns:a16="http://schemas.microsoft.com/office/drawing/2014/main" id="{450D6731-6801-4010-8ECE-A69EC873D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0" y="872"/>
              <a:ext cx="12" cy="84"/>
            </a:xfrm>
            <a:custGeom>
              <a:avLst/>
              <a:gdLst>
                <a:gd name="T0" fmla="*/ 2 w 5"/>
                <a:gd name="T1" fmla="*/ 35 h 35"/>
                <a:gd name="T2" fmla="*/ 4 w 5"/>
                <a:gd name="T3" fmla="*/ 7 h 35"/>
                <a:gd name="T4" fmla="*/ 2 w 5"/>
                <a:gd name="T5" fmla="*/ 8 h 35"/>
                <a:gd name="T6" fmla="*/ 2 w 5"/>
                <a:gd name="T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5">
                  <a:moveTo>
                    <a:pt x="2" y="35"/>
                  </a:moveTo>
                  <a:cubicBezTo>
                    <a:pt x="2" y="29"/>
                    <a:pt x="3" y="13"/>
                    <a:pt x="4" y="7"/>
                  </a:cubicBezTo>
                  <a:cubicBezTo>
                    <a:pt x="5" y="1"/>
                    <a:pt x="2" y="0"/>
                    <a:pt x="2" y="8"/>
                  </a:cubicBezTo>
                  <a:cubicBezTo>
                    <a:pt x="2" y="16"/>
                    <a:pt x="0" y="23"/>
                    <a:pt x="2" y="35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09">
              <a:extLst>
                <a:ext uri="{FF2B5EF4-FFF2-40B4-BE49-F238E27FC236}">
                  <a16:creationId xmlns:a16="http://schemas.microsoft.com/office/drawing/2014/main" id="{4F7599AA-D016-4A0A-84BB-BC4E4C092F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3" y="711"/>
              <a:ext cx="50" cy="67"/>
            </a:xfrm>
            <a:custGeom>
              <a:avLst/>
              <a:gdLst>
                <a:gd name="T0" fmla="*/ 21 w 21"/>
                <a:gd name="T1" fmla="*/ 15 h 28"/>
                <a:gd name="T2" fmla="*/ 7 w 21"/>
                <a:gd name="T3" fmla="*/ 28 h 28"/>
                <a:gd name="T4" fmla="*/ 21 w 21"/>
                <a:gd name="T5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28">
                  <a:moveTo>
                    <a:pt x="21" y="15"/>
                  </a:moveTo>
                  <a:cubicBezTo>
                    <a:pt x="11" y="16"/>
                    <a:pt x="7" y="21"/>
                    <a:pt x="7" y="28"/>
                  </a:cubicBezTo>
                  <a:cubicBezTo>
                    <a:pt x="0" y="20"/>
                    <a:pt x="4" y="0"/>
                    <a:pt x="21" y="15"/>
                  </a:cubicBezTo>
                  <a:close/>
                </a:path>
              </a:pathLst>
            </a:custGeom>
            <a:solidFill>
              <a:srgbClr val="AA7A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10">
              <a:extLst>
                <a:ext uri="{FF2B5EF4-FFF2-40B4-BE49-F238E27FC236}">
                  <a16:creationId xmlns:a16="http://schemas.microsoft.com/office/drawing/2014/main" id="{412815F5-354E-41FD-B8A8-AD4E1F034D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4" y="1129"/>
              <a:ext cx="12" cy="10"/>
            </a:xfrm>
            <a:custGeom>
              <a:avLst/>
              <a:gdLst>
                <a:gd name="T0" fmla="*/ 5 w 5"/>
                <a:gd name="T1" fmla="*/ 4 h 4"/>
                <a:gd name="T2" fmla="*/ 5 w 5"/>
                <a:gd name="T3" fmla="*/ 4 h 4"/>
                <a:gd name="T4" fmla="*/ 4 w 5"/>
                <a:gd name="T5" fmla="*/ 2 h 4"/>
                <a:gd name="T6" fmla="*/ 0 w 5"/>
                <a:gd name="T7" fmla="*/ 0 h 4"/>
                <a:gd name="T8" fmla="*/ 0 w 5"/>
                <a:gd name="T9" fmla="*/ 2 h 4"/>
                <a:gd name="T10" fmla="*/ 5 w 5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5" y="4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5" y="2"/>
                    <a:pt x="4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5" y="4"/>
                  </a:lnTo>
                  <a:close/>
                </a:path>
              </a:pathLst>
            </a:custGeom>
            <a:solidFill>
              <a:srgbClr val="4A50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11">
              <a:extLst>
                <a:ext uri="{FF2B5EF4-FFF2-40B4-BE49-F238E27FC236}">
                  <a16:creationId xmlns:a16="http://schemas.microsoft.com/office/drawing/2014/main" id="{94818750-3847-47F4-A431-BD84FF51E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4" y="1132"/>
              <a:ext cx="15" cy="9"/>
            </a:xfrm>
            <a:custGeom>
              <a:avLst/>
              <a:gdLst>
                <a:gd name="T0" fmla="*/ 6 w 6"/>
                <a:gd name="T1" fmla="*/ 2 h 4"/>
                <a:gd name="T2" fmla="*/ 2 w 6"/>
                <a:gd name="T3" fmla="*/ 0 h 4"/>
                <a:gd name="T4" fmla="*/ 0 w 6"/>
                <a:gd name="T5" fmla="*/ 0 h 4"/>
                <a:gd name="T6" fmla="*/ 0 w 6"/>
                <a:gd name="T7" fmla="*/ 1 h 4"/>
                <a:gd name="T8" fmla="*/ 6 w 6"/>
                <a:gd name="T9" fmla="*/ 4 h 4"/>
                <a:gd name="T10" fmla="*/ 6 w 6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6" y="2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4"/>
                    <a:pt x="6" y="4"/>
                    <a:pt x="6" y="4"/>
                  </a:cubicBezTo>
                  <a:lnTo>
                    <a:pt x="6" y="2"/>
                  </a:lnTo>
                  <a:close/>
                </a:path>
              </a:pathLst>
            </a:custGeom>
            <a:solidFill>
              <a:srgbClr val="9A5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12">
              <a:extLst>
                <a:ext uri="{FF2B5EF4-FFF2-40B4-BE49-F238E27FC236}">
                  <a16:creationId xmlns:a16="http://schemas.microsoft.com/office/drawing/2014/main" id="{9AF4F01D-1468-4359-9EEE-D5EDA56BC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4" y="807"/>
              <a:ext cx="45" cy="77"/>
            </a:xfrm>
            <a:custGeom>
              <a:avLst/>
              <a:gdLst>
                <a:gd name="T0" fmla="*/ 19 w 19"/>
                <a:gd name="T1" fmla="*/ 10 h 32"/>
                <a:gd name="T2" fmla="*/ 18 w 19"/>
                <a:gd name="T3" fmla="*/ 26 h 32"/>
                <a:gd name="T4" fmla="*/ 1 w 19"/>
                <a:gd name="T5" fmla="*/ 25 h 32"/>
                <a:gd name="T6" fmla="*/ 0 w 19"/>
                <a:gd name="T7" fmla="*/ 6 h 32"/>
                <a:gd name="T8" fmla="*/ 19 w 19"/>
                <a:gd name="T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32">
                  <a:moveTo>
                    <a:pt x="19" y="10"/>
                  </a:moveTo>
                  <a:cubicBezTo>
                    <a:pt x="18" y="14"/>
                    <a:pt x="17" y="22"/>
                    <a:pt x="18" y="26"/>
                  </a:cubicBezTo>
                  <a:cubicBezTo>
                    <a:pt x="18" y="29"/>
                    <a:pt x="0" y="32"/>
                    <a:pt x="1" y="25"/>
                  </a:cubicBezTo>
                  <a:cubicBezTo>
                    <a:pt x="1" y="17"/>
                    <a:pt x="1" y="12"/>
                    <a:pt x="0" y="6"/>
                  </a:cubicBezTo>
                  <a:cubicBezTo>
                    <a:pt x="0" y="0"/>
                    <a:pt x="18" y="2"/>
                    <a:pt x="19" y="10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13">
              <a:extLst>
                <a:ext uri="{FF2B5EF4-FFF2-40B4-BE49-F238E27FC236}">
                  <a16:creationId xmlns:a16="http://schemas.microsoft.com/office/drawing/2014/main" id="{C4447520-5F0E-4699-B6D4-CDCF0614F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2" y="1007"/>
              <a:ext cx="34" cy="96"/>
            </a:xfrm>
            <a:custGeom>
              <a:avLst/>
              <a:gdLst>
                <a:gd name="T0" fmla="*/ 13 w 14"/>
                <a:gd name="T1" fmla="*/ 16 h 40"/>
                <a:gd name="T2" fmla="*/ 11 w 14"/>
                <a:gd name="T3" fmla="*/ 29 h 40"/>
                <a:gd name="T4" fmla="*/ 9 w 14"/>
                <a:gd name="T5" fmla="*/ 31 h 40"/>
                <a:gd name="T6" fmla="*/ 5 w 14"/>
                <a:gd name="T7" fmla="*/ 31 h 40"/>
                <a:gd name="T8" fmla="*/ 8 w 14"/>
                <a:gd name="T9" fmla="*/ 36 h 40"/>
                <a:gd name="T10" fmla="*/ 7 w 14"/>
                <a:gd name="T11" fmla="*/ 38 h 40"/>
                <a:gd name="T12" fmla="*/ 1 w 14"/>
                <a:gd name="T13" fmla="*/ 33 h 40"/>
                <a:gd name="T14" fmla="*/ 5 w 14"/>
                <a:gd name="T15" fmla="*/ 12 h 40"/>
                <a:gd name="T16" fmla="*/ 13 w 14"/>
                <a:gd name="T17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40">
                  <a:moveTo>
                    <a:pt x="13" y="16"/>
                  </a:moveTo>
                  <a:cubicBezTo>
                    <a:pt x="11" y="20"/>
                    <a:pt x="10" y="25"/>
                    <a:pt x="11" y="29"/>
                  </a:cubicBezTo>
                  <a:cubicBezTo>
                    <a:pt x="12" y="33"/>
                    <a:pt x="10" y="33"/>
                    <a:pt x="9" y="31"/>
                  </a:cubicBezTo>
                  <a:cubicBezTo>
                    <a:pt x="8" y="28"/>
                    <a:pt x="5" y="29"/>
                    <a:pt x="5" y="31"/>
                  </a:cubicBezTo>
                  <a:cubicBezTo>
                    <a:pt x="4" y="33"/>
                    <a:pt x="6" y="35"/>
                    <a:pt x="8" y="36"/>
                  </a:cubicBezTo>
                  <a:cubicBezTo>
                    <a:pt x="10" y="37"/>
                    <a:pt x="10" y="40"/>
                    <a:pt x="7" y="38"/>
                  </a:cubicBezTo>
                  <a:cubicBezTo>
                    <a:pt x="3" y="37"/>
                    <a:pt x="2" y="38"/>
                    <a:pt x="1" y="33"/>
                  </a:cubicBezTo>
                  <a:cubicBezTo>
                    <a:pt x="0" y="28"/>
                    <a:pt x="4" y="23"/>
                    <a:pt x="5" y="12"/>
                  </a:cubicBezTo>
                  <a:cubicBezTo>
                    <a:pt x="6" y="0"/>
                    <a:pt x="14" y="11"/>
                    <a:pt x="13" y="16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14">
              <a:extLst>
                <a:ext uri="{FF2B5EF4-FFF2-40B4-BE49-F238E27FC236}">
                  <a16:creationId xmlns:a16="http://schemas.microsoft.com/office/drawing/2014/main" id="{52292307-1884-4579-84F3-BEC7866DB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6" y="1079"/>
              <a:ext cx="31" cy="96"/>
            </a:xfrm>
            <a:custGeom>
              <a:avLst/>
              <a:gdLst>
                <a:gd name="T0" fmla="*/ 2 w 13"/>
                <a:gd name="T1" fmla="*/ 0 h 40"/>
                <a:gd name="T2" fmla="*/ 9 w 13"/>
                <a:gd name="T3" fmla="*/ 0 h 40"/>
                <a:gd name="T4" fmla="*/ 12 w 13"/>
                <a:gd name="T5" fmla="*/ 3 h 40"/>
                <a:gd name="T6" fmla="*/ 13 w 13"/>
                <a:gd name="T7" fmla="*/ 37 h 40"/>
                <a:gd name="T8" fmla="*/ 11 w 13"/>
                <a:gd name="T9" fmla="*/ 40 h 40"/>
                <a:gd name="T10" fmla="*/ 4 w 13"/>
                <a:gd name="T11" fmla="*/ 40 h 40"/>
                <a:gd name="T12" fmla="*/ 1 w 13"/>
                <a:gd name="T13" fmla="*/ 37 h 40"/>
                <a:gd name="T14" fmla="*/ 0 w 13"/>
                <a:gd name="T15" fmla="*/ 3 h 40"/>
                <a:gd name="T16" fmla="*/ 2 w 13"/>
                <a:gd name="T1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0">
                  <a:moveTo>
                    <a:pt x="2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2" y="1"/>
                    <a:pt x="12" y="3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8"/>
                    <a:pt x="12" y="40"/>
                    <a:pt x="11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3" y="40"/>
                    <a:pt x="1" y="39"/>
                    <a:pt x="1" y="3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15">
              <a:extLst>
                <a:ext uri="{FF2B5EF4-FFF2-40B4-BE49-F238E27FC236}">
                  <a16:creationId xmlns:a16="http://schemas.microsoft.com/office/drawing/2014/main" id="{BF2D1CD9-9BAB-4DD9-823D-251AFD699B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1" y="1079"/>
              <a:ext cx="96" cy="130"/>
            </a:xfrm>
            <a:custGeom>
              <a:avLst/>
              <a:gdLst>
                <a:gd name="T0" fmla="*/ 0 w 40"/>
                <a:gd name="T1" fmla="*/ 15 h 54"/>
                <a:gd name="T2" fmla="*/ 29 w 40"/>
                <a:gd name="T3" fmla="*/ 0 h 54"/>
                <a:gd name="T4" fmla="*/ 38 w 40"/>
                <a:gd name="T5" fmla="*/ 9 h 54"/>
                <a:gd name="T6" fmla="*/ 40 w 40"/>
                <a:gd name="T7" fmla="*/ 39 h 54"/>
                <a:gd name="T8" fmla="*/ 11 w 40"/>
                <a:gd name="T9" fmla="*/ 54 h 54"/>
                <a:gd name="T10" fmla="*/ 0 w 40"/>
                <a:gd name="T11" fmla="*/ 1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54">
                  <a:moveTo>
                    <a:pt x="0" y="15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4"/>
                    <a:pt x="4" y="36"/>
                    <a:pt x="0" y="15"/>
                  </a:cubicBezTo>
                  <a:close/>
                </a:path>
              </a:pathLst>
            </a:cu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16">
              <a:extLst>
                <a:ext uri="{FF2B5EF4-FFF2-40B4-BE49-F238E27FC236}">
                  <a16:creationId xmlns:a16="http://schemas.microsoft.com/office/drawing/2014/main" id="{80526E14-0898-4D56-A64D-44F33560D7D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" y="1113"/>
              <a:ext cx="34" cy="98"/>
            </a:xfrm>
            <a:custGeom>
              <a:avLst/>
              <a:gdLst>
                <a:gd name="T0" fmla="*/ 2 w 14"/>
                <a:gd name="T1" fmla="*/ 0 h 41"/>
                <a:gd name="T2" fmla="*/ 9 w 14"/>
                <a:gd name="T3" fmla="*/ 0 h 41"/>
                <a:gd name="T4" fmla="*/ 12 w 14"/>
                <a:gd name="T5" fmla="*/ 2 h 41"/>
                <a:gd name="T6" fmla="*/ 14 w 14"/>
                <a:gd name="T7" fmla="*/ 38 h 41"/>
                <a:gd name="T8" fmla="*/ 11 w 14"/>
                <a:gd name="T9" fmla="*/ 41 h 41"/>
                <a:gd name="T10" fmla="*/ 4 w 14"/>
                <a:gd name="T11" fmla="*/ 41 h 41"/>
                <a:gd name="T12" fmla="*/ 1 w 14"/>
                <a:gd name="T13" fmla="*/ 38 h 41"/>
                <a:gd name="T14" fmla="*/ 0 w 14"/>
                <a:gd name="T15" fmla="*/ 3 h 41"/>
                <a:gd name="T16" fmla="*/ 2 w 14"/>
                <a:gd name="T1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41">
                  <a:moveTo>
                    <a:pt x="2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9"/>
                    <a:pt x="13" y="41"/>
                    <a:pt x="11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3" y="41"/>
                    <a:pt x="1" y="40"/>
                    <a:pt x="1" y="3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17">
              <a:extLst>
                <a:ext uri="{FF2B5EF4-FFF2-40B4-BE49-F238E27FC236}">
                  <a16:creationId xmlns:a16="http://schemas.microsoft.com/office/drawing/2014/main" id="{ED30A80A-8CC2-4EF8-829D-44A54709B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1" y="1115"/>
              <a:ext cx="26" cy="94"/>
            </a:xfrm>
            <a:custGeom>
              <a:avLst/>
              <a:gdLst>
                <a:gd name="T0" fmla="*/ 2 w 11"/>
                <a:gd name="T1" fmla="*/ 1 h 39"/>
                <a:gd name="T2" fmla="*/ 8 w 11"/>
                <a:gd name="T3" fmla="*/ 0 h 39"/>
                <a:gd name="T4" fmla="*/ 9 w 11"/>
                <a:gd name="T5" fmla="*/ 2 h 39"/>
                <a:gd name="T6" fmla="*/ 11 w 11"/>
                <a:gd name="T7" fmla="*/ 37 h 39"/>
                <a:gd name="T8" fmla="*/ 10 w 11"/>
                <a:gd name="T9" fmla="*/ 38 h 39"/>
                <a:gd name="T10" fmla="*/ 3 w 11"/>
                <a:gd name="T11" fmla="*/ 39 h 39"/>
                <a:gd name="T12" fmla="*/ 2 w 11"/>
                <a:gd name="T13" fmla="*/ 37 h 39"/>
                <a:gd name="T14" fmla="*/ 0 w 11"/>
                <a:gd name="T15" fmla="*/ 2 h 39"/>
                <a:gd name="T16" fmla="*/ 2 w 11"/>
                <a:gd name="T17" fmla="*/ 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39">
                  <a:moveTo>
                    <a:pt x="2" y="1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9" y="1"/>
                    <a:pt x="9" y="2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8"/>
                    <a:pt x="11" y="38"/>
                    <a:pt x="10" y="38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9"/>
                    <a:pt x="2" y="38"/>
                    <a:pt x="2" y="3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18">
              <a:extLst>
                <a:ext uri="{FF2B5EF4-FFF2-40B4-BE49-F238E27FC236}">
                  <a16:creationId xmlns:a16="http://schemas.microsoft.com/office/drawing/2014/main" id="{5E6D979B-344E-41AE-9E9E-38FE2F1BF9B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9" y="1072"/>
              <a:ext cx="29" cy="19"/>
            </a:xfrm>
            <a:custGeom>
              <a:avLst/>
              <a:gdLst>
                <a:gd name="T0" fmla="*/ 9 w 12"/>
                <a:gd name="T1" fmla="*/ 6 h 8"/>
                <a:gd name="T2" fmla="*/ 11 w 12"/>
                <a:gd name="T3" fmla="*/ 7 h 8"/>
                <a:gd name="T4" fmla="*/ 12 w 12"/>
                <a:gd name="T5" fmla="*/ 5 h 8"/>
                <a:gd name="T6" fmla="*/ 12 w 12"/>
                <a:gd name="T7" fmla="*/ 3 h 8"/>
                <a:gd name="T8" fmla="*/ 10 w 12"/>
                <a:gd name="T9" fmla="*/ 0 h 8"/>
                <a:gd name="T10" fmla="*/ 8 w 12"/>
                <a:gd name="T11" fmla="*/ 1 h 8"/>
                <a:gd name="T12" fmla="*/ 8 w 12"/>
                <a:gd name="T13" fmla="*/ 1 h 8"/>
                <a:gd name="T14" fmla="*/ 1 w 12"/>
                <a:gd name="T15" fmla="*/ 4 h 8"/>
                <a:gd name="T16" fmla="*/ 1 w 12"/>
                <a:gd name="T17" fmla="*/ 7 h 8"/>
                <a:gd name="T18" fmla="*/ 3 w 12"/>
                <a:gd name="T19" fmla="*/ 7 h 8"/>
                <a:gd name="T20" fmla="*/ 9 w 12"/>
                <a:gd name="T21" fmla="*/ 4 h 8"/>
                <a:gd name="T22" fmla="*/ 9 w 12"/>
                <a:gd name="T23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8">
                  <a:moveTo>
                    <a:pt x="9" y="6"/>
                  </a:moveTo>
                  <a:cubicBezTo>
                    <a:pt x="9" y="6"/>
                    <a:pt x="10" y="7"/>
                    <a:pt x="11" y="7"/>
                  </a:cubicBezTo>
                  <a:cubicBezTo>
                    <a:pt x="12" y="7"/>
                    <a:pt x="12" y="6"/>
                    <a:pt x="12" y="5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1"/>
                    <a:pt x="11" y="0"/>
                    <a:pt x="10" y="0"/>
                  </a:cubicBezTo>
                  <a:cubicBezTo>
                    <a:pt x="9" y="0"/>
                    <a:pt x="9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0" y="6"/>
                    <a:pt x="1" y="7"/>
                  </a:cubicBezTo>
                  <a:cubicBezTo>
                    <a:pt x="1" y="7"/>
                    <a:pt x="2" y="8"/>
                    <a:pt x="3" y="7"/>
                  </a:cubicBezTo>
                  <a:cubicBezTo>
                    <a:pt x="9" y="4"/>
                    <a:pt x="9" y="4"/>
                    <a:pt x="9" y="4"/>
                  </a:cubicBezTo>
                  <a:lnTo>
                    <a:pt x="9" y="6"/>
                  </a:lnTo>
                  <a:close/>
                </a:path>
              </a:pathLst>
            </a:cu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19">
              <a:extLst>
                <a:ext uri="{FF2B5EF4-FFF2-40B4-BE49-F238E27FC236}">
                  <a16:creationId xmlns:a16="http://schemas.microsoft.com/office/drawing/2014/main" id="{E860C681-ABED-4C5C-84FE-C2A8A6FFAC6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" y="1079"/>
              <a:ext cx="24" cy="26"/>
            </a:xfrm>
            <a:custGeom>
              <a:avLst/>
              <a:gdLst>
                <a:gd name="T0" fmla="*/ 1 w 10"/>
                <a:gd name="T1" fmla="*/ 9 h 11"/>
                <a:gd name="T2" fmla="*/ 2 w 10"/>
                <a:gd name="T3" fmla="*/ 11 h 11"/>
                <a:gd name="T4" fmla="*/ 4 w 10"/>
                <a:gd name="T5" fmla="*/ 9 h 11"/>
                <a:gd name="T6" fmla="*/ 4 w 10"/>
                <a:gd name="T7" fmla="*/ 7 h 11"/>
                <a:gd name="T8" fmla="*/ 5 w 10"/>
                <a:gd name="T9" fmla="*/ 5 h 11"/>
                <a:gd name="T10" fmla="*/ 9 w 10"/>
                <a:gd name="T11" fmla="*/ 3 h 11"/>
                <a:gd name="T12" fmla="*/ 10 w 10"/>
                <a:gd name="T13" fmla="*/ 1 h 11"/>
                <a:gd name="T14" fmla="*/ 8 w 10"/>
                <a:gd name="T15" fmla="*/ 0 h 11"/>
                <a:gd name="T16" fmla="*/ 3 w 10"/>
                <a:gd name="T17" fmla="*/ 3 h 11"/>
                <a:gd name="T18" fmla="*/ 3 w 10"/>
                <a:gd name="T19" fmla="*/ 3 h 11"/>
                <a:gd name="T20" fmla="*/ 1 w 10"/>
                <a:gd name="T21" fmla="*/ 7 h 11"/>
                <a:gd name="T22" fmla="*/ 1 w 10"/>
                <a:gd name="T23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1" y="9"/>
                  </a:moveTo>
                  <a:cubicBezTo>
                    <a:pt x="1" y="10"/>
                    <a:pt x="1" y="11"/>
                    <a:pt x="2" y="11"/>
                  </a:cubicBezTo>
                  <a:cubicBezTo>
                    <a:pt x="3" y="11"/>
                    <a:pt x="4" y="10"/>
                    <a:pt x="4" y="9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6"/>
                    <a:pt x="4" y="6"/>
                    <a:pt x="5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3"/>
                    <a:pt x="10" y="2"/>
                    <a:pt x="10" y="1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0" y="4"/>
                    <a:pt x="1" y="7"/>
                  </a:cubicBezTo>
                  <a:lnTo>
                    <a:pt x="1" y="9"/>
                  </a:lnTo>
                  <a:close/>
                </a:path>
              </a:pathLst>
            </a:cu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20">
              <a:extLst>
                <a:ext uri="{FF2B5EF4-FFF2-40B4-BE49-F238E27FC236}">
                  <a16:creationId xmlns:a16="http://schemas.microsoft.com/office/drawing/2014/main" id="{5E921AE3-9803-4EB3-9A85-70E5CEEB8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" y="1320"/>
              <a:ext cx="79" cy="77"/>
            </a:xfrm>
            <a:custGeom>
              <a:avLst/>
              <a:gdLst>
                <a:gd name="T0" fmla="*/ 31 w 33"/>
                <a:gd name="T1" fmla="*/ 17 h 32"/>
                <a:gd name="T2" fmla="*/ 28 w 33"/>
                <a:gd name="T3" fmla="*/ 27 h 32"/>
                <a:gd name="T4" fmla="*/ 24 w 33"/>
                <a:gd name="T5" fmla="*/ 31 h 32"/>
                <a:gd name="T6" fmla="*/ 20 w 33"/>
                <a:gd name="T7" fmla="*/ 29 h 32"/>
                <a:gd name="T8" fmla="*/ 11 w 33"/>
                <a:gd name="T9" fmla="*/ 27 h 32"/>
                <a:gd name="T10" fmla="*/ 1 w 33"/>
                <a:gd name="T11" fmla="*/ 19 h 32"/>
                <a:gd name="T12" fmla="*/ 23 w 33"/>
                <a:gd name="T13" fmla="*/ 11 h 32"/>
                <a:gd name="T14" fmla="*/ 31 w 33"/>
                <a:gd name="T15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32">
                  <a:moveTo>
                    <a:pt x="31" y="17"/>
                  </a:moveTo>
                  <a:cubicBezTo>
                    <a:pt x="31" y="22"/>
                    <a:pt x="30" y="25"/>
                    <a:pt x="28" y="27"/>
                  </a:cubicBezTo>
                  <a:cubicBezTo>
                    <a:pt x="27" y="30"/>
                    <a:pt x="25" y="32"/>
                    <a:pt x="24" y="31"/>
                  </a:cubicBezTo>
                  <a:cubicBezTo>
                    <a:pt x="22" y="31"/>
                    <a:pt x="20" y="29"/>
                    <a:pt x="20" y="29"/>
                  </a:cubicBezTo>
                  <a:cubicBezTo>
                    <a:pt x="20" y="29"/>
                    <a:pt x="16" y="29"/>
                    <a:pt x="11" y="27"/>
                  </a:cubicBezTo>
                  <a:cubicBezTo>
                    <a:pt x="7" y="25"/>
                    <a:pt x="0" y="22"/>
                    <a:pt x="1" y="19"/>
                  </a:cubicBezTo>
                  <a:cubicBezTo>
                    <a:pt x="2" y="14"/>
                    <a:pt x="16" y="21"/>
                    <a:pt x="23" y="11"/>
                  </a:cubicBezTo>
                  <a:cubicBezTo>
                    <a:pt x="31" y="0"/>
                    <a:pt x="33" y="8"/>
                    <a:pt x="31" y="17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21">
              <a:extLst>
                <a:ext uri="{FF2B5EF4-FFF2-40B4-BE49-F238E27FC236}">
                  <a16:creationId xmlns:a16="http://schemas.microsoft.com/office/drawing/2014/main" id="{9DDE5A7E-BEA7-4FBC-993E-A4337C474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5" y="1324"/>
              <a:ext cx="84" cy="56"/>
            </a:xfrm>
            <a:custGeom>
              <a:avLst/>
              <a:gdLst>
                <a:gd name="T0" fmla="*/ 33 w 35"/>
                <a:gd name="T1" fmla="*/ 5 h 23"/>
                <a:gd name="T2" fmla="*/ 35 w 35"/>
                <a:gd name="T3" fmla="*/ 14 h 23"/>
                <a:gd name="T4" fmla="*/ 28 w 35"/>
                <a:gd name="T5" fmla="*/ 16 h 23"/>
                <a:gd name="T6" fmla="*/ 23 w 35"/>
                <a:gd name="T7" fmla="*/ 16 h 23"/>
                <a:gd name="T8" fmla="*/ 12 w 35"/>
                <a:gd name="T9" fmla="*/ 21 h 23"/>
                <a:gd name="T10" fmla="*/ 0 w 35"/>
                <a:gd name="T11" fmla="*/ 20 h 23"/>
                <a:gd name="T12" fmla="*/ 11 w 35"/>
                <a:gd name="T13" fmla="*/ 13 h 23"/>
                <a:gd name="T14" fmla="*/ 15 w 35"/>
                <a:gd name="T15" fmla="*/ 4 h 23"/>
                <a:gd name="T16" fmla="*/ 33 w 35"/>
                <a:gd name="T17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23">
                  <a:moveTo>
                    <a:pt x="33" y="5"/>
                  </a:moveTo>
                  <a:cubicBezTo>
                    <a:pt x="34" y="8"/>
                    <a:pt x="35" y="12"/>
                    <a:pt x="35" y="14"/>
                  </a:cubicBezTo>
                  <a:cubicBezTo>
                    <a:pt x="34" y="15"/>
                    <a:pt x="31" y="16"/>
                    <a:pt x="28" y="16"/>
                  </a:cubicBezTo>
                  <a:cubicBezTo>
                    <a:pt x="26" y="16"/>
                    <a:pt x="26" y="13"/>
                    <a:pt x="23" y="16"/>
                  </a:cubicBezTo>
                  <a:cubicBezTo>
                    <a:pt x="21" y="19"/>
                    <a:pt x="17" y="21"/>
                    <a:pt x="12" y="21"/>
                  </a:cubicBezTo>
                  <a:cubicBezTo>
                    <a:pt x="7" y="22"/>
                    <a:pt x="0" y="23"/>
                    <a:pt x="0" y="20"/>
                  </a:cubicBezTo>
                  <a:cubicBezTo>
                    <a:pt x="0" y="15"/>
                    <a:pt x="7" y="15"/>
                    <a:pt x="11" y="13"/>
                  </a:cubicBezTo>
                  <a:cubicBezTo>
                    <a:pt x="15" y="10"/>
                    <a:pt x="15" y="7"/>
                    <a:pt x="15" y="4"/>
                  </a:cubicBezTo>
                  <a:cubicBezTo>
                    <a:pt x="16" y="0"/>
                    <a:pt x="30" y="2"/>
                    <a:pt x="33" y="5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22">
              <a:extLst>
                <a:ext uri="{FF2B5EF4-FFF2-40B4-BE49-F238E27FC236}">
                  <a16:creationId xmlns:a16="http://schemas.microsoft.com/office/drawing/2014/main" id="{5E6903DE-D18E-44DB-8677-2782A00B3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0" y="855"/>
              <a:ext cx="96" cy="197"/>
            </a:xfrm>
            <a:custGeom>
              <a:avLst/>
              <a:gdLst>
                <a:gd name="T0" fmla="*/ 39 w 40"/>
                <a:gd name="T1" fmla="*/ 1 h 82"/>
                <a:gd name="T2" fmla="*/ 40 w 40"/>
                <a:gd name="T3" fmla="*/ 77 h 82"/>
                <a:gd name="T4" fmla="*/ 2 w 40"/>
                <a:gd name="T5" fmla="*/ 82 h 82"/>
                <a:gd name="T6" fmla="*/ 0 w 40"/>
                <a:gd name="T7" fmla="*/ 8 h 82"/>
                <a:gd name="T8" fmla="*/ 16 w 40"/>
                <a:gd name="T9" fmla="*/ 0 h 82"/>
                <a:gd name="T10" fmla="*/ 39 w 40"/>
                <a:gd name="T11" fmla="*/ 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82">
                  <a:moveTo>
                    <a:pt x="39" y="1"/>
                  </a:moveTo>
                  <a:cubicBezTo>
                    <a:pt x="40" y="77"/>
                    <a:pt x="40" y="77"/>
                    <a:pt x="40" y="77"/>
                  </a:cubicBezTo>
                  <a:cubicBezTo>
                    <a:pt x="40" y="77"/>
                    <a:pt x="1" y="82"/>
                    <a:pt x="2" y="82"/>
                  </a:cubicBezTo>
                  <a:cubicBezTo>
                    <a:pt x="2" y="81"/>
                    <a:pt x="4" y="18"/>
                    <a:pt x="0" y="8"/>
                  </a:cubicBezTo>
                  <a:cubicBezTo>
                    <a:pt x="5" y="6"/>
                    <a:pt x="12" y="5"/>
                    <a:pt x="16" y="0"/>
                  </a:cubicBezTo>
                  <a:cubicBezTo>
                    <a:pt x="24" y="5"/>
                    <a:pt x="31" y="3"/>
                    <a:pt x="3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23">
              <a:extLst>
                <a:ext uri="{FF2B5EF4-FFF2-40B4-BE49-F238E27FC236}">
                  <a16:creationId xmlns:a16="http://schemas.microsoft.com/office/drawing/2014/main" id="{B015079A-C970-473A-91D4-DACE33A401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8" y="1028"/>
              <a:ext cx="161" cy="337"/>
            </a:xfrm>
            <a:custGeom>
              <a:avLst/>
              <a:gdLst>
                <a:gd name="T0" fmla="*/ 11 w 67"/>
                <a:gd name="T1" fmla="*/ 4 h 140"/>
                <a:gd name="T2" fmla="*/ 40 w 67"/>
                <a:gd name="T3" fmla="*/ 0 h 140"/>
                <a:gd name="T4" fmla="*/ 53 w 67"/>
                <a:gd name="T5" fmla="*/ 20 h 140"/>
                <a:gd name="T6" fmla="*/ 40 w 67"/>
                <a:gd name="T7" fmla="*/ 57 h 140"/>
                <a:gd name="T8" fmla="*/ 56 w 67"/>
                <a:gd name="T9" fmla="*/ 99 h 140"/>
                <a:gd name="T10" fmla="*/ 63 w 67"/>
                <a:gd name="T11" fmla="*/ 121 h 140"/>
                <a:gd name="T12" fmla="*/ 67 w 67"/>
                <a:gd name="T13" fmla="*/ 130 h 140"/>
                <a:gd name="T14" fmla="*/ 55 w 67"/>
                <a:gd name="T15" fmla="*/ 130 h 140"/>
                <a:gd name="T16" fmla="*/ 45 w 67"/>
                <a:gd name="T17" fmla="*/ 131 h 140"/>
                <a:gd name="T18" fmla="*/ 43 w 67"/>
                <a:gd name="T19" fmla="*/ 112 h 140"/>
                <a:gd name="T20" fmla="*/ 32 w 67"/>
                <a:gd name="T21" fmla="*/ 88 h 140"/>
                <a:gd name="T22" fmla="*/ 21 w 67"/>
                <a:gd name="T23" fmla="*/ 132 h 140"/>
                <a:gd name="T24" fmla="*/ 18 w 67"/>
                <a:gd name="T25" fmla="*/ 140 h 140"/>
                <a:gd name="T26" fmla="*/ 9 w 67"/>
                <a:gd name="T27" fmla="*/ 136 h 140"/>
                <a:gd name="T28" fmla="*/ 0 w 67"/>
                <a:gd name="T29" fmla="*/ 132 h 140"/>
                <a:gd name="T30" fmla="*/ 6 w 67"/>
                <a:gd name="T31" fmla="*/ 120 h 140"/>
                <a:gd name="T32" fmla="*/ 12 w 67"/>
                <a:gd name="T33" fmla="*/ 100 h 140"/>
                <a:gd name="T34" fmla="*/ 14 w 67"/>
                <a:gd name="T35" fmla="*/ 63 h 140"/>
                <a:gd name="T36" fmla="*/ 15 w 67"/>
                <a:gd name="T37" fmla="*/ 52 h 140"/>
                <a:gd name="T38" fmla="*/ 11 w 67"/>
                <a:gd name="T39" fmla="*/ 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7" h="140">
                  <a:moveTo>
                    <a:pt x="11" y="4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55" y="14"/>
                    <a:pt x="53" y="20"/>
                  </a:cubicBezTo>
                  <a:cubicBezTo>
                    <a:pt x="51" y="27"/>
                    <a:pt x="37" y="47"/>
                    <a:pt x="40" y="57"/>
                  </a:cubicBezTo>
                  <a:cubicBezTo>
                    <a:pt x="42" y="67"/>
                    <a:pt x="54" y="89"/>
                    <a:pt x="56" y="99"/>
                  </a:cubicBezTo>
                  <a:cubicBezTo>
                    <a:pt x="58" y="108"/>
                    <a:pt x="61" y="116"/>
                    <a:pt x="63" y="121"/>
                  </a:cubicBezTo>
                  <a:cubicBezTo>
                    <a:pt x="65" y="126"/>
                    <a:pt x="67" y="130"/>
                    <a:pt x="67" y="130"/>
                  </a:cubicBezTo>
                  <a:cubicBezTo>
                    <a:pt x="67" y="130"/>
                    <a:pt x="61" y="130"/>
                    <a:pt x="55" y="130"/>
                  </a:cubicBezTo>
                  <a:cubicBezTo>
                    <a:pt x="50" y="131"/>
                    <a:pt x="44" y="133"/>
                    <a:pt x="45" y="131"/>
                  </a:cubicBezTo>
                  <a:cubicBezTo>
                    <a:pt x="45" y="130"/>
                    <a:pt x="48" y="122"/>
                    <a:pt x="43" y="112"/>
                  </a:cubicBezTo>
                  <a:cubicBezTo>
                    <a:pt x="39" y="102"/>
                    <a:pt x="32" y="88"/>
                    <a:pt x="32" y="88"/>
                  </a:cubicBezTo>
                  <a:cubicBezTo>
                    <a:pt x="32" y="88"/>
                    <a:pt x="23" y="125"/>
                    <a:pt x="21" y="132"/>
                  </a:cubicBezTo>
                  <a:cubicBezTo>
                    <a:pt x="19" y="139"/>
                    <a:pt x="18" y="140"/>
                    <a:pt x="18" y="140"/>
                  </a:cubicBezTo>
                  <a:cubicBezTo>
                    <a:pt x="18" y="140"/>
                    <a:pt x="16" y="139"/>
                    <a:pt x="9" y="136"/>
                  </a:cubicBezTo>
                  <a:cubicBezTo>
                    <a:pt x="3" y="133"/>
                    <a:pt x="0" y="132"/>
                    <a:pt x="0" y="132"/>
                  </a:cubicBezTo>
                  <a:cubicBezTo>
                    <a:pt x="0" y="132"/>
                    <a:pt x="4" y="125"/>
                    <a:pt x="6" y="120"/>
                  </a:cubicBezTo>
                  <a:cubicBezTo>
                    <a:pt x="9" y="115"/>
                    <a:pt x="12" y="110"/>
                    <a:pt x="12" y="100"/>
                  </a:cubicBezTo>
                  <a:cubicBezTo>
                    <a:pt x="13" y="89"/>
                    <a:pt x="13" y="72"/>
                    <a:pt x="14" y="63"/>
                  </a:cubicBezTo>
                  <a:cubicBezTo>
                    <a:pt x="16" y="55"/>
                    <a:pt x="15" y="53"/>
                    <a:pt x="15" y="52"/>
                  </a:cubicBezTo>
                  <a:cubicBezTo>
                    <a:pt x="15" y="52"/>
                    <a:pt x="3" y="22"/>
                    <a:pt x="11" y="4"/>
                  </a:cubicBezTo>
                  <a:close/>
                </a:path>
              </a:pathLst>
            </a:custGeom>
            <a:solidFill>
              <a:srgbClr val="4A50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24">
              <a:extLst>
                <a:ext uri="{FF2B5EF4-FFF2-40B4-BE49-F238E27FC236}">
                  <a16:creationId xmlns:a16="http://schemas.microsoft.com/office/drawing/2014/main" id="{0225FA15-9726-4A49-B0E5-9D492576B9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45" y="1033"/>
              <a:ext cx="65" cy="149"/>
            </a:xfrm>
            <a:custGeom>
              <a:avLst/>
              <a:gdLst>
                <a:gd name="T0" fmla="*/ 8 w 27"/>
                <a:gd name="T1" fmla="*/ 2 h 62"/>
                <a:gd name="T2" fmla="*/ 27 w 27"/>
                <a:gd name="T3" fmla="*/ 0 h 62"/>
                <a:gd name="T4" fmla="*/ 13 w 27"/>
                <a:gd name="T5" fmla="*/ 5 h 62"/>
                <a:gd name="T6" fmla="*/ 9 w 27"/>
                <a:gd name="T7" fmla="*/ 19 h 62"/>
                <a:gd name="T8" fmla="*/ 9 w 27"/>
                <a:gd name="T9" fmla="*/ 34 h 62"/>
                <a:gd name="T10" fmla="*/ 13 w 27"/>
                <a:gd name="T11" fmla="*/ 40 h 62"/>
                <a:gd name="T12" fmla="*/ 16 w 27"/>
                <a:gd name="T13" fmla="*/ 22 h 62"/>
                <a:gd name="T14" fmla="*/ 20 w 27"/>
                <a:gd name="T15" fmla="*/ 13 h 62"/>
                <a:gd name="T16" fmla="*/ 23 w 27"/>
                <a:gd name="T17" fmla="*/ 15 h 62"/>
                <a:gd name="T18" fmla="*/ 17 w 27"/>
                <a:gd name="T19" fmla="*/ 25 h 62"/>
                <a:gd name="T20" fmla="*/ 12 w 27"/>
                <a:gd name="T21" fmla="*/ 51 h 62"/>
                <a:gd name="T22" fmla="*/ 8 w 27"/>
                <a:gd name="T23" fmla="*/ 2 h 62"/>
                <a:gd name="T24" fmla="*/ 11 w 27"/>
                <a:gd name="T25" fmla="*/ 62 h 62"/>
                <a:gd name="T26" fmla="*/ 11 w 27"/>
                <a:gd name="T27" fmla="*/ 62 h 62"/>
                <a:gd name="T28" fmla="*/ 11 w 27"/>
                <a:gd name="T29" fmla="*/ 59 h 62"/>
                <a:gd name="T30" fmla="*/ 11 w 27"/>
                <a:gd name="T3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7" h="62">
                  <a:moveTo>
                    <a:pt x="8" y="2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1" y="1"/>
                    <a:pt x="15" y="2"/>
                    <a:pt x="13" y="5"/>
                  </a:cubicBezTo>
                  <a:cubicBezTo>
                    <a:pt x="11" y="9"/>
                    <a:pt x="9" y="15"/>
                    <a:pt x="9" y="19"/>
                  </a:cubicBezTo>
                  <a:cubicBezTo>
                    <a:pt x="8" y="24"/>
                    <a:pt x="9" y="30"/>
                    <a:pt x="9" y="34"/>
                  </a:cubicBezTo>
                  <a:cubicBezTo>
                    <a:pt x="9" y="37"/>
                    <a:pt x="12" y="46"/>
                    <a:pt x="13" y="40"/>
                  </a:cubicBezTo>
                  <a:cubicBezTo>
                    <a:pt x="14" y="33"/>
                    <a:pt x="15" y="28"/>
                    <a:pt x="16" y="22"/>
                  </a:cubicBezTo>
                  <a:cubicBezTo>
                    <a:pt x="18" y="15"/>
                    <a:pt x="21" y="10"/>
                    <a:pt x="20" y="13"/>
                  </a:cubicBezTo>
                  <a:cubicBezTo>
                    <a:pt x="20" y="15"/>
                    <a:pt x="27" y="12"/>
                    <a:pt x="23" y="15"/>
                  </a:cubicBezTo>
                  <a:cubicBezTo>
                    <a:pt x="20" y="17"/>
                    <a:pt x="20" y="16"/>
                    <a:pt x="17" y="25"/>
                  </a:cubicBezTo>
                  <a:cubicBezTo>
                    <a:pt x="15" y="34"/>
                    <a:pt x="12" y="46"/>
                    <a:pt x="12" y="51"/>
                  </a:cubicBezTo>
                  <a:cubicBezTo>
                    <a:pt x="11" y="49"/>
                    <a:pt x="0" y="22"/>
                    <a:pt x="8" y="2"/>
                  </a:cubicBezTo>
                  <a:close/>
                  <a:moveTo>
                    <a:pt x="11" y="62"/>
                  </a:moveTo>
                  <a:cubicBezTo>
                    <a:pt x="11" y="62"/>
                    <a:pt x="11" y="62"/>
                    <a:pt x="11" y="62"/>
                  </a:cubicBezTo>
                  <a:cubicBezTo>
                    <a:pt x="11" y="61"/>
                    <a:pt x="11" y="60"/>
                    <a:pt x="11" y="59"/>
                  </a:cubicBezTo>
                  <a:cubicBezTo>
                    <a:pt x="11" y="60"/>
                    <a:pt x="11" y="61"/>
                    <a:pt x="11" y="62"/>
                  </a:cubicBezTo>
                  <a:close/>
                </a:path>
              </a:pathLst>
            </a:custGeom>
            <a:solidFill>
              <a:srgbClr val="3D3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25">
              <a:extLst>
                <a:ext uri="{FF2B5EF4-FFF2-40B4-BE49-F238E27FC236}">
                  <a16:creationId xmlns:a16="http://schemas.microsoft.com/office/drawing/2014/main" id="{2796A039-FBC2-4067-9A9E-D601989936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6" y="759"/>
              <a:ext cx="72" cy="79"/>
            </a:xfrm>
            <a:custGeom>
              <a:avLst/>
              <a:gdLst>
                <a:gd name="T0" fmla="*/ 26 w 30"/>
                <a:gd name="T1" fmla="*/ 18 h 33"/>
                <a:gd name="T2" fmla="*/ 26 w 30"/>
                <a:gd name="T3" fmla="*/ 5 h 33"/>
                <a:gd name="T4" fmla="*/ 14 w 30"/>
                <a:gd name="T5" fmla="*/ 0 h 33"/>
                <a:gd name="T6" fmla="*/ 2 w 30"/>
                <a:gd name="T7" fmla="*/ 5 h 33"/>
                <a:gd name="T8" fmla="*/ 4 w 30"/>
                <a:gd name="T9" fmla="*/ 25 h 33"/>
                <a:gd name="T10" fmla="*/ 26 w 30"/>
                <a:gd name="T11" fmla="*/ 1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3">
                  <a:moveTo>
                    <a:pt x="26" y="18"/>
                  </a:moveTo>
                  <a:cubicBezTo>
                    <a:pt x="28" y="12"/>
                    <a:pt x="30" y="8"/>
                    <a:pt x="26" y="5"/>
                  </a:cubicBezTo>
                  <a:cubicBezTo>
                    <a:pt x="22" y="2"/>
                    <a:pt x="18" y="0"/>
                    <a:pt x="14" y="0"/>
                  </a:cubicBezTo>
                  <a:cubicBezTo>
                    <a:pt x="9" y="0"/>
                    <a:pt x="3" y="1"/>
                    <a:pt x="2" y="5"/>
                  </a:cubicBezTo>
                  <a:cubicBezTo>
                    <a:pt x="1" y="8"/>
                    <a:pt x="0" y="18"/>
                    <a:pt x="4" y="25"/>
                  </a:cubicBezTo>
                  <a:cubicBezTo>
                    <a:pt x="9" y="33"/>
                    <a:pt x="23" y="29"/>
                    <a:pt x="26" y="18"/>
                  </a:cubicBezTo>
                  <a:close/>
                </a:path>
              </a:pathLst>
            </a:custGeom>
            <a:solidFill>
              <a:srgbClr val="4B2B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26">
              <a:extLst>
                <a:ext uri="{FF2B5EF4-FFF2-40B4-BE49-F238E27FC236}">
                  <a16:creationId xmlns:a16="http://schemas.microsoft.com/office/drawing/2014/main" id="{F7894FF7-D032-4CBF-B59E-A17A909BA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4" y="802"/>
              <a:ext cx="45" cy="53"/>
            </a:xfrm>
            <a:custGeom>
              <a:avLst/>
              <a:gdLst>
                <a:gd name="T0" fmla="*/ 19 w 19"/>
                <a:gd name="T1" fmla="*/ 12 h 22"/>
                <a:gd name="T2" fmla="*/ 10 w 19"/>
                <a:gd name="T3" fmla="*/ 20 h 22"/>
                <a:gd name="T4" fmla="*/ 1 w 19"/>
                <a:gd name="T5" fmla="*/ 7 h 22"/>
                <a:gd name="T6" fmla="*/ 19 w 19"/>
                <a:gd name="T7" fmla="*/ 1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2">
                  <a:moveTo>
                    <a:pt x="19" y="12"/>
                  </a:moveTo>
                  <a:cubicBezTo>
                    <a:pt x="18" y="16"/>
                    <a:pt x="15" y="22"/>
                    <a:pt x="10" y="20"/>
                  </a:cubicBezTo>
                  <a:cubicBezTo>
                    <a:pt x="4" y="19"/>
                    <a:pt x="1" y="14"/>
                    <a:pt x="1" y="7"/>
                  </a:cubicBezTo>
                  <a:cubicBezTo>
                    <a:pt x="0" y="0"/>
                    <a:pt x="18" y="3"/>
                    <a:pt x="19" y="12"/>
                  </a:cubicBezTo>
                  <a:close/>
                </a:path>
              </a:pathLst>
            </a:custGeom>
            <a:solidFill>
              <a:srgbClr val="D6A0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27">
              <a:extLst>
                <a:ext uri="{FF2B5EF4-FFF2-40B4-BE49-F238E27FC236}">
                  <a16:creationId xmlns:a16="http://schemas.microsoft.com/office/drawing/2014/main" id="{57E443B2-ACFC-4B7A-B3D6-C07A92008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1" y="778"/>
              <a:ext cx="60" cy="75"/>
            </a:xfrm>
            <a:custGeom>
              <a:avLst/>
              <a:gdLst>
                <a:gd name="T0" fmla="*/ 24 w 25"/>
                <a:gd name="T1" fmla="*/ 8 h 31"/>
                <a:gd name="T2" fmla="*/ 21 w 25"/>
                <a:gd name="T3" fmla="*/ 20 h 31"/>
                <a:gd name="T4" fmla="*/ 12 w 25"/>
                <a:gd name="T5" fmla="*/ 30 h 31"/>
                <a:gd name="T6" fmla="*/ 2 w 25"/>
                <a:gd name="T7" fmla="*/ 18 h 31"/>
                <a:gd name="T8" fmla="*/ 1 w 25"/>
                <a:gd name="T9" fmla="*/ 10 h 31"/>
                <a:gd name="T10" fmla="*/ 5 w 25"/>
                <a:gd name="T11" fmla="*/ 10 h 31"/>
                <a:gd name="T12" fmla="*/ 8 w 25"/>
                <a:gd name="T13" fmla="*/ 0 h 31"/>
                <a:gd name="T14" fmla="*/ 16 w 25"/>
                <a:gd name="T15" fmla="*/ 2 h 31"/>
                <a:gd name="T16" fmla="*/ 22 w 25"/>
                <a:gd name="T17" fmla="*/ 2 h 31"/>
                <a:gd name="T18" fmla="*/ 24 w 25"/>
                <a:gd name="T19" fmla="*/ 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31">
                  <a:moveTo>
                    <a:pt x="24" y="8"/>
                  </a:moveTo>
                  <a:cubicBezTo>
                    <a:pt x="24" y="11"/>
                    <a:pt x="23" y="17"/>
                    <a:pt x="21" y="20"/>
                  </a:cubicBezTo>
                  <a:cubicBezTo>
                    <a:pt x="20" y="23"/>
                    <a:pt x="17" y="31"/>
                    <a:pt x="12" y="30"/>
                  </a:cubicBezTo>
                  <a:cubicBezTo>
                    <a:pt x="6" y="29"/>
                    <a:pt x="3" y="23"/>
                    <a:pt x="2" y="18"/>
                  </a:cubicBezTo>
                  <a:cubicBezTo>
                    <a:pt x="1" y="12"/>
                    <a:pt x="0" y="8"/>
                    <a:pt x="1" y="10"/>
                  </a:cubicBezTo>
                  <a:cubicBezTo>
                    <a:pt x="3" y="13"/>
                    <a:pt x="5" y="15"/>
                    <a:pt x="5" y="10"/>
                  </a:cubicBezTo>
                  <a:cubicBezTo>
                    <a:pt x="5" y="5"/>
                    <a:pt x="5" y="0"/>
                    <a:pt x="8" y="0"/>
                  </a:cubicBezTo>
                  <a:cubicBezTo>
                    <a:pt x="11" y="0"/>
                    <a:pt x="13" y="2"/>
                    <a:pt x="16" y="2"/>
                  </a:cubicBezTo>
                  <a:cubicBezTo>
                    <a:pt x="19" y="2"/>
                    <a:pt x="20" y="1"/>
                    <a:pt x="22" y="2"/>
                  </a:cubicBezTo>
                  <a:cubicBezTo>
                    <a:pt x="25" y="2"/>
                    <a:pt x="25" y="5"/>
                    <a:pt x="24" y="8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28">
              <a:extLst>
                <a:ext uri="{FF2B5EF4-FFF2-40B4-BE49-F238E27FC236}">
                  <a16:creationId xmlns:a16="http://schemas.microsoft.com/office/drawing/2014/main" id="{955DEF44-EDFC-4552-81FD-D670EB5BB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9" y="800"/>
              <a:ext cx="9" cy="17"/>
            </a:xfrm>
            <a:custGeom>
              <a:avLst/>
              <a:gdLst>
                <a:gd name="T0" fmla="*/ 1 w 4"/>
                <a:gd name="T1" fmla="*/ 1 h 7"/>
                <a:gd name="T2" fmla="*/ 0 w 4"/>
                <a:gd name="T3" fmla="*/ 4 h 7"/>
                <a:gd name="T4" fmla="*/ 3 w 4"/>
                <a:gd name="T5" fmla="*/ 6 h 7"/>
                <a:gd name="T6" fmla="*/ 4 w 4"/>
                <a:gd name="T7" fmla="*/ 3 h 7"/>
                <a:gd name="T8" fmla="*/ 1 w 4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1" y="1"/>
                  </a:moveTo>
                  <a:cubicBezTo>
                    <a:pt x="0" y="1"/>
                    <a:pt x="0" y="2"/>
                    <a:pt x="0" y="4"/>
                  </a:cubicBezTo>
                  <a:cubicBezTo>
                    <a:pt x="1" y="6"/>
                    <a:pt x="2" y="7"/>
                    <a:pt x="3" y="6"/>
                  </a:cubicBezTo>
                  <a:cubicBezTo>
                    <a:pt x="4" y="6"/>
                    <a:pt x="4" y="5"/>
                    <a:pt x="4" y="3"/>
                  </a:cubicBezTo>
                  <a:cubicBezTo>
                    <a:pt x="4" y="1"/>
                    <a:pt x="2" y="0"/>
                    <a:pt x="1" y="1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29">
              <a:extLst>
                <a:ext uri="{FF2B5EF4-FFF2-40B4-BE49-F238E27FC236}">
                  <a16:creationId xmlns:a16="http://schemas.microsoft.com/office/drawing/2014/main" id="{B7C6F269-F571-4431-B230-AAEFAE7A1F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9" y="860"/>
              <a:ext cx="51" cy="176"/>
            </a:xfrm>
            <a:custGeom>
              <a:avLst/>
              <a:gdLst>
                <a:gd name="T0" fmla="*/ 21 w 21"/>
                <a:gd name="T1" fmla="*/ 3 h 73"/>
                <a:gd name="T2" fmla="*/ 17 w 21"/>
                <a:gd name="T3" fmla="*/ 7 h 73"/>
                <a:gd name="T4" fmla="*/ 16 w 21"/>
                <a:gd name="T5" fmla="*/ 9 h 73"/>
                <a:gd name="T6" fmla="*/ 13 w 21"/>
                <a:gd name="T7" fmla="*/ 43 h 73"/>
                <a:gd name="T8" fmla="*/ 11 w 21"/>
                <a:gd name="T9" fmla="*/ 66 h 73"/>
                <a:gd name="T10" fmla="*/ 5 w 21"/>
                <a:gd name="T11" fmla="*/ 73 h 73"/>
                <a:gd name="T12" fmla="*/ 0 w 21"/>
                <a:gd name="T13" fmla="*/ 68 h 73"/>
                <a:gd name="T14" fmla="*/ 3 w 21"/>
                <a:gd name="T15" fmla="*/ 43 h 73"/>
                <a:gd name="T16" fmla="*/ 12 w 21"/>
                <a:gd name="T17" fmla="*/ 9 h 73"/>
                <a:gd name="T18" fmla="*/ 12 w 21"/>
                <a:gd name="T19" fmla="*/ 6 h 73"/>
                <a:gd name="T20" fmla="*/ 10 w 21"/>
                <a:gd name="T21" fmla="*/ 2 h 73"/>
                <a:gd name="T22" fmla="*/ 16 w 21"/>
                <a:gd name="T23" fmla="*/ 0 h 73"/>
                <a:gd name="T24" fmla="*/ 21 w 21"/>
                <a:gd name="T25" fmla="*/ 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73">
                  <a:moveTo>
                    <a:pt x="21" y="3"/>
                  </a:moveTo>
                  <a:cubicBezTo>
                    <a:pt x="17" y="7"/>
                    <a:pt x="17" y="7"/>
                    <a:pt x="17" y="7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4" y="33"/>
                    <a:pt x="13" y="43"/>
                  </a:cubicBezTo>
                  <a:cubicBezTo>
                    <a:pt x="12" y="53"/>
                    <a:pt x="11" y="66"/>
                    <a:pt x="11" y="66"/>
                  </a:cubicBezTo>
                  <a:cubicBezTo>
                    <a:pt x="5" y="73"/>
                    <a:pt x="5" y="73"/>
                    <a:pt x="5" y="73"/>
                  </a:cubicBezTo>
                  <a:cubicBezTo>
                    <a:pt x="5" y="73"/>
                    <a:pt x="0" y="70"/>
                    <a:pt x="0" y="68"/>
                  </a:cubicBezTo>
                  <a:cubicBezTo>
                    <a:pt x="0" y="66"/>
                    <a:pt x="2" y="55"/>
                    <a:pt x="3" y="43"/>
                  </a:cubicBezTo>
                  <a:cubicBezTo>
                    <a:pt x="5" y="30"/>
                    <a:pt x="12" y="9"/>
                    <a:pt x="12" y="9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9" y="1"/>
                    <a:pt x="21" y="3"/>
                  </a:cubicBezTo>
                  <a:close/>
                </a:path>
              </a:pathLst>
            </a:custGeom>
            <a:solidFill>
              <a:srgbClr val="CF1E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30">
              <a:extLst>
                <a:ext uri="{FF2B5EF4-FFF2-40B4-BE49-F238E27FC236}">
                  <a16:creationId xmlns:a16="http://schemas.microsoft.com/office/drawing/2014/main" id="{06999C5C-864E-4A88-AAC4-550D32767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9" y="843"/>
              <a:ext cx="53" cy="31"/>
            </a:xfrm>
            <a:custGeom>
              <a:avLst/>
              <a:gdLst>
                <a:gd name="T0" fmla="*/ 48 w 53"/>
                <a:gd name="T1" fmla="*/ 0 h 31"/>
                <a:gd name="T2" fmla="*/ 53 w 53"/>
                <a:gd name="T3" fmla="*/ 7 h 31"/>
                <a:gd name="T4" fmla="*/ 36 w 53"/>
                <a:gd name="T5" fmla="*/ 31 h 31"/>
                <a:gd name="T6" fmla="*/ 19 w 53"/>
                <a:gd name="T7" fmla="*/ 17 h 31"/>
                <a:gd name="T8" fmla="*/ 2 w 53"/>
                <a:gd name="T9" fmla="*/ 29 h 31"/>
                <a:gd name="T10" fmla="*/ 0 w 53"/>
                <a:gd name="T11" fmla="*/ 12 h 31"/>
                <a:gd name="T12" fmla="*/ 7 w 53"/>
                <a:gd name="T13" fmla="*/ 5 h 31"/>
                <a:gd name="T14" fmla="*/ 19 w 53"/>
                <a:gd name="T15" fmla="*/ 17 h 31"/>
                <a:gd name="T16" fmla="*/ 48 w 53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31">
                  <a:moveTo>
                    <a:pt x="48" y="0"/>
                  </a:moveTo>
                  <a:lnTo>
                    <a:pt x="53" y="7"/>
                  </a:lnTo>
                  <a:lnTo>
                    <a:pt x="36" y="31"/>
                  </a:lnTo>
                  <a:lnTo>
                    <a:pt x="19" y="17"/>
                  </a:lnTo>
                  <a:lnTo>
                    <a:pt x="2" y="29"/>
                  </a:lnTo>
                  <a:lnTo>
                    <a:pt x="0" y="12"/>
                  </a:lnTo>
                  <a:lnTo>
                    <a:pt x="7" y="5"/>
                  </a:lnTo>
                  <a:lnTo>
                    <a:pt x="19" y="17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31">
              <a:extLst>
                <a:ext uri="{FF2B5EF4-FFF2-40B4-BE49-F238E27FC236}">
                  <a16:creationId xmlns:a16="http://schemas.microsoft.com/office/drawing/2014/main" id="{7BFD2748-EDC2-462F-94D9-33BA92807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5" y="1028"/>
              <a:ext cx="53" cy="56"/>
            </a:xfrm>
            <a:custGeom>
              <a:avLst/>
              <a:gdLst>
                <a:gd name="T0" fmla="*/ 1 w 22"/>
                <a:gd name="T1" fmla="*/ 1 h 23"/>
                <a:gd name="T2" fmla="*/ 13 w 22"/>
                <a:gd name="T3" fmla="*/ 19 h 23"/>
                <a:gd name="T4" fmla="*/ 1 w 22"/>
                <a:gd name="T5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23">
                  <a:moveTo>
                    <a:pt x="1" y="1"/>
                  </a:moveTo>
                  <a:cubicBezTo>
                    <a:pt x="0" y="3"/>
                    <a:pt x="4" y="15"/>
                    <a:pt x="13" y="19"/>
                  </a:cubicBezTo>
                  <a:cubicBezTo>
                    <a:pt x="22" y="23"/>
                    <a:pt x="18" y="0"/>
                    <a:pt x="1" y="1"/>
                  </a:cubicBezTo>
                  <a:close/>
                </a:path>
              </a:pathLst>
            </a:custGeom>
            <a:solidFill>
              <a:srgbClr val="3D3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32">
              <a:extLst>
                <a:ext uri="{FF2B5EF4-FFF2-40B4-BE49-F238E27FC236}">
                  <a16:creationId xmlns:a16="http://schemas.microsoft.com/office/drawing/2014/main" id="{A85B357E-1B15-4873-8DE9-183AF91161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6" y="850"/>
              <a:ext cx="93" cy="234"/>
            </a:xfrm>
            <a:custGeom>
              <a:avLst/>
              <a:gdLst>
                <a:gd name="T0" fmla="*/ 15 w 39"/>
                <a:gd name="T1" fmla="*/ 0 h 97"/>
                <a:gd name="T2" fmla="*/ 0 w 39"/>
                <a:gd name="T3" fmla="*/ 46 h 97"/>
                <a:gd name="T4" fmla="*/ 9 w 39"/>
                <a:gd name="T5" fmla="*/ 76 h 97"/>
                <a:gd name="T6" fmla="*/ 20 w 39"/>
                <a:gd name="T7" fmla="*/ 97 h 97"/>
                <a:gd name="T8" fmla="*/ 29 w 39"/>
                <a:gd name="T9" fmla="*/ 97 h 97"/>
                <a:gd name="T10" fmla="*/ 27 w 39"/>
                <a:gd name="T11" fmla="*/ 65 h 97"/>
                <a:gd name="T12" fmla="*/ 32 w 39"/>
                <a:gd name="T13" fmla="*/ 44 h 97"/>
                <a:gd name="T14" fmla="*/ 38 w 39"/>
                <a:gd name="T15" fmla="*/ 14 h 97"/>
                <a:gd name="T16" fmla="*/ 15 w 39"/>
                <a:gd name="T1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97">
                  <a:moveTo>
                    <a:pt x="15" y="0"/>
                  </a:moveTo>
                  <a:cubicBezTo>
                    <a:pt x="15" y="0"/>
                    <a:pt x="1" y="34"/>
                    <a:pt x="0" y="46"/>
                  </a:cubicBezTo>
                  <a:cubicBezTo>
                    <a:pt x="0" y="58"/>
                    <a:pt x="5" y="72"/>
                    <a:pt x="9" y="76"/>
                  </a:cubicBezTo>
                  <a:cubicBezTo>
                    <a:pt x="14" y="80"/>
                    <a:pt x="20" y="97"/>
                    <a:pt x="20" y="97"/>
                  </a:cubicBezTo>
                  <a:cubicBezTo>
                    <a:pt x="29" y="97"/>
                    <a:pt x="29" y="97"/>
                    <a:pt x="29" y="97"/>
                  </a:cubicBezTo>
                  <a:cubicBezTo>
                    <a:pt x="29" y="97"/>
                    <a:pt x="29" y="80"/>
                    <a:pt x="27" y="65"/>
                  </a:cubicBezTo>
                  <a:cubicBezTo>
                    <a:pt x="25" y="50"/>
                    <a:pt x="32" y="45"/>
                    <a:pt x="32" y="44"/>
                  </a:cubicBezTo>
                  <a:cubicBezTo>
                    <a:pt x="31" y="43"/>
                    <a:pt x="39" y="18"/>
                    <a:pt x="38" y="14"/>
                  </a:cubicBezTo>
                  <a:cubicBezTo>
                    <a:pt x="37" y="9"/>
                    <a:pt x="22" y="6"/>
                    <a:pt x="15" y="0"/>
                  </a:cubicBezTo>
                  <a:close/>
                </a:path>
              </a:pathLst>
            </a:custGeom>
            <a:solidFill>
              <a:srgbClr val="4A50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33">
              <a:extLst>
                <a:ext uri="{FF2B5EF4-FFF2-40B4-BE49-F238E27FC236}">
                  <a16:creationId xmlns:a16="http://schemas.microsoft.com/office/drawing/2014/main" id="{61449EE9-6A85-45EB-917C-5419709CB3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2" y="1052"/>
              <a:ext cx="33" cy="32"/>
            </a:xfrm>
            <a:custGeom>
              <a:avLst/>
              <a:gdLst>
                <a:gd name="T0" fmla="*/ 0 w 14"/>
                <a:gd name="T1" fmla="*/ 1 h 13"/>
                <a:gd name="T2" fmla="*/ 6 w 14"/>
                <a:gd name="T3" fmla="*/ 13 h 13"/>
                <a:gd name="T4" fmla="*/ 14 w 14"/>
                <a:gd name="T5" fmla="*/ 13 h 13"/>
                <a:gd name="T6" fmla="*/ 14 w 14"/>
                <a:gd name="T7" fmla="*/ 2 h 13"/>
                <a:gd name="T8" fmla="*/ 0 w 14"/>
                <a:gd name="T9" fmla="*/ 0 h 13"/>
                <a:gd name="T10" fmla="*/ 0 w 14"/>
                <a:gd name="T11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3">
                  <a:moveTo>
                    <a:pt x="0" y="1"/>
                  </a:moveTo>
                  <a:cubicBezTo>
                    <a:pt x="3" y="7"/>
                    <a:pt x="6" y="13"/>
                    <a:pt x="6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9"/>
                    <a:pt x="14" y="2"/>
                  </a:cubicBezTo>
                  <a:cubicBezTo>
                    <a:pt x="7" y="1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3D3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34">
              <a:extLst>
                <a:ext uri="{FF2B5EF4-FFF2-40B4-BE49-F238E27FC236}">
                  <a16:creationId xmlns:a16="http://schemas.microsoft.com/office/drawing/2014/main" id="{3EEAFC3A-F96B-4797-A12C-415C429FA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9" y="879"/>
              <a:ext cx="46" cy="178"/>
            </a:xfrm>
            <a:custGeom>
              <a:avLst/>
              <a:gdLst>
                <a:gd name="T0" fmla="*/ 10 w 19"/>
                <a:gd name="T1" fmla="*/ 60 h 74"/>
                <a:gd name="T2" fmla="*/ 9 w 19"/>
                <a:gd name="T3" fmla="*/ 53 h 74"/>
                <a:gd name="T4" fmla="*/ 14 w 19"/>
                <a:gd name="T5" fmla="*/ 32 h 74"/>
                <a:gd name="T6" fmla="*/ 17 w 19"/>
                <a:gd name="T7" fmla="*/ 20 h 74"/>
                <a:gd name="T8" fmla="*/ 15 w 19"/>
                <a:gd name="T9" fmla="*/ 22 h 74"/>
                <a:gd name="T10" fmla="*/ 16 w 19"/>
                <a:gd name="T11" fmla="*/ 11 h 74"/>
                <a:gd name="T12" fmla="*/ 17 w 19"/>
                <a:gd name="T13" fmla="*/ 4 h 74"/>
                <a:gd name="T14" fmla="*/ 14 w 19"/>
                <a:gd name="T15" fmla="*/ 18 h 74"/>
                <a:gd name="T16" fmla="*/ 11 w 19"/>
                <a:gd name="T17" fmla="*/ 20 h 74"/>
                <a:gd name="T18" fmla="*/ 9 w 19"/>
                <a:gd name="T19" fmla="*/ 26 h 74"/>
                <a:gd name="T20" fmla="*/ 8 w 19"/>
                <a:gd name="T21" fmla="*/ 40 h 74"/>
                <a:gd name="T22" fmla="*/ 6 w 19"/>
                <a:gd name="T23" fmla="*/ 56 h 74"/>
                <a:gd name="T24" fmla="*/ 0 w 19"/>
                <a:gd name="T25" fmla="*/ 67 h 74"/>
                <a:gd name="T26" fmla="*/ 8 w 19"/>
                <a:gd name="T27" fmla="*/ 71 h 74"/>
                <a:gd name="T28" fmla="*/ 8 w 19"/>
                <a:gd name="T29" fmla="*/ 62 h 74"/>
                <a:gd name="T30" fmla="*/ 10 w 19"/>
                <a:gd name="T31" fmla="*/ 6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" h="74">
                  <a:moveTo>
                    <a:pt x="10" y="60"/>
                  </a:moveTo>
                  <a:cubicBezTo>
                    <a:pt x="9" y="58"/>
                    <a:pt x="9" y="55"/>
                    <a:pt x="9" y="53"/>
                  </a:cubicBezTo>
                  <a:cubicBezTo>
                    <a:pt x="7" y="38"/>
                    <a:pt x="14" y="33"/>
                    <a:pt x="14" y="32"/>
                  </a:cubicBezTo>
                  <a:cubicBezTo>
                    <a:pt x="13" y="31"/>
                    <a:pt x="15" y="26"/>
                    <a:pt x="17" y="20"/>
                  </a:cubicBezTo>
                  <a:cubicBezTo>
                    <a:pt x="16" y="21"/>
                    <a:pt x="16" y="22"/>
                    <a:pt x="15" y="22"/>
                  </a:cubicBezTo>
                  <a:cubicBezTo>
                    <a:pt x="13" y="26"/>
                    <a:pt x="16" y="18"/>
                    <a:pt x="16" y="11"/>
                  </a:cubicBezTo>
                  <a:cubicBezTo>
                    <a:pt x="17" y="5"/>
                    <a:pt x="19" y="0"/>
                    <a:pt x="17" y="4"/>
                  </a:cubicBezTo>
                  <a:cubicBezTo>
                    <a:pt x="15" y="7"/>
                    <a:pt x="14" y="12"/>
                    <a:pt x="14" y="18"/>
                  </a:cubicBezTo>
                  <a:cubicBezTo>
                    <a:pt x="13" y="24"/>
                    <a:pt x="13" y="24"/>
                    <a:pt x="11" y="20"/>
                  </a:cubicBezTo>
                  <a:cubicBezTo>
                    <a:pt x="10" y="16"/>
                    <a:pt x="8" y="21"/>
                    <a:pt x="9" y="26"/>
                  </a:cubicBezTo>
                  <a:cubicBezTo>
                    <a:pt x="10" y="30"/>
                    <a:pt x="10" y="35"/>
                    <a:pt x="8" y="40"/>
                  </a:cubicBezTo>
                  <a:cubicBezTo>
                    <a:pt x="6" y="45"/>
                    <a:pt x="6" y="52"/>
                    <a:pt x="6" y="56"/>
                  </a:cubicBezTo>
                  <a:cubicBezTo>
                    <a:pt x="6" y="60"/>
                    <a:pt x="3" y="63"/>
                    <a:pt x="0" y="67"/>
                  </a:cubicBezTo>
                  <a:cubicBezTo>
                    <a:pt x="4" y="68"/>
                    <a:pt x="10" y="74"/>
                    <a:pt x="8" y="71"/>
                  </a:cubicBezTo>
                  <a:cubicBezTo>
                    <a:pt x="6" y="68"/>
                    <a:pt x="5" y="65"/>
                    <a:pt x="8" y="62"/>
                  </a:cubicBezTo>
                  <a:cubicBezTo>
                    <a:pt x="9" y="61"/>
                    <a:pt x="9" y="61"/>
                    <a:pt x="10" y="60"/>
                  </a:cubicBezTo>
                  <a:close/>
                </a:path>
              </a:pathLst>
            </a:custGeom>
            <a:solidFill>
              <a:srgbClr val="3D3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35">
              <a:extLst>
                <a:ext uri="{FF2B5EF4-FFF2-40B4-BE49-F238E27FC236}">
                  <a16:creationId xmlns:a16="http://schemas.microsoft.com/office/drawing/2014/main" id="{C6989422-1782-4FC5-8667-3A28C1F5E00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3" y="855"/>
              <a:ext cx="46" cy="226"/>
            </a:xfrm>
            <a:custGeom>
              <a:avLst/>
              <a:gdLst>
                <a:gd name="T0" fmla="*/ 19 w 19"/>
                <a:gd name="T1" fmla="*/ 0 h 94"/>
                <a:gd name="T2" fmla="*/ 15 w 19"/>
                <a:gd name="T3" fmla="*/ 42 h 94"/>
                <a:gd name="T4" fmla="*/ 10 w 19"/>
                <a:gd name="T5" fmla="*/ 83 h 94"/>
                <a:gd name="T6" fmla="*/ 7 w 19"/>
                <a:gd name="T7" fmla="*/ 94 h 94"/>
                <a:gd name="T8" fmla="*/ 1 w 19"/>
                <a:gd name="T9" fmla="*/ 91 h 94"/>
                <a:gd name="T10" fmla="*/ 4 w 19"/>
                <a:gd name="T11" fmla="*/ 53 h 94"/>
                <a:gd name="T12" fmla="*/ 1 w 19"/>
                <a:gd name="T13" fmla="*/ 10 h 94"/>
                <a:gd name="T14" fmla="*/ 19 w 19"/>
                <a:gd name="T1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94">
                  <a:moveTo>
                    <a:pt x="19" y="0"/>
                  </a:moveTo>
                  <a:cubicBezTo>
                    <a:pt x="19" y="0"/>
                    <a:pt x="15" y="30"/>
                    <a:pt x="15" y="42"/>
                  </a:cubicBezTo>
                  <a:cubicBezTo>
                    <a:pt x="15" y="55"/>
                    <a:pt x="12" y="76"/>
                    <a:pt x="10" y="83"/>
                  </a:cubicBezTo>
                  <a:cubicBezTo>
                    <a:pt x="8" y="90"/>
                    <a:pt x="7" y="94"/>
                    <a:pt x="7" y="94"/>
                  </a:cubicBezTo>
                  <a:cubicBezTo>
                    <a:pt x="1" y="91"/>
                    <a:pt x="1" y="91"/>
                    <a:pt x="1" y="91"/>
                  </a:cubicBezTo>
                  <a:cubicBezTo>
                    <a:pt x="1" y="91"/>
                    <a:pt x="5" y="67"/>
                    <a:pt x="4" y="53"/>
                  </a:cubicBezTo>
                  <a:cubicBezTo>
                    <a:pt x="3" y="39"/>
                    <a:pt x="2" y="15"/>
                    <a:pt x="1" y="10"/>
                  </a:cubicBezTo>
                  <a:cubicBezTo>
                    <a:pt x="0" y="6"/>
                    <a:pt x="10" y="3"/>
                    <a:pt x="19" y="0"/>
                  </a:cubicBezTo>
                  <a:close/>
                </a:path>
              </a:pathLst>
            </a:custGeom>
            <a:solidFill>
              <a:srgbClr val="4A50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136">
              <a:extLst>
                <a:ext uri="{FF2B5EF4-FFF2-40B4-BE49-F238E27FC236}">
                  <a16:creationId xmlns:a16="http://schemas.microsoft.com/office/drawing/2014/main" id="{ED2DFDC3-1E78-4E57-81E1-4ADD304AE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0" y="862"/>
              <a:ext cx="22" cy="135"/>
            </a:xfrm>
            <a:custGeom>
              <a:avLst/>
              <a:gdLst>
                <a:gd name="T0" fmla="*/ 7 w 9"/>
                <a:gd name="T1" fmla="*/ 56 h 56"/>
                <a:gd name="T2" fmla="*/ 3 w 9"/>
                <a:gd name="T3" fmla="*/ 14 h 56"/>
                <a:gd name="T4" fmla="*/ 7 w 9"/>
                <a:gd name="T5" fmla="*/ 7 h 56"/>
                <a:gd name="T6" fmla="*/ 5 w 9"/>
                <a:gd name="T7" fmla="*/ 3 h 56"/>
                <a:gd name="T8" fmla="*/ 6 w 9"/>
                <a:gd name="T9" fmla="*/ 0 h 56"/>
                <a:gd name="T10" fmla="*/ 3 w 9"/>
                <a:gd name="T11" fmla="*/ 3 h 56"/>
                <a:gd name="T12" fmla="*/ 5 w 9"/>
                <a:gd name="T13" fmla="*/ 7 h 56"/>
                <a:gd name="T14" fmla="*/ 0 w 9"/>
                <a:gd name="T15" fmla="*/ 15 h 56"/>
                <a:gd name="T16" fmla="*/ 7 w 9"/>
                <a:gd name="T1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56">
                  <a:moveTo>
                    <a:pt x="7" y="56"/>
                  </a:moveTo>
                  <a:cubicBezTo>
                    <a:pt x="9" y="39"/>
                    <a:pt x="3" y="14"/>
                    <a:pt x="3" y="14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9" y="39"/>
                    <a:pt x="7" y="56"/>
                  </a:cubicBezTo>
                  <a:close/>
                </a:path>
              </a:pathLst>
            </a:custGeom>
            <a:solidFill>
              <a:srgbClr val="3D3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37">
              <a:extLst>
                <a:ext uri="{FF2B5EF4-FFF2-40B4-BE49-F238E27FC236}">
                  <a16:creationId xmlns:a16="http://schemas.microsoft.com/office/drawing/2014/main" id="{B879AA1B-B526-473C-A194-E955457A60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6" y="1040"/>
              <a:ext cx="79" cy="46"/>
            </a:xfrm>
            <a:custGeom>
              <a:avLst/>
              <a:gdLst>
                <a:gd name="T0" fmla="*/ 31 w 33"/>
                <a:gd name="T1" fmla="*/ 7 h 19"/>
                <a:gd name="T2" fmla="*/ 18 w 33"/>
                <a:gd name="T3" fmla="*/ 18 h 19"/>
                <a:gd name="T4" fmla="*/ 16 w 33"/>
                <a:gd name="T5" fmla="*/ 18 h 19"/>
                <a:gd name="T6" fmla="*/ 13 w 33"/>
                <a:gd name="T7" fmla="*/ 9 h 19"/>
                <a:gd name="T8" fmla="*/ 6 w 33"/>
                <a:gd name="T9" fmla="*/ 3 h 19"/>
                <a:gd name="T10" fmla="*/ 4 w 33"/>
                <a:gd name="T11" fmla="*/ 1 h 19"/>
                <a:gd name="T12" fmla="*/ 20 w 33"/>
                <a:gd name="T13" fmla="*/ 2 h 19"/>
                <a:gd name="T14" fmla="*/ 31 w 33"/>
                <a:gd name="T15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19">
                  <a:moveTo>
                    <a:pt x="31" y="7"/>
                  </a:moveTo>
                  <a:cubicBezTo>
                    <a:pt x="27" y="10"/>
                    <a:pt x="21" y="17"/>
                    <a:pt x="18" y="18"/>
                  </a:cubicBezTo>
                  <a:cubicBezTo>
                    <a:pt x="15" y="19"/>
                    <a:pt x="16" y="18"/>
                    <a:pt x="16" y="18"/>
                  </a:cubicBezTo>
                  <a:cubicBezTo>
                    <a:pt x="16" y="18"/>
                    <a:pt x="16" y="14"/>
                    <a:pt x="13" y="9"/>
                  </a:cubicBezTo>
                  <a:cubicBezTo>
                    <a:pt x="11" y="5"/>
                    <a:pt x="9" y="3"/>
                    <a:pt x="6" y="3"/>
                  </a:cubicBezTo>
                  <a:cubicBezTo>
                    <a:pt x="2" y="4"/>
                    <a:pt x="0" y="2"/>
                    <a:pt x="4" y="1"/>
                  </a:cubicBezTo>
                  <a:cubicBezTo>
                    <a:pt x="7" y="0"/>
                    <a:pt x="13" y="1"/>
                    <a:pt x="20" y="2"/>
                  </a:cubicBezTo>
                  <a:cubicBezTo>
                    <a:pt x="27" y="2"/>
                    <a:pt x="33" y="3"/>
                    <a:pt x="31" y="7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38">
              <a:extLst>
                <a:ext uri="{FF2B5EF4-FFF2-40B4-BE49-F238E27FC236}">
                  <a16:creationId xmlns:a16="http://schemas.microsoft.com/office/drawing/2014/main" id="{E7050C12-0B96-4642-BE38-FB46993E8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9" y="1038"/>
              <a:ext cx="33" cy="29"/>
            </a:xfrm>
            <a:custGeom>
              <a:avLst/>
              <a:gdLst>
                <a:gd name="T0" fmla="*/ 14 w 14"/>
                <a:gd name="T1" fmla="*/ 8 h 12"/>
                <a:gd name="T2" fmla="*/ 10 w 14"/>
                <a:gd name="T3" fmla="*/ 12 h 12"/>
                <a:gd name="T4" fmla="*/ 0 w 14"/>
                <a:gd name="T5" fmla="*/ 1 h 12"/>
                <a:gd name="T6" fmla="*/ 4 w 14"/>
                <a:gd name="T7" fmla="*/ 0 h 12"/>
                <a:gd name="T8" fmla="*/ 14 w 14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2">
                  <a:moveTo>
                    <a:pt x="14" y="8"/>
                  </a:moveTo>
                  <a:cubicBezTo>
                    <a:pt x="10" y="12"/>
                    <a:pt x="10" y="12"/>
                    <a:pt x="10" y="1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14" y="3"/>
                    <a:pt x="14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139">
              <a:extLst>
                <a:ext uri="{FF2B5EF4-FFF2-40B4-BE49-F238E27FC236}">
                  <a16:creationId xmlns:a16="http://schemas.microsoft.com/office/drawing/2014/main" id="{32A09858-2006-4F90-9F48-D50B3911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1" y="872"/>
              <a:ext cx="75" cy="195"/>
            </a:xfrm>
            <a:custGeom>
              <a:avLst/>
              <a:gdLst>
                <a:gd name="T0" fmla="*/ 19 w 31"/>
                <a:gd name="T1" fmla="*/ 4 h 81"/>
                <a:gd name="T2" fmla="*/ 30 w 31"/>
                <a:gd name="T3" fmla="*/ 44 h 81"/>
                <a:gd name="T4" fmla="*/ 24 w 31"/>
                <a:gd name="T5" fmla="*/ 63 h 81"/>
                <a:gd name="T6" fmla="*/ 12 w 31"/>
                <a:gd name="T7" fmla="*/ 81 h 81"/>
                <a:gd name="T8" fmla="*/ 0 w 31"/>
                <a:gd name="T9" fmla="*/ 70 h 81"/>
                <a:gd name="T10" fmla="*/ 12 w 31"/>
                <a:gd name="T11" fmla="*/ 56 h 81"/>
                <a:gd name="T12" fmla="*/ 14 w 31"/>
                <a:gd name="T13" fmla="*/ 37 h 81"/>
                <a:gd name="T14" fmla="*/ 19 w 31"/>
                <a:gd name="T15" fmla="*/ 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81">
                  <a:moveTo>
                    <a:pt x="19" y="4"/>
                  </a:moveTo>
                  <a:cubicBezTo>
                    <a:pt x="20" y="11"/>
                    <a:pt x="29" y="37"/>
                    <a:pt x="30" y="44"/>
                  </a:cubicBezTo>
                  <a:cubicBezTo>
                    <a:pt x="31" y="50"/>
                    <a:pt x="31" y="52"/>
                    <a:pt x="24" y="63"/>
                  </a:cubicBezTo>
                  <a:cubicBezTo>
                    <a:pt x="17" y="74"/>
                    <a:pt x="12" y="81"/>
                    <a:pt x="12" y="81"/>
                  </a:cubicBezTo>
                  <a:cubicBezTo>
                    <a:pt x="9" y="78"/>
                    <a:pt x="5" y="73"/>
                    <a:pt x="0" y="70"/>
                  </a:cubicBezTo>
                  <a:cubicBezTo>
                    <a:pt x="0" y="70"/>
                    <a:pt x="8" y="64"/>
                    <a:pt x="12" y="56"/>
                  </a:cubicBezTo>
                  <a:cubicBezTo>
                    <a:pt x="16" y="49"/>
                    <a:pt x="17" y="46"/>
                    <a:pt x="14" y="37"/>
                  </a:cubicBezTo>
                  <a:cubicBezTo>
                    <a:pt x="11" y="28"/>
                    <a:pt x="16" y="0"/>
                    <a:pt x="19" y="4"/>
                  </a:cubicBezTo>
                  <a:close/>
                </a:path>
              </a:pathLst>
            </a:custGeom>
            <a:solidFill>
              <a:srgbClr val="4A50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140">
              <a:extLst>
                <a:ext uri="{FF2B5EF4-FFF2-40B4-BE49-F238E27FC236}">
                  <a16:creationId xmlns:a16="http://schemas.microsoft.com/office/drawing/2014/main" id="{94D69B62-6E7B-477F-BDE9-50A41DD5B33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9" y="1033"/>
              <a:ext cx="27" cy="22"/>
            </a:xfrm>
            <a:custGeom>
              <a:avLst/>
              <a:gdLst>
                <a:gd name="T0" fmla="*/ 11 w 11"/>
                <a:gd name="T1" fmla="*/ 5 h 9"/>
                <a:gd name="T2" fmla="*/ 9 w 11"/>
                <a:gd name="T3" fmla="*/ 9 h 9"/>
                <a:gd name="T4" fmla="*/ 5 w 11"/>
                <a:gd name="T5" fmla="*/ 6 h 9"/>
                <a:gd name="T6" fmla="*/ 0 w 11"/>
                <a:gd name="T7" fmla="*/ 5 h 9"/>
                <a:gd name="T8" fmla="*/ 2 w 11"/>
                <a:gd name="T9" fmla="*/ 0 h 9"/>
                <a:gd name="T10" fmla="*/ 11 w 11"/>
                <a:gd name="T11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9">
                  <a:moveTo>
                    <a:pt x="11" y="5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8" y="7"/>
                    <a:pt x="5" y="6"/>
                  </a:cubicBezTo>
                  <a:cubicBezTo>
                    <a:pt x="3" y="5"/>
                    <a:pt x="0" y="5"/>
                    <a:pt x="0" y="5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0" y="1"/>
                    <a:pt x="11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141">
              <a:extLst>
                <a:ext uri="{FF2B5EF4-FFF2-40B4-BE49-F238E27FC236}">
                  <a16:creationId xmlns:a16="http://schemas.microsoft.com/office/drawing/2014/main" id="{763E3D5C-794D-4402-8376-E2BF38FEF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9" y="874"/>
              <a:ext cx="51" cy="176"/>
            </a:xfrm>
            <a:custGeom>
              <a:avLst/>
              <a:gdLst>
                <a:gd name="T0" fmla="*/ 16 w 21"/>
                <a:gd name="T1" fmla="*/ 0 h 73"/>
                <a:gd name="T2" fmla="*/ 9 w 21"/>
                <a:gd name="T3" fmla="*/ 36 h 73"/>
                <a:gd name="T4" fmla="*/ 2 w 21"/>
                <a:gd name="T5" fmla="*/ 61 h 73"/>
                <a:gd name="T6" fmla="*/ 0 w 21"/>
                <a:gd name="T7" fmla="*/ 70 h 73"/>
                <a:gd name="T8" fmla="*/ 6 w 21"/>
                <a:gd name="T9" fmla="*/ 69 h 73"/>
                <a:gd name="T10" fmla="*/ 10 w 21"/>
                <a:gd name="T11" fmla="*/ 73 h 73"/>
                <a:gd name="T12" fmla="*/ 18 w 21"/>
                <a:gd name="T13" fmla="*/ 54 h 73"/>
                <a:gd name="T14" fmla="*/ 16 w 21"/>
                <a:gd name="T15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73">
                  <a:moveTo>
                    <a:pt x="16" y="0"/>
                  </a:moveTo>
                  <a:cubicBezTo>
                    <a:pt x="14" y="6"/>
                    <a:pt x="11" y="29"/>
                    <a:pt x="9" y="36"/>
                  </a:cubicBezTo>
                  <a:cubicBezTo>
                    <a:pt x="7" y="43"/>
                    <a:pt x="3" y="58"/>
                    <a:pt x="2" y="61"/>
                  </a:cubicBezTo>
                  <a:cubicBezTo>
                    <a:pt x="1" y="65"/>
                    <a:pt x="0" y="70"/>
                    <a:pt x="0" y="70"/>
                  </a:cubicBezTo>
                  <a:cubicBezTo>
                    <a:pt x="0" y="70"/>
                    <a:pt x="3" y="67"/>
                    <a:pt x="6" y="69"/>
                  </a:cubicBezTo>
                  <a:cubicBezTo>
                    <a:pt x="8" y="71"/>
                    <a:pt x="10" y="73"/>
                    <a:pt x="10" y="73"/>
                  </a:cubicBezTo>
                  <a:cubicBezTo>
                    <a:pt x="10" y="73"/>
                    <a:pt x="16" y="60"/>
                    <a:pt x="18" y="54"/>
                  </a:cubicBezTo>
                  <a:cubicBezTo>
                    <a:pt x="20" y="47"/>
                    <a:pt x="21" y="2"/>
                    <a:pt x="16" y="0"/>
                  </a:cubicBezTo>
                  <a:close/>
                </a:path>
              </a:pathLst>
            </a:custGeom>
            <a:solidFill>
              <a:srgbClr val="4A50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42">
              <a:extLst>
                <a:ext uri="{FF2B5EF4-FFF2-40B4-BE49-F238E27FC236}">
                  <a16:creationId xmlns:a16="http://schemas.microsoft.com/office/drawing/2014/main" id="{EE97BD9C-A321-45EC-BB64-6147FFBE58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1" y="882"/>
              <a:ext cx="75" cy="170"/>
            </a:xfrm>
            <a:custGeom>
              <a:avLst/>
              <a:gdLst>
                <a:gd name="T0" fmla="*/ 15 w 31"/>
                <a:gd name="T1" fmla="*/ 43 h 71"/>
                <a:gd name="T2" fmla="*/ 15 w 31"/>
                <a:gd name="T3" fmla="*/ 38 h 71"/>
                <a:gd name="T4" fmla="*/ 15 w 31"/>
                <a:gd name="T5" fmla="*/ 34 h 71"/>
                <a:gd name="T6" fmla="*/ 22 w 31"/>
                <a:gd name="T7" fmla="*/ 38 h 71"/>
                <a:gd name="T8" fmla="*/ 25 w 31"/>
                <a:gd name="T9" fmla="*/ 42 h 71"/>
                <a:gd name="T10" fmla="*/ 18 w 31"/>
                <a:gd name="T11" fmla="*/ 45 h 71"/>
                <a:gd name="T12" fmla="*/ 19 w 31"/>
                <a:gd name="T13" fmla="*/ 50 h 71"/>
                <a:gd name="T14" fmla="*/ 15 w 31"/>
                <a:gd name="T15" fmla="*/ 51 h 71"/>
                <a:gd name="T16" fmla="*/ 15 w 31"/>
                <a:gd name="T17" fmla="*/ 43 h 71"/>
                <a:gd name="T18" fmla="*/ 15 w 31"/>
                <a:gd name="T19" fmla="*/ 54 h 71"/>
                <a:gd name="T20" fmla="*/ 15 w 31"/>
                <a:gd name="T21" fmla="*/ 54 h 71"/>
                <a:gd name="T22" fmla="*/ 15 w 31"/>
                <a:gd name="T23" fmla="*/ 57 h 71"/>
                <a:gd name="T24" fmla="*/ 15 w 31"/>
                <a:gd name="T25" fmla="*/ 54 h 71"/>
                <a:gd name="T26" fmla="*/ 15 w 31"/>
                <a:gd name="T27" fmla="*/ 23 h 71"/>
                <a:gd name="T28" fmla="*/ 15 w 31"/>
                <a:gd name="T29" fmla="*/ 20 h 71"/>
                <a:gd name="T30" fmla="*/ 18 w 31"/>
                <a:gd name="T31" fmla="*/ 19 h 71"/>
                <a:gd name="T32" fmla="*/ 15 w 31"/>
                <a:gd name="T33" fmla="*/ 23 h 71"/>
                <a:gd name="T34" fmla="*/ 15 w 31"/>
                <a:gd name="T35" fmla="*/ 10 h 71"/>
                <a:gd name="T36" fmla="*/ 15 w 31"/>
                <a:gd name="T37" fmla="*/ 7 h 71"/>
                <a:gd name="T38" fmla="*/ 16 w 31"/>
                <a:gd name="T39" fmla="*/ 2 h 71"/>
                <a:gd name="T40" fmla="*/ 15 w 31"/>
                <a:gd name="T41" fmla="*/ 10 h 71"/>
                <a:gd name="T42" fmla="*/ 6 w 31"/>
                <a:gd name="T43" fmla="*/ 71 h 71"/>
                <a:gd name="T44" fmla="*/ 0 w 31"/>
                <a:gd name="T45" fmla="*/ 66 h 71"/>
                <a:gd name="T46" fmla="*/ 12 w 31"/>
                <a:gd name="T47" fmla="*/ 52 h 71"/>
                <a:gd name="T48" fmla="*/ 15 w 31"/>
                <a:gd name="T49" fmla="*/ 43 h 71"/>
                <a:gd name="T50" fmla="*/ 15 w 31"/>
                <a:gd name="T51" fmla="*/ 51 h 71"/>
                <a:gd name="T52" fmla="*/ 15 w 31"/>
                <a:gd name="T53" fmla="*/ 54 h 71"/>
                <a:gd name="T54" fmla="*/ 15 w 31"/>
                <a:gd name="T55" fmla="*/ 57 h 71"/>
                <a:gd name="T56" fmla="*/ 15 w 31"/>
                <a:gd name="T57" fmla="*/ 57 h 71"/>
                <a:gd name="T58" fmla="*/ 7 w 31"/>
                <a:gd name="T59" fmla="*/ 61 h 71"/>
                <a:gd name="T60" fmla="*/ 6 w 31"/>
                <a:gd name="T61" fmla="*/ 71 h 71"/>
                <a:gd name="T62" fmla="*/ 15 w 31"/>
                <a:gd name="T63" fmla="*/ 38 h 71"/>
                <a:gd name="T64" fmla="*/ 14 w 31"/>
                <a:gd name="T65" fmla="*/ 33 h 71"/>
                <a:gd name="T66" fmla="*/ 14 w 31"/>
                <a:gd name="T67" fmla="*/ 31 h 71"/>
                <a:gd name="T68" fmla="*/ 15 w 31"/>
                <a:gd name="T69" fmla="*/ 34 h 71"/>
                <a:gd name="T70" fmla="*/ 15 w 31"/>
                <a:gd name="T71" fmla="*/ 38 h 71"/>
                <a:gd name="T72" fmla="*/ 15 w 31"/>
                <a:gd name="T73" fmla="*/ 7 h 71"/>
                <a:gd name="T74" fmla="*/ 15 w 31"/>
                <a:gd name="T75" fmla="*/ 10 h 71"/>
                <a:gd name="T76" fmla="*/ 13 w 31"/>
                <a:gd name="T77" fmla="*/ 20 h 71"/>
                <a:gd name="T78" fmla="*/ 15 w 31"/>
                <a:gd name="T79" fmla="*/ 7 h 71"/>
                <a:gd name="T80" fmla="*/ 15 w 31"/>
                <a:gd name="T81" fmla="*/ 20 h 71"/>
                <a:gd name="T82" fmla="*/ 14 w 31"/>
                <a:gd name="T83" fmla="*/ 21 h 71"/>
                <a:gd name="T84" fmla="*/ 13 w 31"/>
                <a:gd name="T85" fmla="*/ 22 h 71"/>
                <a:gd name="T86" fmla="*/ 13 w 31"/>
                <a:gd name="T87" fmla="*/ 28 h 71"/>
                <a:gd name="T88" fmla="*/ 15 w 31"/>
                <a:gd name="T89" fmla="*/ 23 h 71"/>
                <a:gd name="T90" fmla="*/ 15 w 31"/>
                <a:gd name="T91" fmla="*/ 2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" h="71">
                  <a:moveTo>
                    <a:pt x="15" y="43"/>
                  </a:moveTo>
                  <a:cubicBezTo>
                    <a:pt x="16" y="42"/>
                    <a:pt x="16" y="40"/>
                    <a:pt x="15" y="38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7" y="36"/>
                    <a:pt x="20" y="38"/>
                    <a:pt x="22" y="38"/>
                  </a:cubicBezTo>
                  <a:cubicBezTo>
                    <a:pt x="26" y="39"/>
                    <a:pt x="31" y="42"/>
                    <a:pt x="25" y="42"/>
                  </a:cubicBezTo>
                  <a:cubicBezTo>
                    <a:pt x="19" y="42"/>
                    <a:pt x="15" y="44"/>
                    <a:pt x="18" y="45"/>
                  </a:cubicBezTo>
                  <a:cubicBezTo>
                    <a:pt x="21" y="47"/>
                    <a:pt x="23" y="50"/>
                    <a:pt x="19" y="50"/>
                  </a:cubicBezTo>
                  <a:cubicBezTo>
                    <a:pt x="17" y="49"/>
                    <a:pt x="16" y="50"/>
                    <a:pt x="15" y="51"/>
                  </a:cubicBezTo>
                  <a:cubicBezTo>
                    <a:pt x="15" y="43"/>
                    <a:pt x="15" y="43"/>
                    <a:pt x="15" y="43"/>
                  </a:cubicBezTo>
                  <a:close/>
                  <a:moveTo>
                    <a:pt x="15" y="54"/>
                  </a:moveTo>
                  <a:cubicBezTo>
                    <a:pt x="15" y="54"/>
                    <a:pt x="15" y="54"/>
                    <a:pt x="15" y="54"/>
                  </a:cubicBezTo>
                  <a:cubicBezTo>
                    <a:pt x="17" y="56"/>
                    <a:pt x="17" y="57"/>
                    <a:pt x="15" y="57"/>
                  </a:cubicBezTo>
                  <a:cubicBezTo>
                    <a:pt x="15" y="54"/>
                    <a:pt x="15" y="54"/>
                    <a:pt x="15" y="54"/>
                  </a:cubicBezTo>
                  <a:close/>
                  <a:moveTo>
                    <a:pt x="15" y="23"/>
                  </a:moveTo>
                  <a:cubicBezTo>
                    <a:pt x="15" y="20"/>
                    <a:pt x="15" y="20"/>
                    <a:pt x="15" y="20"/>
                  </a:cubicBezTo>
                  <a:cubicBezTo>
                    <a:pt x="18" y="17"/>
                    <a:pt x="21" y="15"/>
                    <a:pt x="18" y="19"/>
                  </a:cubicBezTo>
                  <a:cubicBezTo>
                    <a:pt x="17" y="20"/>
                    <a:pt x="16" y="21"/>
                    <a:pt x="15" y="23"/>
                  </a:cubicBezTo>
                  <a:close/>
                  <a:moveTo>
                    <a:pt x="15" y="10"/>
                  </a:moveTo>
                  <a:cubicBezTo>
                    <a:pt x="15" y="7"/>
                    <a:pt x="15" y="7"/>
                    <a:pt x="15" y="7"/>
                  </a:cubicBezTo>
                  <a:cubicBezTo>
                    <a:pt x="16" y="5"/>
                    <a:pt x="16" y="4"/>
                    <a:pt x="16" y="2"/>
                  </a:cubicBezTo>
                  <a:cubicBezTo>
                    <a:pt x="18" y="0"/>
                    <a:pt x="16" y="4"/>
                    <a:pt x="15" y="10"/>
                  </a:cubicBezTo>
                  <a:close/>
                  <a:moveTo>
                    <a:pt x="6" y="71"/>
                  </a:moveTo>
                  <a:cubicBezTo>
                    <a:pt x="4" y="69"/>
                    <a:pt x="0" y="66"/>
                    <a:pt x="0" y="66"/>
                  </a:cubicBezTo>
                  <a:cubicBezTo>
                    <a:pt x="0" y="66"/>
                    <a:pt x="8" y="60"/>
                    <a:pt x="12" y="52"/>
                  </a:cubicBezTo>
                  <a:cubicBezTo>
                    <a:pt x="14" y="49"/>
                    <a:pt x="15" y="46"/>
                    <a:pt x="15" y="43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2"/>
                    <a:pt x="15" y="53"/>
                    <a:pt x="15" y="54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2" y="56"/>
                    <a:pt x="10" y="58"/>
                    <a:pt x="7" y="61"/>
                  </a:cubicBezTo>
                  <a:cubicBezTo>
                    <a:pt x="4" y="65"/>
                    <a:pt x="5" y="69"/>
                    <a:pt x="6" y="71"/>
                  </a:cubicBezTo>
                  <a:close/>
                  <a:moveTo>
                    <a:pt x="15" y="38"/>
                  </a:moveTo>
                  <a:cubicBezTo>
                    <a:pt x="15" y="37"/>
                    <a:pt x="15" y="35"/>
                    <a:pt x="14" y="33"/>
                  </a:cubicBezTo>
                  <a:cubicBezTo>
                    <a:pt x="14" y="32"/>
                    <a:pt x="14" y="32"/>
                    <a:pt x="14" y="31"/>
                  </a:cubicBezTo>
                  <a:cubicBezTo>
                    <a:pt x="14" y="32"/>
                    <a:pt x="15" y="33"/>
                    <a:pt x="15" y="34"/>
                  </a:cubicBezTo>
                  <a:cubicBezTo>
                    <a:pt x="15" y="38"/>
                    <a:pt x="15" y="38"/>
                    <a:pt x="15" y="38"/>
                  </a:cubicBezTo>
                  <a:close/>
                  <a:moveTo>
                    <a:pt x="15" y="7"/>
                  </a:moveTo>
                  <a:cubicBezTo>
                    <a:pt x="15" y="10"/>
                    <a:pt x="15" y="10"/>
                    <a:pt x="15" y="10"/>
                  </a:cubicBezTo>
                  <a:cubicBezTo>
                    <a:pt x="15" y="14"/>
                    <a:pt x="14" y="18"/>
                    <a:pt x="13" y="20"/>
                  </a:cubicBezTo>
                  <a:cubicBezTo>
                    <a:pt x="14" y="16"/>
                    <a:pt x="14" y="11"/>
                    <a:pt x="15" y="7"/>
                  </a:cubicBezTo>
                  <a:close/>
                  <a:moveTo>
                    <a:pt x="15" y="20"/>
                  </a:moveTo>
                  <a:cubicBezTo>
                    <a:pt x="15" y="20"/>
                    <a:pt x="14" y="21"/>
                    <a:pt x="14" y="21"/>
                  </a:cubicBezTo>
                  <a:cubicBezTo>
                    <a:pt x="14" y="22"/>
                    <a:pt x="13" y="22"/>
                    <a:pt x="13" y="22"/>
                  </a:cubicBezTo>
                  <a:cubicBezTo>
                    <a:pt x="13" y="25"/>
                    <a:pt x="13" y="27"/>
                    <a:pt x="13" y="28"/>
                  </a:cubicBezTo>
                  <a:cubicBezTo>
                    <a:pt x="14" y="27"/>
                    <a:pt x="14" y="25"/>
                    <a:pt x="15" y="23"/>
                  </a:cubicBezTo>
                  <a:lnTo>
                    <a:pt x="15" y="20"/>
                  </a:lnTo>
                  <a:close/>
                </a:path>
              </a:pathLst>
            </a:custGeom>
            <a:solidFill>
              <a:srgbClr val="3D3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43">
              <a:extLst>
                <a:ext uri="{FF2B5EF4-FFF2-40B4-BE49-F238E27FC236}">
                  <a16:creationId xmlns:a16="http://schemas.microsoft.com/office/drawing/2014/main" id="{A74B0988-4569-4194-963D-AF129B99AB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1" y="879"/>
              <a:ext cx="36" cy="171"/>
            </a:xfrm>
            <a:custGeom>
              <a:avLst/>
              <a:gdLst>
                <a:gd name="T0" fmla="*/ 0 w 15"/>
                <a:gd name="T1" fmla="*/ 66 h 71"/>
                <a:gd name="T2" fmla="*/ 1 w 15"/>
                <a:gd name="T3" fmla="*/ 67 h 71"/>
                <a:gd name="T4" fmla="*/ 5 w 15"/>
                <a:gd name="T5" fmla="*/ 71 h 71"/>
                <a:gd name="T6" fmla="*/ 13 w 15"/>
                <a:gd name="T7" fmla="*/ 52 h 71"/>
                <a:gd name="T8" fmla="*/ 11 w 15"/>
                <a:gd name="T9" fmla="*/ 0 h 71"/>
                <a:gd name="T10" fmla="*/ 11 w 15"/>
                <a:gd name="T11" fmla="*/ 0 h 71"/>
                <a:gd name="T12" fmla="*/ 13 w 15"/>
                <a:gd name="T13" fmla="*/ 30 h 71"/>
                <a:gd name="T14" fmla="*/ 12 w 15"/>
                <a:gd name="T15" fmla="*/ 45 h 71"/>
                <a:gd name="T16" fmla="*/ 8 w 15"/>
                <a:gd name="T17" fmla="*/ 45 h 71"/>
                <a:gd name="T18" fmla="*/ 9 w 15"/>
                <a:gd name="T19" fmla="*/ 55 h 71"/>
                <a:gd name="T20" fmla="*/ 7 w 15"/>
                <a:gd name="T21" fmla="*/ 60 h 71"/>
                <a:gd name="T22" fmla="*/ 4 w 15"/>
                <a:gd name="T23" fmla="*/ 67 h 71"/>
                <a:gd name="T24" fmla="*/ 0 w 15"/>
                <a:gd name="T25" fmla="*/ 6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71">
                  <a:moveTo>
                    <a:pt x="0" y="66"/>
                  </a:moveTo>
                  <a:cubicBezTo>
                    <a:pt x="1" y="67"/>
                    <a:pt x="1" y="67"/>
                    <a:pt x="1" y="67"/>
                  </a:cubicBezTo>
                  <a:cubicBezTo>
                    <a:pt x="3" y="69"/>
                    <a:pt x="5" y="71"/>
                    <a:pt x="5" y="71"/>
                  </a:cubicBezTo>
                  <a:cubicBezTo>
                    <a:pt x="5" y="71"/>
                    <a:pt x="11" y="58"/>
                    <a:pt x="13" y="52"/>
                  </a:cubicBezTo>
                  <a:cubicBezTo>
                    <a:pt x="15" y="46"/>
                    <a:pt x="15" y="12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7"/>
                    <a:pt x="13" y="24"/>
                    <a:pt x="13" y="30"/>
                  </a:cubicBezTo>
                  <a:cubicBezTo>
                    <a:pt x="13" y="36"/>
                    <a:pt x="13" y="48"/>
                    <a:pt x="12" y="45"/>
                  </a:cubicBezTo>
                  <a:cubicBezTo>
                    <a:pt x="10" y="42"/>
                    <a:pt x="6" y="40"/>
                    <a:pt x="8" y="45"/>
                  </a:cubicBezTo>
                  <a:cubicBezTo>
                    <a:pt x="11" y="51"/>
                    <a:pt x="11" y="58"/>
                    <a:pt x="9" y="55"/>
                  </a:cubicBezTo>
                  <a:cubicBezTo>
                    <a:pt x="7" y="53"/>
                    <a:pt x="7" y="55"/>
                    <a:pt x="7" y="60"/>
                  </a:cubicBezTo>
                  <a:cubicBezTo>
                    <a:pt x="7" y="65"/>
                    <a:pt x="7" y="68"/>
                    <a:pt x="4" y="67"/>
                  </a:cubicBezTo>
                  <a:cubicBezTo>
                    <a:pt x="1" y="66"/>
                    <a:pt x="0" y="66"/>
                    <a:pt x="0" y="66"/>
                  </a:cubicBezTo>
                  <a:close/>
                </a:path>
              </a:pathLst>
            </a:custGeom>
            <a:solidFill>
              <a:srgbClr val="3D3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44">
              <a:extLst>
                <a:ext uri="{FF2B5EF4-FFF2-40B4-BE49-F238E27FC236}">
                  <a16:creationId xmlns:a16="http://schemas.microsoft.com/office/drawing/2014/main" id="{F7994166-163A-40F0-B543-C61B63404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8" y="1351"/>
              <a:ext cx="45" cy="24"/>
            </a:xfrm>
            <a:custGeom>
              <a:avLst/>
              <a:gdLst>
                <a:gd name="T0" fmla="*/ 17 w 19"/>
                <a:gd name="T1" fmla="*/ 3 h 10"/>
                <a:gd name="T2" fmla="*/ 6 w 19"/>
                <a:gd name="T3" fmla="*/ 9 h 10"/>
                <a:gd name="T4" fmla="*/ 5 w 19"/>
                <a:gd name="T5" fmla="*/ 8 h 10"/>
                <a:gd name="T6" fmla="*/ 14 w 19"/>
                <a:gd name="T7" fmla="*/ 3 h 10"/>
                <a:gd name="T8" fmla="*/ 17 w 19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0">
                  <a:moveTo>
                    <a:pt x="17" y="3"/>
                  </a:moveTo>
                  <a:cubicBezTo>
                    <a:pt x="14" y="6"/>
                    <a:pt x="10" y="9"/>
                    <a:pt x="6" y="9"/>
                  </a:cubicBezTo>
                  <a:cubicBezTo>
                    <a:pt x="1" y="10"/>
                    <a:pt x="0" y="9"/>
                    <a:pt x="5" y="8"/>
                  </a:cubicBezTo>
                  <a:cubicBezTo>
                    <a:pt x="9" y="7"/>
                    <a:pt x="12" y="5"/>
                    <a:pt x="14" y="3"/>
                  </a:cubicBezTo>
                  <a:cubicBezTo>
                    <a:pt x="15" y="0"/>
                    <a:pt x="19" y="0"/>
                    <a:pt x="17" y="3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145">
              <a:extLst>
                <a:ext uri="{FF2B5EF4-FFF2-40B4-BE49-F238E27FC236}">
                  <a16:creationId xmlns:a16="http://schemas.microsoft.com/office/drawing/2014/main" id="{22E53275-E520-4576-9C0A-BFD084C163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5" y="1149"/>
              <a:ext cx="70" cy="199"/>
            </a:xfrm>
            <a:custGeom>
              <a:avLst/>
              <a:gdLst>
                <a:gd name="T0" fmla="*/ 8 w 29"/>
                <a:gd name="T1" fmla="*/ 0 h 83"/>
                <a:gd name="T2" fmla="*/ 7 w 29"/>
                <a:gd name="T3" fmla="*/ 3 h 83"/>
                <a:gd name="T4" fmla="*/ 3 w 29"/>
                <a:gd name="T5" fmla="*/ 28 h 83"/>
                <a:gd name="T6" fmla="*/ 7 w 29"/>
                <a:gd name="T7" fmla="*/ 39 h 83"/>
                <a:gd name="T8" fmla="*/ 9 w 29"/>
                <a:gd name="T9" fmla="*/ 42 h 83"/>
                <a:gd name="T10" fmla="*/ 12 w 29"/>
                <a:gd name="T11" fmla="*/ 57 h 83"/>
                <a:gd name="T12" fmla="*/ 21 w 29"/>
                <a:gd name="T13" fmla="*/ 74 h 83"/>
                <a:gd name="T14" fmla="*/ 18 w 29"/>
                <a:gd name="T15" fmla="*/ 78 h 83"/>
                <a:gd name="T16" fmla="*/ 29 w 29"/>
                <a:gd name="T17" fmla="*/ 80 h 83"/>
                <a:gd name="T18" fmla="*/ 23 w 29"/>
                <a:gd name="T19" fmla="*/ 80 h 83"/>
                <a:gd name="T20" fmla="*/ 13 w 29"/>
                <a:gd name="T21" fmla="*/ 81 h 83"/>
                <a:gd name="T22" fmla="*/ 11 w 29"/>
                <a:gd name="T23" fmla="*/ 62 h 83"/>
                <a:gd name="T24" fmla="*/ 0 w 29"/>
                <a:gd name="T25" fmla="*/ 39 h 83"/>
                <a:gd name="T26" fmla="*/ 0 w 29"/>
                <a:gd name="T27" fmla="*/ 39 h 83"/>
                <a:gd name="T28" fmla="*/ 0 w 29"/>
                <a:gd name="T29" fmla="*/ 38 h 83"/>
                <a:gd name="T30" fmla="*/ 8 w 29"/>
                <a:gd name="T3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83">
                  <a:moveTo>
                    <a:pt x="8" y="0"/>
                  </a:moveTo>
                  <a:cubicBezTo>
                    <a:pt x="8" y="1"/>
                    <a:pt x="7" y="2"/>
                    <a:pt x="7" y="3"/>
                  </a:cubicBezTo>
                  <a:cubicBezTo>
                    <a:pt x="6" y="10"/>
                    <a:pt x="4" y="22"/>
                    <a:pt x="3" y="28"/>
                  </a:cubicBezTo>
                  <a:cubicBezTo>
                    <a:pt x="3" y="35"/>
                    <a:pt x="4" y="41"/>
                    <a:pt x="7" y="39"/>
                  </a:cubicBezTo>
                  <a:cubicBezTo>
                    <a:pt x="9" y="37"/>
                    <a:pt x="12" y="35"/>
                    <a:pt x="9" y="42"/>
                  </a:cubicBezTo>
                  <a:cubicBezTo>
                    <a:pt x="6" y="48"/>
                    <a:pt x="11" y="48"/>
                    <a:pt x="12" y="57"/>
                  </a:cubicBezTo>
                  <a:cubicBezTo>
                    <a:pt x="12" y="66"/>
                    <a:pt x="16" y="74"/>
                    <a:pt x="21" y="74"/>
                  </a:cubicBezTo>
                  <a:cubicBezTo>
                    <a:pt x="26" y="73"/>
                    <a:pt x="17" y="74"/>
                    <a:pt x="18" y="78"/>
                  </a:cubicBezTo>
                  <a:cubicBezTo>
                    <a:pt x="19" y="81"/>
                    <a:pt x="27" y="78"/>
                    <a:pt x="29" y="80"/>
                  </a:cubicBezTo>
                  <a:cubicBezTo>
                    <a:pt x="27" y="80"/>
                    <a:pt x="25" y="80"/>
                    <a:pt x="23" y="80"/>
                  </a:cubicBezTo>
                  <a:cubicBezTo>
                    <a:pt x="18" y="81"/>
                    <a:pt x="12" y="83"/>
                    <a:pt x="13" y="81"/>
                  </a:cubicBezTo>
                  <a:cubicBezTo>
                    <a:pt x="13" y="80"/>
                    <a:pt x="15" y="72"/>
                    <a:pt x="11" y="62"/>
                  </a:cubicBezTo>
                  <a:cubicBezTo>
                    <a:pt x="7" y="52"/>
                    <a:pt x="0" y="39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0"/>
                    <a:pt x="2" y="19"/>
                    <a:pt x="8" y="0"/>
                  </a:cubicBezTo>
                  <a:close/>
                </a:path>
              </a:pathLst>
            </a:custGeom>
            <a:solidFill>
              <a:srgbClr val="3D3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46">
              <a:extLst>
                <a:ext uri="{FF2B5EF4-FFF2-40B4-BE49-F238E27FC236}">
                  <a16:creationId xmlns:a16="http://schemas.microsoft.com/office/drawing/2014/main" id="{F057BEE8-C4E7-4130-BB32-47E0A6539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4" y="1365"/>
              <a:ext cx="48" cy="24"/>
            </a:xfrm>
            <a:custGeom>
              <a:avLst/>
              <a:gdLst>
                <a:gd name="T0" fmla="*/ 18 w 20"/>
                <a:gd name="T1" fmla="*/ 2 h 10"/>
                <a:gd name="T2" fmla="*/ 6 w 20"/>
                <a:gd name="T3" fmla="*/ 8 h 10"/>
                <a:gd name="T4" fmla="*/ 6 w 20"/>
                <a:gd name="T5" fmla="*/ 7 h 10"/>
                <a:gd name="T6" fmla="*/ 16 w 20"/>
                <a:gd name="T7" fmla="*/ 2 h 10"/>
                <a:gd name="T8" fmla="*/ 18 w 2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0">
                  <a:moveTo>
                    <a:pt x="18" y="2"/>
                  </a:moveTo>
                  <a:cubicBezTo>
                    <a:pt x="18" y="5"/>
                    <a:pt x="12" y="10"/>
                    <a:pt x="6" y="8"/>
                  </a:cubicBezTo>
                  <a:cubicBezTo>
                    <a:pt x="0" y="7"/>
                    <a:pt x="0" y="7"/>
                    <a:pt x="6" y="7"/>
                  </a:cubicBezTo>
                  <a:cubicBezTo>
                    <a:pt x="12" y="7"/>
                    <a:pt x="14" y="3"/>
                    <a:pt x="16" y="2"/>
                  </a:cubicBezTo>
                  <a:cubicBezTo>
                    <a:pt x="17" y="0"/>
                    <a:pt x="20" y="0"/>
                    <a:pt x="18" y="2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147">
              <a:extLst>
                <a:ext uri="{FF2B5EF4-FFF2-40B4-BE49-F238E27FC236}">
                  <a16:creationId xmlns:a16="http://schemas.microsoft.com/office/drawing/2014/main" id="{2EF99602-8082-4659-ADE9-A4EA28369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1" y="855"/>
              <a:ext cx="60" cy="149"/>
            </a:xfrm>
            <a:custGeom>
              <a:avLst/>
              <a:gdLst>
                <a:gd name="T0" fmla="*/ 5 w 25"/>
                <a:gd name="T1" fmla="*/ 62 h 62"/>
                <a:gd name="T2" fmla="*/ 20 w 25"/>
                <a:gd name="T3" fmla="*/ 17 h 62"/>
                <a:gd name="T4" fmla="*/ 20 w 25"/>
                <a:gd name="T5" fmla="*/ 10 h 62"/>
                <a:gd name="T6" fmla="*/ 25 w 25"/>
                <a:gd name="T7" fmla="*/ 6 h 62"/>
                <a:gd name="T8" fmla="*/ 19 w 25"/>
                <a:gd name="T9" fmla="*/ 0 h 62"/>
                <a:gd name="T10" fmla="*/ 23 w 25"/>
                <a:gd name="T11" fmla="*/ 6 h 62"/>
                <a:gd name="T12" fmla="*/ 18 w 25"/>
                <a:gd name="T13" fmla="*/ 8 h 62"/>
                <a:gd name="T14" fmla="*/ 19 w 25"/>
                <a:gd name="T15" fmla="*/ 15 h 62"/>
                <a:gd name="T16" fmla="*/ 5 w 25"/>
                <a:gd name="T1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62">
                  <a:moveTo>
                    <a:pt x="5" y="62"/>
                  </a:moveTo>
                  <a:cubicBezTo>
                    <a:pt x="0" y="47"/>
                    <a:pt x="11" y="28"/>
                    <a:pt x="20" y="17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6"/>
                    <a:pt x="22" y="2"/>
                    <a:pt x="19" y="0"/>
                  </a:cubicBezTo>
                  <a:cubicBezTo>
                    <a:pt x="21" y="1"/>
                    <a:pt x="23" y="6"/>
                    <a:pt x="23" y="6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9" y="25"/>
                    <a:pt x="0" y="47"/>
                    <a:pt x="5" y="62"/>
                  </a:cubicBezTo>
                  <a:close/>
                </a:path>
              </a:pathLst>
            </a:custGeom>
            <a:solidFill>
              <a:srgbClr val="3D3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48">
              <a:extLst>
                <a:ext uri="{FF2B5EF4-FFF2-40B4-BE49-F238E27FC236}">
                  <a16:creationId xmlns:a16="http://schemas.microsoft.com/office/drawing/2014/main" id="{1E22C2ED-0892-4AFC-9369-DAC7684BC6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9" y="1031"/>
              <a:ext cx="58" cy="17"/>
            </a:xfrm>
            <a:custGeom>
              <a:avLst/>
              <a:gdLst>
                <a:gd name="T0" fmla="*/ 24 w 24"/>
                <a:gd name="T1" fmla="*/ 3 h 7"/>
                <a:gd name="T2" fmla="*/ 0 w 24"/>
                <a:gd name="T3" fmla="*/ 6 h 7"/>
                <a:gd name="T4" fmla="*/ 0 w 24"/>
                <a:gd name="T5" fmla="*/ 3 h 7"/>
                <a:gd name="T6" fmla="*/ 23 w 24"/>
                <a:gd name="T7" fmla="*/ 0 h 7"/>
                <a:gd name="T8" fmla="*/ 24 w 24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7">
                  <a:moveTo>
                    <a:pt x="24" y="3"/>
                  </a:moveTo>
                  <a:cubicBezTo>
                    <a:pt x="24" y="3"/>
                    <a:pt x="0" y="7"/>
                    <a:pt x="0" y="6"/>
                  </a:cubicBezTo>
                  <a:cubicBezTo>
                    <a:pt x="0" y="5"/>
                    <a:pt x="0" y="3"/>
                    <a:pt x="0" y="3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24" y="3"/>
                  </a:lnTo>
                  <a:close/>
                </a:path>
              </a:pathLst>
            </a:custGeom>
            <a:solidFill>
              <a:srgbClr val="3D3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149">
              <a:extLst>
                <a:ext uri="{FF2B5EF4-FFF2-40B4-BE49-F238E27FC236}">
                  <a16:creationId xmlns:a16="http://schemas.microsoft.com/office/drawing/2014/main" id="{6E871D4D-558A-4A55-9ADA-74C15DEE8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09" y="1072"/>
              <a:ext cx="22" cy="26"/>
            </a:xfrm>
            <a:custGeom>
              <a:avLst/>
              <a:gdLst>
                <a:gd name="T0" fmla="*/ 8 w 9"/>
                <a:gd name="T1" fmla="*/ 0 h 11"/>
                <a:gd name="T2" fmla="*/ 8 w 9"/>
                <a:gd name="T3" fmla="*/ 2 h 11"/>
                <a:gd name="T4" fmla="*/ 6 w 9"/>
                <a:gd name="T5" fmla="*/ 4 h 11"/>
                <a:gd name="T6" fmla="*/ 4 w 9"/>
                <a:gd name="T7" fmla="*/ 2 h 11"/>
                <a:gd name="T8" fmla="*/ 8 w 9"/>
                <a:gd name="T9" fmla="*/ 0 h 11"/>
                <a:gd name="T10" fmla="*/ 3 w 9"/>
                <a:gd name="T11" fmla="*/ 7 h 11"/>
                <a:gd name="T12" fmla="*/ 6 w 9"/>
                <a:gd name="T13" fmla="*/ 10 h 11"/>
                <a:gd name="T14" fmla="*/ 0 w 9"/>
                <a:gd name="T15" fmla="*/ 10 h 11"/>
                <a:gd name="T16" fmla="*/ 2 w 9"/>
                <a:gd name="T17" fmla="*/ 9 h 11"/>
                <a:gd name="T18" fmla="*/ 3 w 9"/>
                <a:gd name="T19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11">
                  <a:moveTo>
                    <a:pt x="8" y="0"/>
                  </a:moveTo>
                  <a:cubicBezTo>
                    <a:pt x="8" y="1"/>
                    <a:pt x="8" y="1"/>
                    <a:pt x="8" y="2"/>
                  </a:cubicBezTo>
                  <a:cubicBezTo>
                    <a:pt x="9" y="6"/>
                    <a:pt x="7" y="6"/>
                    <a:pt x="6" y="4"/>
                  </a:cubicBezTo>
                  <a:cubicBezTo>
                    <a:pt x="6" y="3"/>
                    <a:pt x="5" y="2"/>
                    <a:pt x="4" y="2"/>
                  </a:cubicBezTo>
                  <a:cubicBezTo>
                    <a:pt x="8" y="0"/>
                    <a:pt x="8" y="0"/>
                    <a:pt x="8" y="0"/>
                  </a:cubicBezTo>
                  <a:close/>
                  <a:moveTo>
                    <a:pt x="3" y="7"/>
                  </a:moveTo>
                  <a:cubicBezTo>
                    <a:pt x="4" y="7"/>
                    <a:pt x="9" y="7"/>
                    <a:pt x="6" y="10"/>
                  </a:cubicBezTo>
                  <a:cubicBezTo>
                    <a:pt x="5" y="10"/>
                    <a:pt x="2" y="11"/>
                    <a:pt x="0" y="10"/>
                  </a:cubicBezTo>
                  <a:cubicBezTo>
                    <a:pt x="2" y="9"/>
                    <a:pt x="2" y="9"/>
                    <a:pt x="2" y="9"/>
                  </a:cubicBezTo>
                  <a:lnTo>
                    <a:pt x="3" y="7"/>
                  </a:ln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50">
              <a:extLst>
                <a:ext uri="{FF2B5EF4-FFF2-40B4-BE49-F238E27FC236}">
                  <a16:creationId xmlns:a16="http://schemas.microsoft.com/office/drawing/2014/main" id="{73085589-91EB-406A-8FF0-BF04123DB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9" y="843"/>
              <a:ext cx="53" cy="29"/>
            </a:xfrm>
            <a:custGeom>
              <a:avLst/>
              <a:gdLst>
                <a:gd name="T0" fmla="*/ 48 w 53"/>
                <a:gd name="T1" fmla="*/ 0 h 29"/>
                <a:gd name="T2" fmla="*/ 53 w 53"/>
                <a:gd name="T3" fmla="*/ 7 h 29"/>
                <a:gd name="T4" fmla="*/ 36 w 53"/>
                <a:gd name="T5" fmla="*/ 29 h 29"/>
                <a:gd name="T6" fmla="*/ 19 w 53"/>
                <a:gd name="T7" fmla="*/ 17 h 29"/>
                <a:gd name="T8" fmla="*/ 5 w 53"/>
                <a:gd name="T9" fmla="*/ 24 h 29"/>
                <a:gd name="T10" fmla="*/ 0 w 53"/>
                <a:gd name="T11" fmla="*/ 12 h 29"/>
                <a:gd name="T12" fmla="*/ 7 w 53"/>
                <a:gd name="T13" fmla="*/ 5 h 29"/>
                <a:gd name="T14" fmla="*/ 19 w 53"/>
                <a:gd name="T15" fmla="*/ 17 h 29"/>
                <a:gd name="T16" fmla="*/ 48 w 53"/>
                <a:gd name="T1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29">
                  <a:moveTo>
                    <a:pt x="48" y="0"/>
                  </a:moveTo>
                  <a:lnTo>
                    <a:pt x="53" y="7"/>
                  </a:lnTo>
                  <a:lnTo>
                    <a:pt x="36" y="29"/>
                  </a:lnTo>
                  <a:lnTo>
                    <a:pt x="19" y="17"/>
                  </a:lnTo>
                  <a:lnTo>
                    <a:pt x="5" y="24"/>
                  </a:lnTo>
                  <a:lnTo>
                    <a:pt x="0" y="12"/>
                  </a:lnTo>
                  <a:lnTo>
                    <a:pt x="7" y="5"/>
                  </a:lnTo>
                  <a:lnTo>
                    <a:pt x="19" y="17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401092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C46CA3C-84FB-45C9-B5E0-7A7182EA22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1296566"/>
            <a:ext cx="6101276" cy="1521626"/>
          </a:xfrm>
        </p:spPr>
        <p:txBody>
          <a:bodyPr>
            <a:noAutofit/>
          </a:bodyPr>
          <a:lstStyle/>
          <a:p>
            <a:r>
              <a:rPr lang="ru-RU" sz="4400" dirty="0"/>
              <a:t>Коррупцияга </a:t>
            </a:r>
            <a:r>
              <a:rPr lang="ru-RU" sz="4400" dirty="0" err="1"/>
              <a:t>қарши</a:t>
            </a:r>
            <a:r>
              <a:rPr lang="ru-RU" sz="4400" dirty="0"/>
              <a:t> </a:t>
            </a:r>
            <a:r>
              <a:rPr lang="ru-RU" sz="4400" dirty="0" err="1"/>
              <a:t>курашиш</a:t>
            </a:r>
            <a:r>
              <a:rPr lang="ru-RU" sz="4400" dirty="0"/>
              <a:t> </a:t>
            </a:r>
            <a:r>
              <a:rPr lang="ru-RU" sz="4400" dirty="0" err="1"/>
              <a:t>тизимини</a:t>
            </a:r>
            <a:r>
              <a:rPr lang="ru-RU" sz="4400" dirty="0"/>
              <a:t> </a:t>
            </a:r>
            <a:r>
              <a:rPr lang="uz-Cyrl-UZ" sz="4400" dirty="0"/>
              <a:t>мониторинг</a:t>
            </a:r>
            <a:r>
              <a:rPr lang="en-US" sz="4400" dirty="0"/>
              <a:t> </a:t>
            </a:r>
            <a:r>
              <a:rPr lang="ru-RU" sz="4400" dirty="0" err="1"/>
              <a:t>ва</a:t>
            </a:r>
            <a:r>
              <a:rPr lang="ru-RU" sz="4400" dirty="0"/>
              <a:t> </a:t>
            </a:r>
            <a:r>
              <a:rPr lang="ru-RU" sz="4400" dirty="0" err="1"/>
              <a:t>назорат</a:t>
            </a:r>
            <a:r>
              <a:rPr lang="ru-RU" sz="4400" dirty="0"/>
              <a:t> </a:t>
            </a:r>
            <a:r>
              <a:rPr lang="ru-RU" sz="4400" dirty="0" err="1"/>
              <a:t>қилиш</a:t>
            </a:r>
            <a:r>
              <a:rPr lang="ru-RU" sz="4400" dirty="0"/>
              <a:t>: методология, </a:t>
            </a:r>
            <a:r>
              <a:rPr lang="ru-RU" sz="4400" dirty="0" err="1"/>
              <a:t>ёндашув</a:t>
            </a:r>
            <a:r>
              <a:rPr lang="ru-RU" sz="4400" dirty="0"/>
              <a:t>, </a:t>
            </a:r>
            <a:r>
              <a:rPr lang="ru-RU" sz="4400" dirty="0" err="1"/>
              <a:t>қўлланиладиган</a:t>
            </a:r>
            <a:r>
              <a:rPr lang="ru-RU" sz="4400" dirty="0"/>
              <a:t> </a:t>
            </a:r>
            <a:r>
              <a:rPr lang="ru-RU" sz="4400" dirty="0" err="1"/>
              <a:t>воситалар</a:t>
            </a:r>
            <a:endParaRPr lang="ru-RU" sz="4400" dirty="0"/>
          </a:p>
        </p:txBody>
      </p:sp>
    </p:spTree>
    <p:extLst>
      <p:ext uri="{BB962C8B-B14F-4D97-AF65-F5344CB8AC3E}">
        <p14:creationId xmlns:p14="http://schemas.microsoft.com/office/powerpoint/2010/main" val="21951122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08BBD5B-BA87-4BE3-9AC7-6E44B5DA53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анлаб </a:t>
            </a:r>
            <a:r>
              <a:rPr lang="ru-RU" dirty="0" err="1"/>
              <a:t>олиш</a:t>
            </a:r>
            <a:r>
              <a:rPr lang="ru-RU" dirty="0"/>
              <a:t> </a:t>
            </a:r>
            <a:r>
              <a:rPr lang="ru-RU" dirty="0" err="1"/>
              <a:t>учун</a:t>
            </a:r>
            <a:r>
              <a:rPr lang="ru-RU" dirty="0"/>
              <a:t> </a:t>
            </a:r>
            <a:r>
              <a:rPr lang="ru-RU" dirty="0" err="1"/>
              <a:t>тайёргарлик</a:t>
            </a:r>
            <a:r>
              <a:rPr lang="ru-RU" dirty="0"/>
              <a:t>(2/4)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8F8F1DB-0CF5-45A7-ADA8-499811E7A32E}"/>
              </a:ext>
            </a:extLst>
          </p:cNvPr>
          <p:cNvGrpSpPr/>
          <p:nvPr/>
        </p:nvGrpSpPr>
        <p:grpSpPr>
          <a:xfrm>
            <a:off x="443080" y="1282693"/>
            <a:ext cx="11306008" cy="434975"/>
            <a:chOff x="3784798" y="1289128"/>
            <a:chExt cx="7964290" cy="463165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8E71F754-A819-490A-9CFE-31C6D58F195D}"/>
                </a:ext>
              </a:extLst>
            </p:cNvPr>
            <p:cNvSpPr/>
            <p:nvPr/>
          </p:nvSpPr>
          <p:spPr>
            <a:xfrm>
              <a:off x="3921193" y="1371686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C3F35424-DB17-433A-AF90-18F3714FB1A0}"/>
                </a:ext>
              </a:extLst>
            </p:cNvPr>
            <p:cNvSpPr/>
            <p:nvPr/>
          </p:nvSpPr>
          <p:spPr>
            <a:xfrm>
              <a:off x="3784798" y="1289128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1.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Етказиб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берувчилар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билан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операциялар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таҳлил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қилиш</a:t>
              </a:r>
              <a:endParaRPr lang="en-US" sz="1400" b="1" dirty="0">
                <a:solidFill>
                  <a:srgbClr val="3A07DF"/>
                </a:solidFill>
                <a:latin typeface="+mj-lt"/>
              </a:endParaRPr>
            </a:p>
          </p:txBody>
        </p:sp>
      </p:grp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6E5BE6D-61DB-43B7-8BCE-983EB0E4AAD5}"/>
              </a:ext>
            </a:extLst>
          </p:cNvPr>
          <p:cNvSpPr/>
          <p:nvPr/>
        </p:nvSpPr>
        <p:spPr>
          <a:xfrm>
            <a:off x="8248149" y="1877931"/>
            <a:ext cx="3500939" cy="4395868"/>
          </a:xfrm>
          <a:prstGeom prst="roundRect">
            <a:avLst>
              <a:gd name="adj" fmla="val 6687"/>
            </a:avLst>
          </a:prstGeom>
          <a:solidFill>
            <a:schemeClr val="bg1"/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ECA6B0FB-B5EE-4D0A-91CC-A36C66B7454D}"/>
              </a:ext>
            </a:extLst>
          </p:cNvPr>
          <p:cNvSpPr/>
          <p:nvPr/>
        </p:nvSpPr>
        <p:spPr>
          <a:xfrm>
            <a:off x="458265" y="1877930"/>
            <a:ext cx="3500939" cy="4395869"/>
          </a:xfrm>
          <a:prstGeom prst="roundRect">
            <a:avLst>
              <a:gd name="adj" fmla="val 8350"/>
            </a:avLst>
          </a:prstGeom>
          <a:solidFill>
            <a:schemeClr val="bg1"/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8A08BAC2-7ABD-478D-87FE-863C42DE5ECF}"/>
              </a:ext>
            </a:extLst>
          </p:cNvPr>
          <p:cNvSpPr/>
          <p:nvPr/>
        </p:nvSpPr>
        <p:spPr>
          <a:xfrm>
            <a:off x="4353207" y="1877930"/>
            <a:ext cx="3500939" cy="4395869"/>
          </a:xfrm>
          <a:prstGeom prst="roundRect">
            <a:avLst>
              <a:gd name="adj" fmla="val 5439"/>
            </a:avLst>
          </a:prstGeom>
          <a:solidFill>
            <a:schemeClr val="bg1"/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7899E82-CE50-4A00-AEC0-31CF4652F621}"/>
              </a:ext>
            </a:extLst>
          </p:cNvPr>
          <p:cNvGrpSpPr/>
          <p:nvPr/>
        </p:nvGrpSpPr>
        <p:grpSpPr>
          <a:xfrm>
            <a:off x="636705" y="2049703"/>
            <a:ext cx="3132170" cy="736607"/>
            <a:chOff x="3784798" y="1289128"/>
            <a:chExt cx="7964290" cy="440386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E6484275-31EE-4CE5-9AD7-1A10B4346168}"/>
                </a:ext>
              </a:extLst>
            </p:cNvPr>
            <p:cNvSpPr/>
            <p:nvPr/>
          </p:nvSpPr>
          <p:spPr>
            <a:xfrm>
              <a:off x="3921193" y="1348907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A75FCB43-FB48-4072-BFEA-91C1B1594B19}"/>
                </a:ext>
              </a:extLst>
            </p:cNvPr>
            <p:cNvSpPr/>
            <p:nvPr/>
          </p:nvSpPr>
          <p:spPr>
            <a:xfrm>
              <a:off x="3784798" y="1289128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pPr marL="534988"/>
              <a:r>
                <a:rPr lang="ru-RU" sz="1400" b="1" dirty="0" err="1">
                  <a:solidFill>
                    <a:srgbClr val="130A65"/>
                  </a:solidFill>
                  <a:latin typeface="+mj-lt"/>
                </a:rPr>
                <a:t>Асосий</a:t>
              </a:r>
              <a:r>
                <a:rPr lang="ru-RU" sz="1400" b="1" dirty="0">
                  <a:solidFill>
                    <a:srgbClr val="130A65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130A65"/>
                  </a:solidFill>
                  <a:latin typeface="+mj-lt"/>
                </a:rPr>
                <a:t>ахборот</a:t>
              </a:r>
              <a:r>
                <a:rPr lang="ru-RU" sz="1400" b="1" dirty="0">
                  <a:solidFill>
                    <a:srgbClr val="130A65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130A65"/>
                  </a:solidFill>
                  <a:latin typeface="+mj-lt"/>
                </a:rPr>
                <a:t>манбалари</a:t>
              </a:r>
              <a:endParaRPr lang="ru-RU" sz="1400" b="1" dirty="0">
                <a:solidFill>
                  <a:srgbClr val="130A65"/>
                </a:solidFill>
                <a:latin typeface="+mj-lt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93F6D5CF-7385-4F7C-B4B8-723F24FA4124}"/>
              </a:ext>
            </a:extLst>
          </p:cNvPr>
          <p:cNvSpPr txBox="1"/>
          <p:nvPr/>
        </p:nvSpPr>
        <p:spPr>
          <a:xfrm>
            <a:off x="636705" y="2886299"/>
            <a:ext cx="3105348" cy="3031599"/>
          </a:xfrm>
          <a:prstGeom prst="rect">
            <a:avLst/>
          </a:prstGeom>
          <a:noFill/>
        </p:spPr>
        <p:txBody>
          <a:bodyPr wrap="square" lIns="72000" tIns="0" rIns="0" bIns="0" anchor="t">
            <a:spAutoFit/>
          </a:bodyPr>
          <a:lstStyle/>
          <a:p>
            <a:pPr marL="266700" indent="-266700" fontAlgn="base">
              <a:spcBef>
                <a:spcPct val="0"/>
              </a:spcBef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казиб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вчи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л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-китоб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унингдек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л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здор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ор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л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-китоб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ланмасининг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-ҳисобварақ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йи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агентларнинг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ТИР-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ўрсатг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олд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нома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симид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ҳлил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шу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умлад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орлик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злари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ҳлил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66700" indent="-266700" fontAlgn="base">
              <a:spcBef>
                <a:spcPct val="0"/>
              </a:spcBef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казиб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вчи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л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-китоб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л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ор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л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-китоб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у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алари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ҳлил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endParaRPr lang="ru-RU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fontAlgn="base">
              <a:spcBef>
                <a:spcPct val="0"/>
              </a:spcBef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конто (контрагент)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йи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ланма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алар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ҳлил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endParaRPr lang="ru-RU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36DDB7D-7507-4EBE-B13F-AD203BD629CA}"/>
              </a:ext>
            </a:extLst>
          </p:cNvPr>
          <p:cNvGrpSpPr/>
          <p:nvPr/>
        </p:nvGrpSpPr>
        <p:grpSpPr>
          <a:xfrm>
            <a:off x="4721976" y="2043310"/>
            <a:ext cx="3132170" cy="736607"/>
            <a:chOff x="3784798" y="1289128"/>
            <a:chExt cx="7964290" cy="440386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1726A330-235B-45A6-B133-DFE298FB1C3E}"/>
                </a:ext>
              </a:extLst>
            </p:cNvPr>
            <p:cNvSpPr/>
            <p:nvPr/>
          </p:nvSpPr>
          <p:spPr>
            <a:xfrm>
              <a:off x="3921193" y="1348907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C3861568-92D2-479A-A1D6-6EC417C97B59}"/>
                </a:ext>
              </a:extLst>
            </p:cNvPr>
            <p:cNvSpPr/>
            <p:nvPr/>
          </p:nvSpPr>
          <p:spPr>
            <a:xfrm>
              <a:off x="3784798" y="1289128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pPr marL="534988"/>
              <a:r>
                <a:rPr lang="ru-RU" sz="1400" b="1" dirty="0" err="1">
                  <a:solidFill>
                    <a:srgbClr val="130A65"/>
                  </a:solidFill>
                  <a:latin typeface="+mj-lt"/>
                </a:rPr>
                <a:t>Асосий</a:t>
              </a:r>
              <a:r>
                <a:rPr lang="ru-RU" sz="1400" b="1" dirty="0">
                  <a:solidFill>
                    <a:srgbClr val="130A65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130A65"/>
                  </a:solidFill>
                  <a:latin typeface="+mj-lt"/>
                </a:rPr>
                <a:t>вазифалар</a:t>
              </a:r>
              <a:endParaRPr lang="ru-RU" sz="1400" b="1" dirty="0">
                <a:solidFill>
                  <a:srgbClr val="130A65"/>
                </a:solidFill>
                <a:latin typeface="+mj-lt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B3C6C040-66E7-455F-A097-E20E49C2990E}"/>
              </a:ext>
            </a:extLst>
          </p:cNvPr>
          <p:cNvSpPr txBox="1"/>
          <p:nvPr/>
        </p:nvSpPr>
        <p:spPr>
          <a:xfrm>
            <a:off x="4578099" y="2886299"/>
            <a:ext cx="3078529" cy="1885131"/>
          </a:xfrm>
          <a:prstGeom prst="rect">
            <a:avLst/>
          </a:prstGeom>
          <a:noFill/>
        </p:spPr>
        <p:txBody>
          <a:bodyPr wrap="square" lIns="72000" tIns="0" rIns="0" bIns="0" anchor="t">
            <a:spAutoFit/>
          </a:bodyPr>
          <a:lstStyle/>
          <a:p>
            <a:pPr marL="266700" indent="-266700" fontAlgn="base">
              <a:spcBef>
                <a:spcPct val="0"/>
              </a:spcBef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казиб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вчи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л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ялар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ҳлил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шу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умлад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казиб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иладиг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МҚ/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жарилг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ш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ўрсатилг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зматларнинг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осий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лари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иқла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биторлик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орлик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злари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ҳлил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endParaRPr lang="ru-RU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fontAlgn="base">
              <a:spcBef>
                <a:spcPct val="0"/>
              </a:spcBef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қор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вфл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ялар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иқла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инг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ужжатл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шири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у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лов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кллантириш</a:t>
            </a:r>
            <a:endParaRPr lang="ru-RU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945097F-6499-40B9-98E5-AE560529778F}"/>
              </a:ext>
            </a:extLst>
          </p:cNvPr>
          <p:cNvGrpSpPr/>
          <p:nvPr/>
        </p:nvGrpSpPr>
        <p:grpSpPr>
          <a:xfrm>
            <a:off x="8438478" y="2049703"/>
            <a:ext cx="3132170" cy="1171017"/>
            <a:chOff x="3784798" y="1289128"/>
            <a:chExt cx="7964290" cy="440386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EF68F95B-18E3-425A-9BE2-5E47EAB15F1D}"/>
                </a:ext>
              </a:extLst>
            </p:cNvPr>
            <p:cNvSpPr/>
            <p:nvPr/>
          </p:nvSpPr>
          <p:spPr>
            <a:xfrm>
              <a:off x="3921193" y="1348907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950348C9-1C97-421C-B0C0-D13B634EC4E8}"/>
                </a:ext>
              </a:extLst>
            </p:cNvPr>
            <p:cNvSpPr/>
            <p:nvPr/>
          </p:nvSpPr>
          <p:spPr>
            <a:xfrm>
              <a:off x="3784798" y="1289128"/>
              <a:ext cx="7896089" cy="380607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3175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pPr marL="534988"/>
              <a:r>
                <a:rPr lang="ru-RU" sz="1400" b="1" dirty="0" err="1">
                  <a:solidFill>
                    <a:srgbClr val="130A65"/>
                  </a:solidFill>
                  <a:latin typeface="+mj-lt"/>
                </a:rPr>
                <a:t>Контрагентларни</a:t>
              </a:r>
              <a:r>
                <a:rPr lang="ru-RU" sz="1400" b="1" dirty="0">
                  <a:solidFill>
                    <a:srgbClr val="130A65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130A65"/>
                  </a:solidFill>
                  <a:latin typeface="+mj-lt"/>
                </a:rPr>
                <a:t>танлаш</a:t>
              </a:r>
              <a:r>
                <a:rPr lang="ru-RU" sz="1400" b="1" dirty="0">
                  <a:solidFill>
                    <a:srgbClr val="130A65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130A65"/>
                  </a:solidFill>
                  <a:latin typeface="+mj-lt"/>
                </a:rPr>
                <a:t>жараёнида</a:t>
              </a:r>
              <a:r>
                <a:rPr lang="ru-RU" sz="1400" b="1" dirty="0">
                  <a:solidFill>
                    <a:srgbClr val="130A65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130A65"/>
                  </a:solidFill>
                  <a:latin typeface="+mj-lt"/>
                </a:rPr>
                <a:t>ҳисобга</a:t>
              </a:r>
              <a:r>
                <a:rPr lang="ru-RU" sz="1400" b="1" dirty="0">
                  <a:solidFill>
                    <a:srgbClr val="130A65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130A65"/>
                  </a:solidFill>
                  <a:latin typeface="+mj-lt"/>
                </a:rPr>
                <a:t>олинадиган</a:t>
              </a:r>
              <a:r>
                <a:rPr lang="ru-RU" sz="1400" b="1" dirty="0">
                  <a:solidFill>
                    <a:srgbClr val="130A65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130A65"/>
                  </a:solidFill>
                  <a:latin typeface="+mj-lt"/>
                </a:rPr>
                <a:t>омиллар</a:t>
              </a:r>
              <a:r>
                <a:rPr lang="ru-RU" sz="1400" b="1" dirty="0">
                  <a:solidFill>
                    <a:srgbClr val="130A65"/>
                  </a:solidFill>
                  <a:latin typeface="+mj-lt"/>
                </a:rPr>
                <a:t> (</a:t>
              </a:r>
              <a:r>
                <a:rPr lang="ru-RU" sz="1400" b="1" dirty="0" err="1">
                  <a:solidFill>
                    <a:srgbClr val="130A65"/>
                  </a:solidFill>
                  <a:latin typeface="+mj-lt"/>
                </a:rPr>
                <a:t>хатарлар</a:t>
              </a:r>
              <a:r>
                <a:rPr lang="ru-RU" sz="1400" b="1" dirty="0">
                  <a:solidFill>
                    <a:srgbClr val="130A65"/>
                  </a:solidFill>
                  <a:latin typeface="+mj-lt"/>
                </a:rPr>
                <a:t>):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35324733-9360-463C-B97A-2110694A2D85}"/>
              </a:ext>
            </a:extLst>
          </p:cNvPr>
          <p:cNvSpPr txBox="1"/>
          <p:nvPr/>
        </p:nvSpPr>
        <p:spPr>
          <a:xfrm>
            <a:off x="8438478" y="3368040"/>
            <a:ext cx="3105348" cy="2146742"/>
          </a:xfrm>
          <a:prstGeom prst="rect">
            <a:avLst/>
          </a:prstGeom>
          <a:noFill/>
        </p:spPr>
        <p:txBody>
          <a:bodyPr wrap="square" lIns="72000" tIns="0" rIns="0" bIns="0" anchor="t">
            <a:spAutoFit/>
          </a:bodyPr>
          <a:lstStyle/>
          <a:p>
            <a:pPr marL="266700" indent="-266700" fontAlgn="base">
              <a:spcBef>
                <a:spcPct val="0"/>
              </a:spcBef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биторлик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ддат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тг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ўланмаг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анс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pPr marL="266700" indent="-266700" fontAlgn="base">
              <a:spcBef>
                <a:spcPct val="0"/>
              </a:spcBef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шкилот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у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рталик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ммат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нг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с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маг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змат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66700" indent="-266700" fontAlgn="base">
              <a:spcBef>
                <a:spcPct val="0"/>
              </a:spcBef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моддий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зматлар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қдим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и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консалтинг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ридик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жар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зматлар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шқа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;</a:t>
            </a:r>
          </a:p>
          <a:p>
            <a:pPr marL="266700" indent="-266700" fontAlgn="base">
              <a:spcBef>
                <a:spcPct val="0"/>
              </a:spcBef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қор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вфл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б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инг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казиб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вчи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шу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умлад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агентнинг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ффилланганлиг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шончсизлиг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ротлик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вф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DFCEF1F-DBAB-4F56-B798-37CA29193544}"/>
              </a:ext>
            </a:extLst>
          </p:cNvPr>
          <p:cNvGrpSpPr/>
          <p:nvPr/>
        </p:nvGrpSpPr>
        <p:grpSpPr>
          <a:xfrm>
            <a:off x="8599826" y="2330446"/>
            <a:ext cx="518443" cy="455864"/>
            <a:chOff x="-395057" y="3223382"/>
            <a:chExt cx="356759" cy="313696"/>
          </a:xfrm>
        </p:grpSpPr>
        <p:sp>
          <p:nvSpPr>
            <p:cNvPr id="32" name="Freeform 216">
              <a:extLst>
                <a:ext uri="{FF2B5EF4-FFF2-40B4-BE49-F238E27FC236}">
                  <a16:creationId xmlns:a16="http://schemas.microsoft.com/office/drawing/2014/main" id="{4C4573E4-02A5-41E4-86EC-B9EC050D8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5057" y="3223382"/>
              <a:ext cx="356759" cy="313696"/>
            </a:xfrm>
            <a:custGeom>
              <a:avLst/>
              <a:gdLst>
                <a:gd name="T0" fmla="*/ 10 w 422"/>
                <a:gd name="T1" fmla="*/ 318 h 356"/>
                <a:gd name="T2" fmla="*/ 190 w 422"/>
                <a:gd name="T3" fmla="*/ 17 h 356"/>
                <a:gd name="T4" fmla="*/ 232 w 422"/>
                <a:gd name="T5" fmla="*/ 17 h 356"/>
                <a:gd name="T6" fmla="*/ 412 w 422"/>
                <a:gd name="T7" fmla="*/ 318 h 356"/>
                <a:gd name="T8" fmla="*/ 391 w 422"/>
                <a:gd name="T9" fmla="*/ 356 h 356"/>
                <a:gd name="T10" fmla="*/ 31 w 422"/>
                <a:gd name="T11" fmla="*/ 356 h 356"/>
                <a:gd name="T12" fmla="*/ 10 w 422"/>
                <a:gd name="T13" fmla="*/ 318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2" h="356">
                  <a:moveTo>
                    <a:pt x="10" y="318"/>
                  </a:moveTo>
                  <a:lnTo>
                    <a:pt x="190" y="17"/>
                  </a:lnTo>
                  <a:cubicBezTo>
                    <a:pt x="200" y="0"/>
                    <a:pt x="223" y="0"/>
                    <a:pt x="232" y="17"/>
                  </a:cubicBezTo>
                  <a:lnTo>
                    <a:pt x="412" y="318"/>
                  </a:lnTo>
                  <a:cubicBezTo>
                    <a:pt x="422" y="334"/>
                    <a:pt x="410" y="356"/>
                    <a:pt x="391" y="356"/>
                  </a:cubicBezTo>
                  <a:lnTo>
                    <a:pt x="31" y="356"/>
                  </a:lnTo>
                  <a:cubicBezTo>
                    <a:pt x="12" y="356"/>
                    <a:pt x="0" y="334"/>
                    <a:pt x="10" y="318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17">
              <a:extLst>
                <a:ext uri="{FF2B5EF4-FFF2-40B4-BE49-F238E27FC236}">
                  <a16:creationId xmlns:a16="http://schemas.microsoft.com/office/drawing/2014/main" id="{DEF93032-C972-41E1-B6D0-00A5B734E9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33373" y="3337119"/>
              <a:ext cx="31634" cy="159600"/>
            </a:xfrm>
            <a:custGeom>
              <a:avLst/>
              <a:gdLst>
                <a:gd name="T0" fmla="*/ 0 w 39"/>
                <a:gd name="T1" fmla="*/ 161 h 180"/>
                <a:gd name="T2" fmla="*/ 1 w 39"/>
                <a:gd name="T3" fmla="*/ 153 h 180"/>
                <a:gd name="T4" fmla="*/ 5 w 39"/>
                <a:gd name="T5" fmla="*/ 147 h 180"/>
                <a:gd name="T6" fmla="*/ 11 w 39"/>
                <a:gd name="T7" fmla="*/ 143 h 180"/>
                <a:gd name="T8" fmla="*/ 19 w 39"/>
                <a:gd name="T9" fmla="*/ 142 h 180"/>
                <a:gd name="T10" fmla="*/ 27 w 39"/>
                <a:gd name="T11" fmla="*/ 143 h 180"/>
                <a:gd name="T12" fmla="*/ 34 w 39"/>
                <a:gd name="T13" fmla="*/ 147 h 180"/>
                <a:gd name="T14" fmla="*/ 38 w 39"/>
                <a:gd name="T15" fmla="*/ 153 h 180"/>
                <a:gd name="T16" fmla="*/ 39 w 39"/>
                <a:gd name="T17" fmla="*/ 161 h 180"/>
                <a:gd name="T18" fmla="*/ 38 w 39"/>
                <a:gd name="T19" fmla="*/ 168 h 180"/>
                <a:gd name="T20" fmla="*/ 34 w 39"/>
                <a:gd name="T21" fmla="*/ 175 h 180"/>
                <a:gd name="T22" fmla="*/ 27 w 39"/>
                <a:gd name="T23" fmla="*/ 178 h 180"/>
                <a:gd name="T24" fmla="*/ 19 w 39"/>
                <a:gd name="T25" fmla="*/ 180 h 180"/>
                <a:gd name="T26" fmla="*/ 11 w 39"/>
                <a:gd name="T27" fmla="*/ 178 h 180"/>
                <a:gd name="T28" fmla="*/ 5 w 39"/>
                <a:gd name="T29" fmla="*/ 175 h 180"/>
                <a:gd name="T30" fmla="*/ 1 w 39"/>
                <a:gd name="T31" fmla="*/ 168 h 180"/>
                <a:gd name="T32" fmla="*/ 0 w 39"/>
                <a:gd name="T33" fmla="*/ 161 h 180"/>
                <a:gd name="T34" fmla="*/ 35 w 39"/>
                <a:gd name="T35" fmla="*/ 122 h 180"/>
                <a:gd name="T36" fmla="*/ 6 w 39"/>
                <a:gd name="T37" fmla="*/ 122 h 180"/>
                <a:gd name="T38" fmla="*/ 1 w 39"/>
                <a:gd name="T39" fmla="*/ 0 h 180"/>
                <a:gd name="T40" fmla="*/ 39 w 39"/>
                <a:gd name="T41" fmla="*/ 0 h 180"/>
                <a:gd name="T42" fmla="*/ 35 w 39"/>
                <a:gd name="T43" fmla="*/ 12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9" h="180">
                  <a:moveTo>
                    <a:pt x="0" y="161"/>
                  </a:moveTo>
                  <a:cubicBezTo>
                    <a:pt x="0" y="158"/>
                    <a:pt x="0" y="156"/>
                    <a:pt x="1" y="153"/>
                  </a:cubicBezTo>
                  <a:cubicBezTo>
                    <a:pt x="2" y="151"/>
                    <a:pt x="4" y="150"/>
                    <a:pt x="5" y="147"/>
                  </a:cubicBezTo>
                  <a:cubicBezTo>
                    <a:pt x="6" y="145"/>
                    <a:pt x="9" y="145"/>
                    <a:pt x="11" y="143"/>
                  </a:cubicBezTo>
                  <a:cubicBezTo>
                    <a:pt x="14" y="142"/>
                    <a:pt x="16" y="142"/>
                    <a:pt x="19" y="142"/>
                  </a:cubicBezTo>
                  <a:cubicBezTo>
                    <a:pt x="21" y="142"/>
                    <a:pt x="25" y="142"/>
                    <a:pt x="27" y="143"/>
                  </a:cubicBezTo>
                  <a:cubicBezTo>
                    <a:pt x="30" y="144"/>
                    <a:pt x="32" y="146"/>
                    <a:pt x="34" y="147"/>
                  </a:cubicBezTo>
                  <a:cubicBezTo>
                    <a:pt x="35" y="148"/>
                    <a:pt x="36" y="151"/>
                    <a:pt x="38" y="153"/>
                  </a:cubicBezTo>
                  <a:cubicBezTo>
                    <a:pt x="39" y="156"/>
                    <a:pt x="39" y="158"/>
                    <a:pt x="39" y="161"/>
                  </a:cubicBezTo>
                  <a:cubicBezTo>
                    <a:pt x="39" y="163"/>
                    <a:pt x="39" y="166"/>
                    <a:pt x="38" y="168"/>
                  </a:cubicBezTo>
                  <a:cubicBezTo>
                    <a:pt x="36" y="171"/>
                    <a:pt x="35" y="172"/>
                    <a:pt x="34" y="175"/>
                  </a:cubicBezTo>
                  <a:cubicBezTo>
                    <a:pt x="32" y="177"/>
                    <a:pt x="30" y="177"/>
                    <a:pt x="27" y="178"/>
                  </a:cubicBezTo>
                  <a:cubicBezTo>
                    <a:pt x="25" y="180"/>
                    <a:pt x="22" y="180"/>
                    <a:pt x="19" y="180"/>
                  </a:cubicBezTo>
                  <a:cubicBezTo>
                    <a:pt x="15" y="180"/>
                    <a:pt x="13" y="180"/>
                    <a:pt x="11" y="178"/>
                  </a:cubicBezTo>
                  <a:cubicBezTo>
                    <a:pt x="10" y="177"/>
                    <a:pt x="6" y="176"/>
                    <a:pt x="5" y="175"/>
                  </a:cubicBezTo>
                  <a:cubicBezTo>
                    <a:pt x="4" y="173"/>
                    <a:pt x="3" y="171"/>
                    <a:pt x="1" y="168"/>
                  </a:cubicBezTo>
                  <a:cubicBezTo>
                    <a:pt x="0" y="166"/>
                    <a:pt x="0" y="163"/>
                    <a:pt x="0" y="161"/>
                  </a:cubicBezTo>
                  <a:close/>
                  <a:moveTo>
                    <a:pt x="35" y="122"/>
                  </a:moveTo>
                  <a:lnTo>
                    <a:pt x="6" y="122"/>
                  </a:lnTo>
                  <a:lnTo>
                    <a:pt x="1" y="0"/>
                  </a:lnTo>
                  <a:lnTo>
                    <a:pt x="39" y="0"/>
                  </a:lnTo>
                  <a:lnTo>
                    <a:pt x="35" y="1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4" name="Group 44">
            <a:extLst>
              <a:ext uri="{FF2B5EF4-FFF2-40B4-BE49-F238E27FC236}">
                <a16:creationId xmlns:a16="http://schemas.microsoft.com/office/drawing/2014/main" id="{B7BB2F5F-A2E9-43AC-A37D-7EA21D435F7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70624" y="2185555"/>
            <a:ext cx="350789" cy="392270"/>
            <a:chOff x="3447" y="1200"/>
            <a:chExt cx="778" cy="870"/>
          </a:xfrm>
          <a:solidFill>
            <a:srgbClr val="130A65"/>
          </a:solidFill>
        </p:grpSpPr>
        <p:sp>
          <p:nvSpPr>
            <p:cNvPr id="35" name="Freeform 45">
              <a:extLst>
                <a:ext uri="{FF2B5EF4-FFF2-40B4-BE49-F238E27FC236}">
                  <a16:creationId xmlns:a16="http://schemas.microsoft.com/office/drawing/2014/main" id="{F4839B04-E21E-4392-92AE-370CDB80D9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7" y="1200"/>
              <a:ext cx="778" cy="870"/>
            </a:xfrm>
            <a:custGeom>
              <a:avLst/>
              <a:gdLst>
                <a:gd name="T0" fmla="*/ 5600 w 5725"/>
                <a:gd name="T1" fmla="*/ 0 h 6400"/>
                <a:gd name="T2" fmla="*/ 625 w 5725"/>
                <a:gd name="T3" fmla="*/ 0 h 6400"/>
                <a:gd name="T4" fmla="*/ 0 w 5725"/>
                <a:gd name="T5" fmla="*/ 625 h 6400"/>
                <a:gd name="T6" fmla="*/ 0 w 5725"/>
                <a:gd name="T7" fmla="*/ 1246 h 6400"/>
                <a:gd name="T8" fmla="*/ 125 w 5725"/>
                <a:gd name="T9" fmla="*/ 1371 h 6400"/>
                <a:gd name="T10" fmla="*/ 250 w 5725"/>
                <a:gd name="T11" fmla="*/ 1246 h 6400"/>
                <a:gd name="T12" fmla="*/ 250 w 5725"/>
                <a:gd name="T13" fmla="*/ 625 h 6400"/>
                <a:gd name="T14" fmla="*/ 625 w 5725"/>
                <a:gd name="T15" fmla="*/ 250 h 6400"/>
                <a:gd name="T16" fmla="*/ 800 w 5725"/>
                <a:gd name="T17" fmla="*/ 250 h 6400"/>
                <a:gd name="T18" fmla="*/ 800 w 5725"/>
                <a:gd name="T19" fmla="*/ 4342 h 6400"/>
                <a:gd name="T20" fmla="*/ 925 w 5725"/>
                <a:gd name="T21" fmla="*/ 4467 h 6400"/>
                <a:gd name="T22" fmla="*/ 1050 w 5725"/>
                <a:gd name="T23" fmla="*/ 4342 h 6400"/>
                <a:gd name="T24" fmla="*/ 1050 w 5725"/>
                <a:gd name="T25" fmla="*/ 250 h 6400"/>
                <a:gd name="T26" fmla="*/ 5475 w 5725"/>
                <a:gd name="T27" fmla="*/ 250 h 6400"/>
                <a:gd name="T28" fmla="*/ 5475 w 5725"/>
                <a:gd name="T29" fmla="*/ 5150 h 6400"/>
                <a:gd name="T30" fmla="*/ 625 w 5725"/>
                <a:gd name="T31" fmla="*/ 5150 h 6400"/>
                <a:gd name="T32" fmla="*/ 250 w 5725"/>
                <a:gd name="T33" fmla="*/ 5275 h 6400"/>
                <a:gd name="T34" fmla="*/ 250 w 5725"/>
                <a:gd name="T35" fmla="*/ 2388 h 6400"/>
                <a:gd name="T36" fmla="*/ 125 w 5725"/>
                <a:gd name="T37" fmla="*/ 2263 h 6400"/>
                <a:gd name="T38" fmla="*/ 0 w 5725"/>
                <a:gd name="T39" fmla="*/ 2388 h 6400"/>
                <a:gd name="T40" fmla="*/ 0 w 5725"/>
                <a:gd name="T41" fmla="*/ 5775 h 6400"/>
                <a:gd name="T42" fmla="*/ 625 w 5725"/>
                <a:gd name="T43" fmla="*/ 6400 h 6400"/>
                <a:gd name="T44" fmla="*/ 5600 w 5725"/>
                <a:gd name="T45" fmla="*/ 6400 h 6400"/>
                <a:gd name="T46" fmla="*/ 5725 w 5725"/>
                <a:gd name="T47" fmla="*/ 6275 h 6400"/>
                <a:gd name="T48" fmla="*/ 5725 w 5725"/>
                <a:gd name="T49" fmla="*/ 125 h 6400"/>
                <a:gd name="T50" fmla="*/ 5600 w 5725"/>
                <a:gd name="T51" fmla="*/ 0 h 6400"/>
                <a:gd name="T52" fmla="*/ 5475 w 5725"/>
                <a:gd name="T53" fmla="*/ 5650 h 6400"/>
                <a:gd name="T54" fmla="*/ 4389 w 5725"/>
                <a:gd name="T55" fmla="*/ 5650 h 6400"/>
                <a:gd name="T56" fmla="*/ 4264 w 5725"/>
                <a:gd name="T57" fmla="*/ 5775 h 6400"/>
                <a:gd name="T58" fmla="*/ 4389 w 5725"/>
                <a:gd name="T59" fmla="*/ 5900 h 6400"/>
                <a:gd name="T60" fmla="*/ 5475 w 5725"/>
                <a:gd name="T61" fmla="*/ 5900 h 6400"/>
                <a:gd name="T62" fmla="*/ 5475 w 5725"/>
                <a:gd name="T63" fmla="*/ 6150 h 6400"/>
                <a:gd name="T64" fmla="*/ 625 w 5725"/>
                <a:gd name="T65" fmla="*/ 6150 h 6400"/>
                <a:gd name="T66" fmla="*/ 250 w 5725"/>
                <a:gd name="T67" fmla="*/ 5775 h 6400"/>
                <a:gd name="T68" fmla="*/ 625 w 5725"/>
                <a:gd name="T69" fmla="*/ 5400 h 6400"/>
                <a:gd name="T70" fmla="*/ 5475 w 5725"/>
                <a:gd name="T71" fmla="*/ 5400 h 6400"/>
                <a:gd name="T72" fmla="*/ 5475 w 5725"/>
                <a:gd name="T73" fmla="*/ 5650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25" h="6400">
                  <a:moveTo>
                    <a:pt x="5600" y="0"/>
                  </a:moveTo>
                  <a:lnTo>
                    <a:pt x="625" y="0"/>
                  </a:lnTo>
                  <a:cubicBezTo>
                    <a:pt x="280" y="0"/>
                    <a:pt x="0" y="280"/>
                    <a:pt x="0" y="625"/>
                  </a:cubicBezTo>
                  <a:lnTo>
                    <a:pt x="0" y="1246"/>
                  </a:lnTo>
                  <a:cubicBezTo>
                    <a:pt x="0" y="1315"/>
                    <a:pt x="55" y="1371"/>
                    <a:pt x="125" y="1371"/>
                  </a:cubicBezTo>
                  <a:cubicBezTo>
                    <a:pt x="194" y="1371"/>
                    <a:pt x="250" y="1315"/>
                    <a:pt x="250" y="1246"/>
                  </a:cubicBezTo>
                  <a:lnTo>
                    <a:pt x="250" y="625"/>
                  </a:lnTo>
                  <a:cubicBezTo>
                    <a:pt x="250" y="418"/>
                    <a:pt x="418" y="250"/>
                    <a:pt x="625" y="250"/>
                  </a:cubicBezTo>
                  <a:lnTo>
                    <a:pt x="800" y="250"/>
                  </a:lnTo>
                  <a:lnTo>
                    <a:pt x="800" y="4342"/>
                  </a:lnTo>
                  <a:cubicBezTo>
                    <a:pt x="800" y="4411"/>
                    <a:pt x="855" y="4467"/>
                    <a:pt x="925" y="4467"/>
                  </a:cubicBezTo>
                  <a:cubicBezTo>
                    <a:pt x="994" y="4467"/>
                    <a:pt x="1050" y="4411"/>
                    <a:pt x="1050" y="4342"/>
                  </a:cubicBezTo>
                  <a:lnTo>
                    <a:pt x="1050" y="250"/>
                  </a:lnTo>
                  <a:lnTo>
                    <a:pt x="5475" y="250"/>
                  </a:lnTo>
                  <a:lnTo>
                    <a:pt x="5475" y="5150"/>
                  </a:lnTo>
                  <a:lnTo>
                    <a:pt x="625" y="5150"/>
                  </a:lnTo>
                  <a:cubicBezTo>
                    <a:pt x="484" y="5150"/>
                    <a:pt x="354" y="5197"/>
                    <a:pt x="250" y="5275"/>
                  </a:cubicBezTo>
                  <a:lnTo>
                    <a:pt x="250" y="2388"/>
                  </a:lnTo>
                  <a:cubicBezTo>
                    <a:pt x="250" y="2318"/>
                    <a:pt x="194" y="2263"/>
                    <a:pt x="125" y="2263"/>
                  </a:cubicBezTo>
                  <a:cubicBezTo>
                    <a:pt x="55" y="2263"/>
                    <a:pt x="0" y="2318"/>
                    <a:pt x="0" y="2388"/>
                  </a:cubicBezTo>
                  <a:lnTo>
                    <a:pt x="0" y="5775"/>
                  </a:lnTo>
                  <a:cubicBezTo>
                    <a:pt x="0" y="6120"/>
                    <a:pt x="280" y="6400"/>
                    <a:pt x="625" y="6400"/>
                  </a:cubicBezTo>
                  <a:lnTo>
                    <a:pt x="5600" y="6400"/>
                  </a:lnTo>
                  <a:cubicBezTo>
                    <a:pt x="5669" y="6400"/>
                    <a:pt x="5725" y="6344"/>
                    <a:pt x="5725" y="6275"/>
                  </a:cubicBezTo>
                  <a:lnTo>
                    <a:pt x="5725" y="125"/>
                  </a:lnTo>
                  <a:cubicBezTo>
                    <a:pt x="5725" y="56"/>
                    <a:pt x="5669" y="0"/>
                    <a:pt x="5600" y="0"/>
                  </a:cubicBezTo>
                  <a:close/>
                  <a:moveTo>
                    <a:pt x="5475" y="5650"/>
                  </a:moveTo>
                  <a:lnTo>
                    <a:pt x="4389" y="5650"/>
                  </a:lnTo>
                  <a:cubicBezTo>
                    <a:pt x="4319" y="5650"/>
                    <a:pt x="4264" y="5706"/>
                    <a:pt x="4264" y="5775"/>
                  </a:cubicBezTo>
                  <a:cubicBezTo>
                    <a:pt x="4264" y="5844"/>
                    <a:pt x="4319" y="5900"/>
                    <a:pt x="4389" y="5900"/>
                  </a:cubicBezTo>
                  <a:lnTo>
                    <a:pt x="5475" y="5900"/>
                  </a:lnTo>
                  <a:lnTo>
                    <a:pt x="5475" y="6150"/>
                  </a:lnTo>
                  <a:lnTo>
                    <a:pt x="625" y="6150"/>
                  </a:lnTo>
                  <a:cubicBezTo>
                    <a:pt x="418" y="6150"/>
                    <a:pt x="250" y="5982"/>
                    <a:pt x="250" y="5775"/>
                  </a:cubicBezTo>
                  <a:cubicBezTo>
                    <a:pt x="250" y="5568"/>
                    <a:pt x="418" y="5400"/>
                    <a:pt x="625" y="5400"/>
                  </a:cubicBezTo>
                  <a:lnTo>
                    <a:pt x="5475" y="5400"/>
                  </a:lnTo>
                  <a:lnTo>
                    <a:pt x="5475" y="565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46">
              <a:extLst>
                <a:ext uri="{FF2B5EF4-FFF2-40B4-BE49-F238E27FC236}">
                  <a16:creationId xmlns:a16="http://schemas.microsoft.com/office/drawing/2014/main" id="{5770FACE-73C7-48D6-8503-4D5DA251C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" y="1436"/>
              <a:ext cx="34" cy="34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59"/>
                    <a:pt x="0" y="92"/>
                    <a:pt x="0" y="125"/>
                  </a:cubicBezTo>
                  <a:cubicBezTo>
                    <a:pt x="0" y="157"/>
                    <a:pt x="13" y="190"/>
                    <a:pt x="36" y="213"/>
                  </a:cubicBezTo>
                  <a:cubicBezTo>
                    <a:pt x="59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7"/>
                    <a:pt x="250" y="125"/>
                  </a:cubicBezTo>
                  <a:cubicBezTo>
                    <a:pt x="250" y="92"/>
                    <a:pt x="236" y="59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47">
              <a:extLst>
                <a:ext uri="{FF2B5EF4-FFF2-40B4-BE49-F238E27FC236}">
                  <a16:creationId xmlns:a16="http://schemas.microsoft.com/office/drawing/2014/main" id="{230583DC-21EF-4E2E-862C-44CFD8790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6" y="1835"/>
              <a:ext cx="34" cy="34"/>
            </a:xfrm>
            <a:custGeom>
              <a:avLst/>
              <a:gdLst>
                <a:gd name="T0" fmla="*/ 213 w 250"/>
                <a:gd name="T1" fmla="*/ 37 h 250"/>
                <a:gd name="T2" fmla="*/ 125 w 250"/>
                <a:gd name="T3" fmla="*/ 0 h 250"/>
                <a:gd name="T4" fmla="*/ 36 w 250"/>
                <a:gd name="T5" fmla="*/ 37 h 250"/>
                <a:gd name="T6" fmla="*/ 0 w 250"/>
                <a:gd name="T7" fmla="*/ 125 h 250"/>
                <a:gd name="T8" fmla="*/ 36 w 250"/>
                <a:gd name="T9" fmla="*/ 214 h 250"/>
                <a:gd name="T10" fmla="*/ 125 w 250"/>
                <a:gd name="T11" fmla="*/ 250 h 250"/>
                <a:gd name="T12" fmla="*/ 213 w 250"/>
                <a:gd name="T13" fmla="*/ 214 h 250"/>
                <a:gd name="T14" fmla="*/ 250 w 250"/>
                <a:gd name="T15" fmla="*/ 125 h 250"/>
                <a:gd name="T16" fmla="*/ 213 w 250"/>
                <a:gd name="T17" fmla="*/ 37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7"/>
                  </a:moveTo>
                  <a:cubicBezTo>
                    <a:pt x="190" y="14"/>
                    <a:pt x="157" y="0"/>
                    <a:pt x="125" y="0"/>
                  </a:cubicBezTo>
                  <a:cubicBezTo>
                    <a:pt x="92" y="0"/>
                    <a:pt x="59" y="14"/>
                    <a:pt x="36" y="37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4"/>
                  </a:cubicBezTo>
                  <a:cubicBezTo>
                    <a:pt x="59" y="237"/>
                    <a:pt x="92" y="250"/>
                    <a:pt x="125" y="250"/>
                  </a:cubicBezTo>
                  <a:cubicBezTo>
                    <a:pt x="157" y="250"/>
                    <a:pt x="190" y="237"/>
                    <a:pt x="213" y="214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48">
              <a:extLst>
                <a:ext uri="{FF2B5EF4-FFF2-40B4-BE49-F238E27FC236}">
                  <a16:creationId xmlns:a16="http://schemas.microsoft.com/office/drawing/2014/main" id="{66F916F1-6758-4642-8D50-AD36730512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2" y="1299"/>
              <a:ext cx="536" cy="536"/>
            </a:xfrm>
            <a:custGeom>
              <a:avLst/>
              <a:gdLst>
                <a:gd name="T0" fmla="*/ 3503 w 3948"/>
                <a:gd name="T1" fmla="*/ 1345 h 3948"/>
                <a:gd name="T2" fmla="*/ 3604 w 3948"/>
                <a:gd name="T3" fmla="*/ 989 h 3948"/>
                <a:gd name="T4" fmla="*/ 3047 w 3948"/>
                <a:gd name="T5" fmla="*/ 308 h 3948"/>
                <a:gd name="T6" fmla="*/ 2609 w 3948"/>
                <a:gd name="T7" fmla="*/ 447 h 3948"/>
                <a:gd name="T8" fmla="*/ 2430 w 3948"/>
                <a:gd name="T9" fmla="*/ 125 h 3948"/>
                <a:gd name="T10" fmla="*/ 1518 w 3948"/>
                <a:gd name="T11" fmla="*/ 125 h 3948"/>
                <a:gd name="T12" fmla="*/ 1339 w 3948"/>
                <a:gd name="T13" fmla="*/ 448 h 3948"/>
                <a:gd name="T14" fmla="*/ 900 w 3948"/>
                <a:gd name="T15" fmla="*/ 308 h 3948"/>
                <a:gd name="T16" fmla="*/ 308 w 3948"/>
                <a:gd name="T17" fmla="*/ 900 h 3948"/>
                <a:gd name="T18" fmla="*/ 449 w 3948"/>
                <a:gd name="T19" fmla="*/ 1339 h 3948"/>
                <a:gd name="T20" fmla="*/ 125 w 3948"/>
                <a:gd name="T21" fmla="*/ 1518 h 3948"/>
                <a:gd name="T22" fmla="*/ 125 w 3948"/>
                <a:gd name="T23" fmla="*/ 2430 h 3948"/>
                <a:gd name="T24" fmla="*/ 449 w 3948"/>
                <a:gd name="T25" fmla="*/ 2608 h 3948"/>
                <a:gd name="T26" fmla="*/ 308 w 3948"/>
                <a:gd name="T27" fmla="*/ 3048 h 3948"/>
                <a:gd name="T28" fmla="*/ 901 w 3948"/>
                <a:gd name="T29" fmla="*/ 3640 h 3948"/>
                <a:gd name="T30" fmla="*/ 1340 w 3948"/>
                <a:gd name="T31" fmla="*/ 3499 h 3948"/>
                <a:gd name="T32" fmla="*/ 1518 w 3948"/>
                <a:gd name="T33" fmla="*/ 3823 h 3948"/>
                <a:gd name="T34" fmla="*/ 2430 w 3948"/>
                <a:gd name="T35" fmla="*/ 3823 h 3948"/>
                <a:gd name="T36" fmla="*/ 2609 w 3948"/>
                <a:gd name="T37" fmla="*/ 3499 h 3948"/>
                <a:gd name="T38" fmla="*/ 3136 w 3948"/>
                <a:gd name="T39" fmla="*/ 3604 h 3948"/>
                <a:gd name="T40" fmla="*/ 3604 w 3948"/>
                <a:gd name="T41" fmla="*/ 2959 h 3948"/>
                <a:gd name="T42" fmla="*/ 3503 w 3948"/>
                <a:gd name="T43" fmla="*/ 2603 h 3948"/>
                <a:gd name="T44" fmla="*/ 3948 w 3948"/>
                <a:gd name="T45" fmla="*/ 2305 h 3948"/>
                <a:gd name="T46" fmla="*/ 1121 w 3948"/>
                <a:gd name="T47" fmla="*/ 3236 h 3948"/>
                <a:gd name="T48" fmla="*/ 607 w 3948"/>
                <a:gd name="T49" fmla="*/ 3045 h 3948"/>
                <a:gd name="T50" fmla="*/ 1204 w 3948"/>
                <a:gd name="T51" fmla="*/ 2347 h 3948"/>
                <a:gd name="T52" fmla="*/ 2068 w 3948"/>
                <a:gd name="T53" fmla="*/ 1211 h 3948"/>
                <a:gd name="T54" fmla="*/ 1769 w 3948"/>
                <a:gd name="T55" fmla="*/ 2094 h 3948"/>
                <a:gd name="T56" fmla="*/ 2378 w 3948"/>
                <a:gd name="T57" fmla="*/ 2252 h 3948"/>
                <a:gd name="T58" fmla="*/ 1733 w 3948"/>
                <a:gd name="T59" fmla="*/ 2718 h 3948"/>
                <a:gd name="T60" fmla="*/ 3698 w 3948"/>
                <a:gd name="T61" fmla="*/ 2183 h 3948"/>
                <a:gd name="T62" fmla="*/ 3341 w 3948"/>
                <a:gd name="T63" fmla="*/ 3045 h 3948"/>
                <a:gd name="T64" fmla="*/ 2508 w 3948"/>
                <a:gd name="T65" fmla="*/ 3270 h 3948"/>
                <a:gd name="T66" fmla="*/ 1441 w 3948"/>
                <a:gd name="T67" fmla="*/ 3270 h 3948"/>
                <a:gd name="T68" fmla="*/ 2924 w 3948"/>
                <a:gd name="T69" fmla="*/ 1599 h 3948"/>
                <a:gd name="T70" fmla="*/ 2251 w 3948"/>
                <a:gd name="T71" fmla="*/ 2026 h 3948"/>
                <a:gd name="T72" fmla="*/ 2398 w 3948"/>
                <a:gd name="T73" fmla="*/ 1234 h 3948"/>
                <a:gd name="T74" fmla="*/ 1247 w 3948"/>
                <a:gd name="T75" fmla="*/ 1255 h 3948"/>
                <a:gd name="T76" fmla="*/ 680 w 3948"/>
                <a:gd name="T77" fmla="*/ 2512 h 3948"/>
                <a:gd name="T78" fmla="*/ 250 w 3948"/>
                <a:gd name="T79" fmla="*/ 1765 h 3948"/>
                <a:gd name="T80" fmla="*/ 607 w 3948"/>
                <a:gd name="T81" fmla="*/ 903 h 3948"/>
                <a:gd name="T82" fmla="*/ 1440 w 3948"/>
                <a:gd name="T83" fmla="*/ 676 h 3948"/>
                <a:gd name="T84" fmla="*/ 2509 w 3948"/>
                <a:gd name="T85" fmla="*/ 676 h 3948"/>
                <a:gd name="T86" fmla="*/ 3341 w 3948"/>
                <a:gd name="T87" fmla="*/ 903 h 3948"/>
                <a:gd name="T88" fmla="*/ 3272 w 3948"/>
                <a:gd name="T89" fmla="*/ 1439 h 3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948" h="3948">
                  <a:moveTo>
                    <a:pt x="3823" y="1518"/>
                  </a:moveTo>
                  <a:lnTo>
                    <a:pt x="3759" y="1518"/>
                  </a:lnTo>
                  <a:cubicBezTo>
                    <a:pt x="3647" y="1518"/>
                    <a:pt x="3547" y="1450"/>
                    <a:pt x="3503" y="1345"/>
                  </a:cubicBezTo>
                  <a:lnTo>
                    <a:pt x="3501" y="1339"/>
                  </a:lnTo>
                  <a:cubicBezTo>
                    <a:pt x="3457" y="1233"/>
                    <a:pt x="3480" y="1113"/>
                    <a:pt x="3559" y="1034"/>
                  </a:cubicBezTo>
                  <a:lnTo>
                    <a:pt x="3604" y="989"/>
                  </a:lnTo>
                  <a:cubicBezTo>
                    <a:pt x="3652" y="940"/>
                    <a:pt x="3652" y="861"/>
                    <a:pt x="3604" y="812"/>
                  </a:cubicBezTo>
                  <a:lnTo>
                    <a:pt x="3136" y="344"/>
                  </a:lnTo>
                  <a:cubicBezTo>
                    <a:pt x="3112" y="321"/>
                    <a:pt x="3081" y="308"/>
                    <a:pt x="3047" y="308"/>
                  </a:cubicBezTo>
                  <a:cubicBezTo>
                    <a:pt x="3014" y="308"/>
                    <a:pt x="2983" y="321"/>
                    <a:pt x="2959" y="344"/>
                  </a:cubicBezTo>
                  <a:lnTo>
                    <a:pt x="2914" y="389"/>
                  </a:lnTo>
                  <a:cubicBezTo>
                    <a:pt x="2835" y="468"/>
                    <a:pt x="2715" y="491"/>
                    <a:pt x="2609" y="447"/>
                  </a:cubicBezTo>
                  <a:lnTo>
                    <a:pt x="2604" y="445"/>
                  </a:lnTo>
                  <a:cubicBezTo>
                    <a:pt x="2498" y="401"/>
                    <a:pt x="2430" y="301"/>
                    <a:pt x="2430" y="189"/>
                  </a:cubicBezTo>
                  <a:lnTo>
                    <a:pt x="2430" y="125"/>
                  </a:lnTo>
                  <a:cubicBezTo>
                    <a:pt x="2430" y="56"/>
                    <a:pt x="2374" y="0"/>
                    <a:pt x="2305" y="0"/>
                  </a:cubicBezTo>
                  <a:lnTo>
                    <a:pt x="1643" y="0"/>
                  </a:lnTo>
                  <a:cubicBezTo>
                    <a:pt x="1574" y="0"/>
                    <a:pt x="1518" y="56"/>
                    <a:pt x="1518" y="125"/>
                  </a:cubicBezTo>
                  <a:lnTo>
                    <a:pt x="1518" y="190"/>
                  </a:lnTo>
                  <a:cubicBezTo>
                    <a:pt x="1518" y="301"/>
                    <a:pt x="1450" y="402"/>
                    <a:pt x="1345" y="445"/>
                  </a:cubicBezTo>
                  <a:lnTo>
                    <a:pt x="1339" y="448"/>
                  </a:lnTo>
                  <a:cubicBezTo>
                    <a:pt x="1233" y="492"/>
                    <a:pt x="1114" y="469"/>
                    <a:pt x="1035" y="390"/>
                  </a:cubicBezTo>
                  <a:lnTo>
                    <a:pt x="989" y="344"/>
                  </a:lnTo>
                  <a:cubicBezTo>
                    <a:pt x="965" y="321"/>
                    <a:pt x="934" y="308"/>
                    <a:pt x="900" y="308"/>
                  </a:cubicBezTo>
                  <a:cubicBezTo>
                    <a:pt x="867" y="308"/>
                    <a:pt x="835" y="321"/>
                    <a:pt x="812" y="344"/>
                  </a:cubicBezTo>
                  <a:lnTo>
                    <a:pt x="344" y="812"/>
                  </a:lnTo>
                  <a:cubicBezTo>
                    <a:pt x="321" y="836"/>
                    <a:pt x="308" y="867"/>
                    <a:pt x="308" y="900"/>
                  </a:cubicBezTo>
                  <a:cubicBezTo>
                    <a:pt x="308" y="934"/>
                    <a:pt x="321" y="965"/>
                    <a:pt x="344" y="989"/>
                  </a:cubicBezTo>
                  <a:lnTo>
                    <a:pt x="391" y="1036"/>
                  </a:lnTo>
                  <a:cubicBezTo>
                    <a:pt x="470" y="1114"/>
                    <a:pt x="492" y="1234"/>
                    <a:pt x="449" y="1339"/>
                  </a:cubicBezTo>
                  <a:lnTo>
                    <a:pt x="446" y="1345"/>
                  </a:lnTo>
                  <a:cubicBezTo>
                    <a:pt x="403" y="1450"/>
                    <a:pt x="303" y="1518"/>
                    <a:pt x="191" y="1518"/>
                  </a:cubicBezTo>
                  <a:lnTo>
                    <a:pt x="125" y="1518"/>
                  </a:lnTo>
                  <a:cubicBezTo>
                    <a:pt x="56" y="1518"/>
                    <a:pt x="0" y="1574"/>
                    <a:pt x="0" y="1643"/>
                  </a:cubicBezTo>
                  <a:lnTo>
                    <a:pt x="0" y="2305"/>
                  </a:lnTo>
                  <a:cubicBezTo>
                    <a:pt x="0" y="2374"/>
                    <a:pt x="56" y="2430"/>
                    <a:pt x="125" y="2430"/>
                  </a:cubicBezTo>
                  <a:lnTo>
                    <a:pt x="192" y="2430"/>
                  </a:lnTo>
                  <a:cubicBezTo>
                    <a:pt x="304" y="2430"/>
                    <a:pt x="404" y="2498"/>
                    <a:pt x="447" y="2603"/>
                  </a:cubicBezTo>
                  <a:lnTo>
                    <a:pt x="449" y="2608"/>
                  </a:lnTo>
                  <a:cubicBezTo>
                    <a:pt x="493" y="2714"/>
                    <a:pt x="471" y="2833"/>
                    <a:pt x="392" y="2912"/>
                  </a:cubicBezTo>
                  <a:lnTo>
                    <a:pt x="344" y="2959"/>
                  </a:lnTo>
                  <a:cubicBezTo>
                    <a:pt x="321" y="2983"/>
                    <a:pt x="308" y="3014"/>
                    <a:pt x="308" y="3048"/>
                  </a:cubicBezTo>
                  <a:cubicBezTo>
                    <a:pt x="308" y="3081"/>
                    <a:pt x="321" y="3112"/>
                    <a:pt x="344" y="3136"/>
                  </a:cubicBezTo>
                  <a:lnTo>
                    <a:pt x="812" y="3604"/>
                  </a:lnTo>
                  <a:cubicBezTo>
                    <a:pt x="836" y="3627"/>
                    <a:pt x="867" y="3640"/>
                    <a:pt x="901" y="3640"/>
                  </a:cubicBezTo>
                  <a:cubicBezTo>
                    <a:pt x="934" y="3640"/>
                    <a:pt x="965" y="3627"/>
                    <a:pt x="989" y="3604"/>
                  </a:cubicBezTo>
                  <a:lnTo>
                    <a:pt x="1036" y="3556"/>
                  </a:lnTo>
                  <a:cubicBezTo>
                    <a:pt x="1115" y="3477"/>
                    <a:pt x="1234" y="3455"/>
                    <a:pt x="1340" y="3499"/>
                  </a:cubicBezTo>
                  <a:lnTo>
                    <a:pt x="1345" y="3501"/>
                  </a:lnTo>
                  <a:cubicBezTo>
                    <a:pt x="1450" y="3544"/>
                    <a:pt x="1518" y="3644"/>
                    <a:pt x="1518" y="3756"/>
                  </a:cubicBezTo>
                  <a:lnTo>
                    <a:pt x="1518" y="3823"/>
                  </a:lnTo>
                  <a:cubicBezTo>
                    <a:pt x="1518" y="3892"/>
                    <a:pt x="1574" y="3948"/>
                    <a:pt x="1643" y="3948"/>
                  </a:cubicBezTo>
                  <a:lnTo>
                    <a:pt x="2305" y="3948"/>
                  </a:lnTo>
                  <a:cubicBezTo>
                    <a:pt x="2374" y="3948"/>
                    <a:pt x="2430" y="3892"/>
                    <a:pt x="2430" y="3823"/>
                  </a:cubicBezTo>
                  <a:lnTo>
                    <a:pt x="2430" y="3757"/>
                  </a:lnTo>
                  <a:cubicBezTo>
                    <a:pt x="2430" y="3645"/>
                    <a:pt x="2498" y="3545"/>
                    <a:pt x="2604" y="3501"/>
                  </a:cubicBezTo>
                  <a:lnTo>
                    <a:pt x="2609" y="3499"/>
                  </a:lnTo>
                  <a:cubicBezTo>
                    <a:pt x="2714" y="3456"/>
                    <a:pt x="2834" y="3478"/>
                    <a:pt x="2912" y="3557"/>
                  </a:cubicBezTo>
                  <a:lnTo>
                    <a:pt x="2959" y="3604"/>
                  </a:lnTo>
                  <a:cubicBezTo>
                    <a:pt x="3008" y="3652"/>
                    <a:pt x="3087" y="3652"/>
                    <a:pt x="3136" y="3604"/>
                  </a:cubicBezTo>
                  <a:lnTo>
                    <a:pt x="3604" y="3136"/>
                  </a:lnTo>
                  <a:cubicBezTo>
                    <a:pt x="3627" y="3112"/>
                    <a:pt x="3640" y="3081"/>
                    <a:pt x="3640" y="3048"/>
                  </a:cubicBezTo>
                  <a:cubicBezTo>
                    <a:pt x="3640" y="3014"/>
                    <a:pt x="3627" y="2983"/>
                    <a:pt x="3604" y="2959"/>
                  </a:cubicBezTo>
                  <a:lnTo>
                    <a:pt x="3558" y="2913"/>
                  </a:lnTo>
                  <a:cubicBezTo>
                    <a:pt x="3479" y="2834"/>
                    <a:pt x="3456" y="2715"/>
                    <a:pt x="3501" y="2609"/>
                  </a:cubicBezTo>
                  <a:lnTo>
                    <a:pt x="3503" y="2603"/>
                  </a:lnTo>
                  <a:cubicBezTo>
                    <a:pt x="3546" y="2498"/>
                    <a:pt x="3647" y="2430"/>
                    <a:pt x="3758" y="2430"/>
                  </a:cubicBezTo>
                  <a:lnTo>
                    <a:pt x="3823" y="2430"/>
                  </a:lnTo>
                  <a:cubicBezTo>
                    <a:pt x="3892" y="2430"/>
                    <a:pt x="3948" y="2374"/>
                    <a:pt x="3948" y="2305"/>
                  </a:cubicBezTo>
                  <a:lnTo>
                    <a:pt x="3948" y="1643"/>
                  </a:lnTo>
                  <a:cubicBezTo>
                    <a:pt x="3948" y="1574"/>
                    <a:pt x="3892" y="1518"/>
                    <a:pt x="3823" y="1518"/>
                  </a:cubicBezTo>
                  <a:close/>
                  <a:moveTo>
                    <a:pt x="1121" y="3236"/>
                  </a:moveTo>
                  <a:cubicBezTo>
                    <a:pt x="1120" y="3237"/>
                    <a:pt x="1119" y="3238"/>
                    <a:pt x="1119" y="3238"/>
                  </a:cubicBezTo>
                  <a:cubicBezTo>
                    <a:pt x="1041" y="3255"/>
                    <a:pt x="967" y="3290"/>
                    <a:pt x="903" y="3341"/>
                  </a:cubicBezTo>
                  <a:lnTo>
                    <a:pt x="607" y="3045"/>
                  </a:lnTo>
                  <a:cubicBezTo>
                    <a:pt x="655" y="2986"/>
                    <a:pt x="688" y="2917"/>
                    <a:pt x="706" y="2845"/>
                  </a:cubicBezTo>
                  <a:cubicBezTo>
                    <a:pt x="708" y="2843"/>
                    <a:pt x="711" y="2840"/>
                    <a:pt x="713" y="2838"/>
                  </a:cubicBezTo>
                  <a:lnTo>
                    <a:pt x="1204" y="2347"/>
                  </a:lnTo>
                  <a:cubicBezTo>
                    <a:pt x="1237" y="2314"/>
                    <a:pt x="1249" y="2265"/>
                    <a:pt x="1234" y="2220"/>
                  </a:cubicBezTo>
                  <a:cubicBezTo>
                    <a:pt x="1144" y="1941"/>
                    <a:pt x="1216" y="1639"/>
                    <a:pt x="1424" y="1432"/>
                  </a:cubicBezTo>
                  <a:cubicBezTo>
                    <a:pt x="1596" y="1260"/>
                    <a:pt x="1834" y="1181"/>
                    <a:pt x="2068" y="1211"/>
                  </a:cubicBezTo>
                  <a:lnTo>
                    <a:pt x="1702" y="1577"/>
                  </a:lnTo>
                  <a:cubicBezTo>
                    <a:pt x="1671" y="1608"/>
                    <a:pt x="1658" y="1653"/>
                    <a:pt x="1669" y="1695"/>
                  </a:cubicBezTo>
                  <a:lnTo>
                    <a:pt x="1769" y="2094"/>
                  </a:lnTo>
                  <a:cubicBezTo>
                    <a:pt x="1780" y="2139"/>
                    <a:pt x="1815" y="2174"/>
                    <a:pt x="1860" y="2185"/>
                  </a:cubicBezTo>
                  <a:lnTo>
                    <a:pt x="2259" y="2285"/>
                  </a:lnTo>
                  <a:cubicBezTo>
                    <a:pt x="2301" y="2296"/>
                    <a:pt x="2346" y="2283"/>
                    <a:pt x="2378" y="2252"/>
                  </a:cubicBezTo>
                  <a:lnTo>
                    <a:pt x="2742" y="1888"/>
                  </a:lnTo>
                  <a:cubicBezTo>
                    <a:pt x="2770" y="2121"/>
                    <a:pt x="2691" y="2358"/>
                    <a:pt x="2520" y="2529"/>
                  </a:cubicBezTo>
                  <a:cubicBezTo>
                    <a:pt x="2314" y="2735"/>
                    <a:pt x="2012" y="2808"/>
                    <a:pt x="1733" y="2718"/>
                  </a:cubicBezTo>
                  <a:cubicBezTo>
                    <a:pt x="1684" y="2703"/>
                    <a:pt x="1632" y="2719"/>
                    <a:pt x="1600" y="2757"/>
                  </a:cubicBezTo>
                  <a:lnTo>
                    <a:pt x="1121" y="3236"/>
                  </a:lnTo>
                  <a:close/>
                  <a:moveTo>
                    <a:pt x="3698" y="2183"/>
                  </a:moveTo>
                  <a:cubicBezTo>
                    <a:pt x="3509" y="2205"/>
                    <a:pt x="3346" y="2327"/>
                    <a:pt x="3272" y="2508"/>
                  </a:cubicBezTo>
                  <a:lnTo>
                    <a:pt x="3270" y="2513"/>
                  </a:lnTo>
                  <a:cubicBezTo>
                    <a:pt x="3194" y="2693"/>
                    <a:pt x="3223" y="2896"/>
                    <a:pt x="3341" y="3045"/>
                  </a:cubicBezTo>
                  <a:lnTo>
                    <a:pt x="3045" y="3341"/>
                  </a:lnTo>
                  <a:cubicBezTo>
                    <a:pt x="2897" y="3222"/>
                    <a:pt x="2694" y="3193"/>
                    <a:pt x="2512" y="3269"/>
                  </a:cubicBezTo>
                  <a:lnTo>
                    <a:pt x="2508" y="3270"/>
                  </a:lnTo>
                  <a:cubicBezTo>
                    <a:pt x="2327" y="3345"/>
                    <a:pt x="2204" y="3509"/>
                    <a:pt x="2183" y="3698"/>
                  </a:cubicBezTo>
                  <a:lnTo>
                    <a:pt x="1765" y="3698"/>
                  </a:lnTo>
                  <a:cubicBezTo>
                    <a:pt x="1744" y="3509"/>
                    <a:pt x="1622" y="3345"/>
                    <a:pt x="1441" y="3270"/>
                  </a:cubicBezTo>
                  <a:lnTo>
                    <a:pt x="1733" y="2978"/>
                  </a:lnTo>
                  <a:cubicBezTo>
                    <a:pt x="2079" y="3061"/>
                    <a:pt x="2442" y="2960"/>
                    <a:pt x="2697" y="2706"/>
                  </a:cubicBezTo>
                  <a:cubicBezTo>
                    <a:pt x="2988" y="2415"/>
                    <a:pt x="3077" y="1980"/>
                    <a:pt x="2924" y="1599"/>
                  </a:cubicBezTo>
                  <a:cubicBezTo>
                    <a:pt x="2908" y="1560"/>
                    <a:pt x="2874" y="1531"/>
                    <a:pt x="2833" y="1523"/>
                  </a:cubicBezTo>
                  <a:cubicBezTo>
                    <a:pt x="2792" y="1514"/>
                    <a:pt x="2749" y="1527"/>
                    <a:pt x="2720" y="1557"/>
                  </a:cubicBezTo>
                  <a:lnTo>
                    <a:pt x="2251" y="2026"/>
                  </a:lnTo>
                  <a:lnTo>
                    <a:pt x="1993" y="1961"/>
                  </a:lnTo>
                  <a:lnTo>
                    <a:pt x="1929" y="1703"/>
                  </a:lnTo>
                  <a:lnTo>
                    <a:pt x="2398" y="1234"/>
                  </a:lnTo>
                  <a:cubicBezTo>
                    <a:pt x="2428" y="1204"/>
                    <a:pt x="2441" y="1162"/>
                    <a:pt x="2432" y="1121"/>
                  </a:cubicBezTo>
                  <a:cubicBezTo>
                    <a:pt x="2424" y="1079"/>
                    <a:pt x="2395" y="1045"/>
                    <a:pt x="2357" y="1030"/>
                  </a:cubicBezTo>
                  <a:cubicBezTo>
                    <a:pt x="1974" y="875"/>
                    <a:pt x="1539" y="964"/>
                    <a:pt x="1247" y="1255"/>
                  </a:cubicBezTo>
                  <a:cubicBezTo>
                    <a:pt x="991" y="1511"/>
                    <a:pt x="891" y="1875"/>
                    <a:pt x="975" y="2222"/>
                  </a:cubicBezTo>
                  <a:lnTo>
                    <a:pt x="682" y="2516"/>
                  </a:lnTo>
                  <a:cubicBezTo>
                    <a:pt x="681" y="2515"/>
                    <a:pt x="680" y="2513"/>
                    <a:pt x="680" y="2512"/>
                  </a:cubicBezTo>
                  <a:lnTo>
                    <a:pt x="678" y="2507"/>
                  </a:lnTo>
                  <a:cubicBezTo>
                    <a:pt x="604" y="2327"/>
                    <a:pt x="439" y="2204"/>
                    <a:pt x="250" y="2183"/>
                  </a:cubicBezTo>
                  <a:lnTo>
                    <a:pt x="250" y="1765"/>
                  </a:lnTo>
                  <a:cubicBezTo>
                    <a:pt x="439" y="1744"/>
                    <a:pt x="603" y="1621"/>
                    <a:pt x="678" y="1440"/>
                  </a:cubicBezTo>
                  <a:lnTo>
                    <a:pt x="679" y="1435"/>
                  </a:lnTo>
                  <a:cubicBezTo>
                    <a:pt x="755" y="1254"/>
                    <a:pt x="726" y="1051"/>
                    <a:pt x="607" y="903"/>
                  </a:cubicBezTo>
                  <a:lnTo>
                    <a:pt x="903" y="607"/>
                  </a:lnTo>
                  <a:cubicBezTo>
                    <a:pt x="1052" y="725"/>
                    <a:pt x="1255" y="754"/>
                    <a:pt x="1436" y="678"/>
                  </a:cubicBezTo>
                  <a:lnTo>
                    <a:pt x="1440" y="676"/>
                  </a:lnTo>
                  <a:cubicBezTo>
                    <a:pt x="1621" y="602"/>
                    <a:pt x="1743" y="439"/>
                    <a:pt x="1765" y="250"/>
                  </a:cubicBezTo>
                  <a:lnTo>
                    <a:pt x="2183" y="250"/>
                  </a:lnTo>
                  <a:cubicBezTo>
                    <a:pt x="2205" y="438"/>
                    <a:pt x="2328" y="602"/>
                    <a:pt x="2509" y="676"/>
                  </a:cubicBezTo>
                  <a:lnTo>
                    <a:pt x="2513" y="678"/>
                  </a:lnTo>
                  <a:cubicBezTo>
                    <a:pt x="2694" y="753"/>
                    <a:pt x="2896" y="724"/>
                    <a:pt x="3045" y="607"/>
                  </a:cubicBezTo>
                  <a:lnTo>
                    <a:pt x="3341" y="903"/>
                  </a:lnTo>
                  <a:cubicBezTo>
                    <a:pt x="3224" y="1052"/>
                    <a:pt x="3195" y="1254"/>
                    <a:pt x="3270" y="1435"/>
                  </a:cubicBezTo>
                  <a:cubicBezTo>
                    <a:pt x="3270" y="1435"/>
                    <a:pt x="3271" y="1436"/>
                    <a:pt x="3271" y="1436"/>
                  </a:cubicBezTo>
                  <a:lnTo>
                    <a:pt x="3272" y="1439"/>
                  </a:lnTo>
                  <a:cubicBezTo>
                    <a:pt x="3346" y="1620"/>
                    <a:pt x="3510" y="1743"/>
                    <a:pt x="3698" y="1765"/>
                  </a:cubicBezTo>
                  <a:lnTo>
                    <a:pt x="3698" y="218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49">
              <a:extLst>
                <a:ext uri="{FF2B5EF4-FFF2-40B4-BE49-F238E27FC236}">
                  <a16:creationId xmlns:a16="http://schemas.microsoft.com/office/drawing/2014/main" id="{96BB2D54-7EB6-4095-92AE-B34608654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3" y="1968"/>
              <a:ext cx="34" cy="34"/>
            </a:xfrm>
            <a:custGeom>
              <a:avLst/>
              <a:gdLst>
                <a:gd name="T0" fmla="*/ 213 w 250"/>
                <a:gd name="T1" fmla="*/ 37 h 250"/>
                <a:gd name="T2" fmla="*/ 125 w 250"/>
                <a:gd name="T3" fmla="*/ 0 h 250"/>
                <a:gd name="T4" fmla="*/ 36 w 250"/>
                <a:gd name="T5" fmla="*/ 37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7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7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7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7"/>
                    <a:pt x="92" y="250"/>
                    <a:pt x="125" y="250"/>
                  </a:cubicBezTo>
                  <a:cubicBezTo>
                    <a:pt x="158" y="250"/>
                    <a:pt x="190" y="237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C8EB6E6-3B50-4499-9B68-7D26C4ACD4C4}"/>
              </a:ext>
            </a:extLst>
          </p:cNvPr>
          <p:cNvGrpSpPr/>
          <p:nvPr/>
        </p:nvGrpSpPr>
        <p:grpSpPr>
          <a:xfrm>
            <a:off x="4762383" y="2178924"/>
            <a:ext cx="409599" cy="411144"/>
            <a:chOff x="10255959" y="2332038"/>
            <a:chExt cx="350838" cy="373063"/>
          </a:xfrm>
          <a:solidFill>
            <a:srgbClr val="130A65"/>
          </a:solidFill>
        </p:grpSpPr>
        <p:sp>
          <p:nvSpPr>
            <p:cNvPr id="41" name="Freeform 48">
              <a:extLst>
                <a:ext uri="{FF2B5EF4-FFF2-40B4-BE49-F238E27FC236}">
                  <a16:creationId xmlns:a16="http://schemas.microsoft.com/office/drawing/2014/main" id="{98DB317E-A689-4296-A7E3-8F5932F6E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67097" y="2555876"/>
              <a:ext cx="49213" cy="12700"/>
            </a:xfrm>
            <a:custGeom>
              <a:avLst/>
              <a:gdLst>
                <a:gd name="T0" fmla="*/ 911 w 911"/>
                <a:gd name="T1" fmla="*/ 113 h 227"/>
                <a:gd name="T2" fmla="*/ 797 w 911"/>
                <a:gd name="T3" fmla="*/ 0 h 227"/>
                <a:gd name="T4" fmla="*/ 114 w 911"/>
                <a:gd name="T5" fmla="*/ 0 h 227"/>
                <a:gd name="T6" fmla="*/ 0 w 911"/>
                <a:gd name="T7" fmla="*/ 113 h 227"/>
                <a:gd name="T8" fmla="*/ 114 w 911"/>
                <a:gd name="T9" fmla="*/ 227 h 227"/>
                <a:gd name="T10" fmla="*/ 797 w 911"/>
                <a:gd name="T11" fmla="*/ 227 h 227"/>
                <a:gd name="T12" fmla="*/ 911 w 911"/>
                <a:gd name="T13" fmla="*/ 11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1" h="227">
                  <a:moveTo>
                    <a:pt x="911" y="113"/>
                  </a:moveTo>
                  <a:cubicBezTo>
                    <a:pt x="911" y="51"/>
                    <a:pt x="860" y="0"/>
                    <a:pt x="797" y="0"/>
                  </a:cubicBezTo>
                  <a:lnTo>
                    <a:pt x="114" y="0"/>
                  </a:lnTo>
                  <a:cubicBezTo>
                    <a:pt x="51" y="0"/>
                    <a:pt x="0" y="51"/>
                    <a:pt x="0" y="113"/>
                  </a:cubicBezTo>
                  <a:cubicBezTo>
                    <a:pt x="0" y="176"/>
                    <a:pt x="51" y="227"/>
                    <a:pt x="114" y="227"/>
                  </a:cubicBezTo>
                  <a:lnTo>
                    <a:pt x="797" y="227"/>
                  </a:lnTo>
                  <a:cubicBezTo>
                    <a:pt x="860" y="227"/>
                    <a:pt x="911" y="176"/>
                    <a:pt x="911" y="1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49">
              <a:extLst>
                <a:ext uri="{FF2B5EF4-FFF2-40B4-BE49-F238E27FC236}">
                  <a16:creationId xmlns:a16="http://schemas.microsoft.com/office/drawing/2014/main" id="{2475F112-13C5-46BD-AF15-779EACCAF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9797" y="2363788"/>
              <a:ext cx="98425" cy="192088"/>
            </a:xfrm>
            <a:custGeom>
              <a:avLst/>
              <a:gdLst>
                <a:gd name="T0" fmla="*/ 228 w 1820"/>
                <a:gd name="T1" fmla="*/ 682 h 3527"/>
                <a:gd name="T2" fmla="*/ 228 w 1820"/>
                <a:gd name="T3" fmla="*/ 113 h 3527"/>
                <a:gd name="T4" fmla="*/ 114 w 1820"/>
                <a:gd name="T5" fmla="*/ 0 h 3527"/>
                <a:gd name="T6" fmla="*/ 0 w 1820"/>
                <a:gd name="T7" fmla="*/ 113 h 3527"/>
                <a:gd name="T8" fmla="*/ 0 w 1820"/>
                <a:gd name="T9" fmla="*/ 682 h 3527"/>
                <a:gd name="T10" fmla="*/ 569 w 1820"/>
                <a:gd name="T11" fmla="*/ 1251 h 3527"/>
                <a:gd name="T12" fmla="*/ 1593 w 1820"/>
                <a:gd name="T13" fmla="*/ 1251 h 3527"/>
                <a:gd name="T14" fmla="*/ 1593 w 1820"/>
                <a:gd name="T15" fmla="*/ 3413 h 3527"/>
                <a:gd name="T16" fmla="*/ 1707 w 1820"/>
                <a:gd name="T17" fmla="*/ 3527 h 3527"/>
                <a:gd name="T18" fmla="*/ 1820 w 1820"/>
                <a:gd name="T19" fmla="*/ 3413 h 3527"/>
                <a:gd name="T20" fmla="*/ 1820 w 1820"/>
                <a:gd name="T21" fmla="*/ 1137 h 3527"/>
                <a:gd name="T22" fmla="*/ 1707 w 1820"/>
                <a:gd name="T23" fmla="*/ 1024 h 3527"/>
                <a:gd name="T24" fmla="*/ 569 w 1820"/>
                <a:gd name="T25" fmla="*/ 1024 h 3527"/>
                <a:gd name="T26" fmla="*/ 228 w 1820"/>
                <a:gd name="T27" fmla="*/ 682 h 3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20" h="3527">
                  <a:moveTo>
                    <a:pt x="228" y="682"/>
                  </a:moveTo>
                  <a:lnTo>
                    <a:pt x="228" y="113"/>
                  </a:lnTo>
                  <a:cubicBezTo>
                    <a:pt x="228" y="51"/>
                    <a:pt x="177" y="0"/>
                    <a:pt x="114" y="0"/>
                  </a:cubicBezTo>
                  <a:cubicBezTo>
                    <a:pt x="51" y="0"/>
                    <a:pt x="0" y="51"/>
                    <a:pt x="0" y="113"/>
                  </a:cubicBezTo>
                  <a:lnTo>
                    <a:pt x="0" y="682"/>
                  </a:lnTo>
                  <a:cubicBezTo>
                    <a:pt x="0" y="996"/>
                    <a:pt x="255" y="1251"/>
                    <a:pt x="569" y="1251"/>
                  </a:cubicBezTo>
                  <a:lnTo>
                    <a:pt x="1593" y="1251"/>
                  </a:lnTo>
                  <a:lnTo>
                    <a:pt x="1593" y="3413"/>
                  </a:lnTo>
                  <a:cubicBezTo>
                    <a:pt x="1593" y="3476"/>
                    <a:pt x="1644" y="3527"/>
                    <a:pt x="1707" y="3527"/>
                  </a:cubicBezTo>
                  <a:cubicBezTo>
                    <a:pt x="1769" y="3527"/>
                    <a:pt x="1820" y="3476"/>
                    <a:pt x="1820" y="3413"/>
                  </a:cubicBezTo>
                  <a:lnTo>
                    <a:pt x="1820" y="1137"/>
                  </a:lnTo>
                  <a:cubicBezTo>
                    <a:pt x="1820" y="1075"/>
                    <a:pt x="1769" y="1024"/>
                    <a:pt x="1707" y="1024"/>
                  </a:cubicBezTo>
                  <a:lnTo>
                    <a:pt x="569" y="1024"/>
                  </a:lnTo>
                  <a:cubicBezTo>
                    <a:pt x="381" y="1024"/>
                    <a:pt x="228" y="870"/>
                    <a:pt x="228" y="6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50">
              <a:extLst>
                <a:ext uri="{FF2B5EF4-FFF2-40B4-BE49-F238E27FC236}">
                  <a16:creationId xmlns:a16="http://schemas.microsoft.com/office/drawing/2014/main" id="{796B6FB4-903B-4E66-BF89-A3A0DCC6E9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4397" y="2481263"/>
              <a:ext cx="61913" cy="12700"/>
            </a:xfrm>
            <a:custGeom>
              <a:avLst/>
              <a:gdLst>
                <a:gd name="T0" fmla="*/ 1024 w 1138"/>
                <a:gd name="T1" fmla="*/ 0 h 228"/>
                <a:gd name="T2" fmla="*/ 114 w 1138"/>
                <a:gd name="T3" fmla="*/ 0 h 228"/>
                <a:gd name="T4" fmla="*/ 0 w 1138"/>
                <a:gd name="T5" fmla="*/ 114 h 228"/>
                <a:gd name="T6" fmla="*/ 114 w 1138"/>
                <a:gd name="T7" fmla="*/ 228 h 228"/>
                <a:gd name="T8" fmla="*/ 1024 w 1138"/>
                <a:gd name="T9" fmla="*/ 228 h 228"/>
                <a:gd name="T10" fmla="*/ 1138 w 1138"/>
                <a:gd name="T11" fmla="*/ 114 h 228"/>
                <a:gd name="T12" fmla="*/ 1024 w 1138"/>
                <a:gd name="T13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8" h="228">
                  <a:moveTo>
                    <a:pt x="1024" y="0"/>
                  </a:moveTo>
                  <a:lnTo>
                    <a:pt x="114" y="0"/>
                  </a:lnTo>
                  <a:cubicBezTo>
                    <a:pt x="51" y="0"/>
                    <a:pt x="0" y="51"/>
                    <a:pt x="0" y="114"/>
                  </a:cubicBezTo>
                  <a:cubicBezTo>
                    <a:pt x="0" y="177"/>
                    <a:pt x="51" y="228"/>
                    <a:pt x="114" y="228"/>
                  </a:cubicBezTo>
                  <a:lnTo>
                    <a:pt x="1024" y="228"/>
                  </a:lnTo>
                  <a:cubicBezTo>
                    <a:pt x="1087" y="228"/>
                    <a:pt x="1138" y="177"/>
                    <a:pt x="1138" y="114"/>
                  </a:cubicBezTo>
                  <a:cubicBezTo>
                    <a:pt x="1138" y="51"/>
                    <a:pt x="1087" y="0"/>
                    <a:pt x="102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51">
              <a:extLst>
                <a:ext uri="{FF2B5EF4-FFF2-40B4-BE49-F238E27FC236}">
                  <a16:creationId xmlns:a16="http://schemas.microsoft.com/office/drawing/2014/main" id="{E91E0D34-C3DE-4F6F-9B04-EA2F63F19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2484" y="2481263"/>
              <a:ext cx="49213" cy="12700"/>
            </a:xfrm>
            <a:custGeom>
              <a:avLst/>
              <a:gdLst>
                <a:gd name="T0" fmla="*/ 910 w 910"/>
                <a:gd name="T1" fmla="*/ 114 h 228"/>
                <a:gd name="T2" fmla="*/ 797 w 910"/>
                <a:gd name="T3" fmla="*/ 0 h 228"/>
                <a:gd name="T4" fmla="*/ 114 w 910"/>
                <a:gd name="T5" fmla="*/ 0 h 228"/>
                <a:gd name="T6" fmla="*/ 0 w 910"/>
                <a:gd name="T7" fmla="*/ 114 h 228"/>
                <a:gd name="T8" fmla="*/ 114 w 910"/>
                <a:gd name="T9" fmla="*/ 228 h 228"/>
                <a:gd name="T10" fmla="*/ 797 w 910"/>
                <a:gd name="T11" fmla="*/ 228 h 228"/>
                <a:gd name="T12" fmla="*/ 910 w 910"/>
                <a:gd name="T13" fmla="*/ 11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0" h="228">
                  <a:moveTo>
                    <a:pt x="910" y="114"/>
                  </a:moveTo>
                  <a:cubicBezTo>
                    <a:pt x="910" y="51"/>
                    <a:pt x="859" y="0"/>
                    <a:pt x="797" y="0"/>
                  </a:cubicBezTo>
                  <a:lnTo>
                    <a:pt x="114" y="0"/>
                  </a:lnTo>
                  <a:cubicBezTo>
                    <a:pt x="51" y="0"/>
                    <a:pt x="0" y="51"/>
                    <a:pt x="0" y="114"/>
                  </a:cubicBezTo>
                  <a:cubicBezTo>
                    <a:pt x="0" y="177"/>
                    <a:pt x="51" y="228"/>
                    <a:pt x="114" y="228"/>
                  </a:cubicBezTo>
                  <a:lnTo>
                    <a:pt x="797" y="228"/>
                  </a:lnTo>
                  <a:cubicBezTo>
                    <a:pt x="859" y="228"/>
                    <a:pt x="910" y="177"/>
                    <a:pt x="910" y="1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52">
              <a:extLst>
                <a:ext uri="{FF2B5EF4-FFF2-40B4-BE49-F238E27FC236}">
                  <a16:creationId xmlns:a16="http://schemas.microsoft.com/office/drawing/2014/main" id="{FC1E6D41-8A15-47C0-947E-4DFBDBAE97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2484" y="2519363"/>
              <a:ext cx="25400" cy="12700"/>
            </a:xfrm>
            <a:custGeom>
              <a:avLst/>
              <a:gdLst>
                <a:gd name="T0" fmla="*/ 114 w 455"/>
                <a:gd name="T1" fmla="*/ 0 h 228"/>
                <a:gd name="T2" fmla="*/ 0 w 455"/>
                <a:gd name="T3" fmla="*/ 114 h 228"/>
                <a:gd name="T4" fmla="*/ 114 w 455"/>
                <a:gd name="T5" fmla="*/ 228 h 228"/>
                <a:gd name="T6" fmla="*/ 341 w 455"/>
                <a:gd name="T7" fmla="*/ 228 h 228"/>
                <a:gd name="T8" fmla="*/ 455 w 455"/>
                <a:gd name="T9" fmla="*/ 114 h 228"/>
                <a:gd name="T10" fmla="*/ 341 w 455"/>
                <a:gd name="T11" fmla="*/ 0 h 228"/>
                <a:gd name="T12" fmla="*/ 114 w 455"/>
                <a:gd name="T13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5" h="228">
                  <a:moveTo>
                    <a:pt x="114" y="0"/>
                  </a:moveTo>
                  <a:cubicBezTo>
                    <a:pt x="51" y="0"/>
                    <a:pt x="0" y="51"/>
                    <a:pt x="0" y="114"/>
                  </a:cubicBezTo>
                  <a:cubicBezTo>
                    <a:pt x="0" y="177"/>
                    <a:pt x="51" y="228"/>
                    <a:pt x="114" y="228"/>
                  </a:cubicBezTo>
                  <a:lnTo>
                    <a:pt x="341" y="228"/>
                  </a:lnTo>
                  <a:cubicBezTo>
                    <a:pt x="404" y="228"/>
                    <a:pt x="455" y="177"/>
                    <a:pt x="455" y="114"/>
                  </a:cubicBezTo>
                  <a:cubicBezTo>
                    <a:pt x="455" y="51"/>
                    <a:pt x="404" y="0"/>
                    <a:pt x="341" y="0"/>
                  </a:cubicBezTo>
                  <a:lnTo>
                    <a:pt x="1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53">
              <a:extLst>
                <a:ext uri="{FF2B5EF4-FFF2-40B4-BE49-F238E27FC236}">
                  <a16:creationId xmlns:a16="http://schemas.microsoft.com/office/drawing/2014/main" id="{F5B68459-C5C8-4DB8-B672-C1F776138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2484" y="2444751"/>
              <a:ext cx="74613" cy="12700"/>
            </a:xfrm>
            <a:custGeom>
              <a:avLst/>
              <a:gdLst>
                <a:gd name="T0" fmla="*/ 114 w 1365"/>
                <a:gd name="T1" fmla="*/ 227 h 227"/>
                <a:gd name="T2" fmla="*/ 1252 w 1365"/>
                <a:gd name="T3" fmla="*/ 227 h 227"/>
                <a:gd name="T4" fmla="*/ 1365 w 1365"/>
                <a:gd name="T5" fmla="*/ 113 h 227"/>
                <a:gd name="T6" fmla="*/ 1252 w 1365"/>
                <a:gd name="T7" fmla="*/ 0 h 227"/>
                <a:gd name="T8" fmla="*/ 114 w 1365"/>
                <a:gd name="T9" fmla="*/ 0 h 227"/>
                <a:gd name="T10" fmla="*/ 0 w 1365"/>
                <a:gd name="T11" fmla="*/ 113 h 227"/>
                <a:gd name="T12" fmla="*/ 114 w 1365"/>
                <a:gd name="T13" fmla="*/ 22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5" h="227">
                  <a:moveTo>
                    <a:pt x="114" y="227"/>
                  </a:moveTo>
                  <a:lnTo>
                    <a:pt x="1252" y="227"/>
                  </a:lnTo>
                  <a:cubicBezTo>
                    <a:pt x="1314" y="227"/>
                    <a:pt x="1365" y="176"/>
                    <a:pt x="1365" y="113"/>
                  </a:cubicBezTo>
                  <a:cubicBezTo>
                    <a:pt x="1365" y="51"/>
                    <a:pt x="1314" y="0"/>
                    <a:pt x="1252" y="0"/>
                  </a:cubicBezTo>
                  <a:lnTo>
                    <a:pt x="114" y="0"/>
                  </a:lnTo>
                  <a:cubicBezTo>
                    <a:pt x="51" y="0"/>
                    <a:pt x="0" y="51"/>
                    <a:pt x="0" y="113"/>
                  </a:cubicBezTo>
                  <a:cubicBezTo>
                    <a:pt x="0" y="176"/>
                    <a:pt x="51" y="227"/>
                    <a:pt x="114" y="2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54">
              <a:extLst>
                <a:ext uri="{FF2B5EF4-FFF2-40B4-BE49-F238E27FC236}">
                  <a16:creationId xmlns:a16="http://schemas.microsoft.com/office/drawing/2014/main" id="{599A9F1E-0A42-4EE7-97B6-D0A47C8F3C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0584" y="2519363"/>
              <a:ext cx="74613" cy="12700"/>
            </a:xfrm>
            <a:custGeom>
              <a:avLst/>
              <a:gdLst>
                <a:gd name="T0" fmla="*/ 114 w 1365"/>
                <a:gd name="T1" fmla="*/ 228 h 228"/>
                <a:gd name="T2" fmla="*/ 1251 w 1365"/>
                <a:gd name="T3" fmla="*/ 228 h 228"/>
                <a:gd name="T4" fmla="*/ 1365 w 1365"/>
                <a:gd name="T5" fmla="*/ 114 h 228"/>
                <a:gd name="T6" fmla="*/ 1251 w 1365"/>
                <a:gd name="T7" fmla="*/ 0 h 228"/>
                <a:gd name="T8" fmla="*/ 114 w 1365"/>
                <a:gd name="T9" fmla="*/ 0 h 228"/>
                <a:gd name="T10" fmla="*/ 0 w 1365"/>
                <a:gd name="T11" fmla="*/ 114 h 228"/>
                <a:gd name="T12" fmla="*/ 114 w 1365"/>
                <a:gd name="T13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5" h="228">
                  <a:moveTo>
                    <a:pt x="114" y="228"/>
                  </a:moveTo>
                  <a:lnTo>
                    <a:pt x="1251" y="228"/>
                  </a:lnTo>
                  <a:cubicBezTo>
                    <a:pt x="1314" y="228"/>
                    <a:pt x="1365" y="177"/>
                    <a:pt x="1365" y="114"/>
                  </a:cubicBezTo>
                  <a:cubicBezTo>
                    <a:pt x="1365" y="51"/>
                    <a:pt x="1314" y="0"/>
                    <a:pt x="1251" y="0"/>
                  </a:cubicBezTo>
                  <a:lnTo>
                    <a:pt x="114" y="0"/>
                  </a:lnTo>
                  <a:cubicBezTo>
                    <a:pt x="51" y="0"/>
                    <a:pt x="0" y="51"/>
                    <a:pt x="0" y="114"/>
                  </a:cubicBezTo>
                  <a:cubicBezTo>
                    <a:pt x="0" y="177"/>
                    <a:pt x="51" y="228"/>
                    <a:pt x="114" y="2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55">
              <a:extLst>
                <a:ext uri="{FF2B5EF4-FFF2-40B4-BE49-F238E27FC236}">
                  <a16:creationId xmlns:a16="http://schemas.microsoft.com/office/drawing/2014/main" id="{B84F0E30-4EB2-450E-A115-003BA4F138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67097" y="2593976"/>
              <a:ext cx="25400" cy="12700"/>
            </a:xfrm>
            <a:custGeom>
              <a:avLst/>
              <a:gdLst>
                <a:gd name="T0" fmla="*/ 114 w 456"/>
                <a:gd name="T1" fmla="*/ 0 h 228"/>
                <a:gd name="T2" fmla="*/ 0 w 456"/>
                <a:gd name="T3" fmla="*/ 114 h 228"/>
                <a:gd name="T4" fmla="*/ 114 w 456"/>
                <a:gd name="T5" fmla="*/ 228 h 228"/>
                <a:gd name="T6" fmla="*/ 342 w 456"/>
                <a:gd name="T7" fmla="*/ 228 h 228"/>
                <a:gd name="T8" fmla="*/ 456 w 456"/>
                <a:gd name="T9" fmla="*/ 114 h 228"/>
                <a:gd name="T10" fmla="*/ 342 w 456"/>
                <a:gd name="T11" fmla="*/ 0 h 228"/>
                <a:gd name="T12" fmla="*/ 114 w 456"/>
                <a:gd name="T13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6" h="228">
                  <a:moveTo>
                    <a:pt x="114" y="0"/>
                  </a:moveTo>
                  <a:cubicBezTo>
                    <a:pt x="51" y="0"/>
                    <a:pt x="0" y="51"/>
                    <a:pt x="0" y="114"/>
                  </a:cubicBezTo>
                  <a:cubicBezTo>
                    <a:pt x="0" y="177"/>
                    <a:pt x="51" y="228"/>
                    <a:pt x="114" y="228"/>
                  </a:cubicBezTo>
                  <a:lnTo>
                    <a:pt x="342" y="228"/>
                  </a:lnTo>
                  <a:cubicBezTo>
                    <a:pt x="405" y="228"/>
                    <a:pt x="456" y="177"/>
                    <a:pt x="456" y="114"/>
                  </a:cubicBezTo>
                  <a:cubicBezTo>
                    <a:pt x="456" y="51"/>
                    <a:pt x="405" y="0"/>
                    <a:pt x="342" y="0"/>
                  </a:cubicBezTo>
                  <a:lnTo>
                    <a:pt x="1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56">
              <a:extLst>
                <a:ext uri="{FF2B5EF4-FFF2-40B4-BE49-F238E27FC236}">
                  <a16:creationId xmlns:a16="http://schemas.microsoft.com/office/drawing/2014/main" id="{9A955330-A75B-4897-AC43-39C193F9F4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2484" y="2555876"/>
              <a:ext cx="61913" cy="12700"/>
            </a:xfrm>
            <a:custGeom>
              <a:avLst/>
              <a:gdLst>
                <a:gd name="T0" fmla="*/ 1024 w 1138"/>
                <a:gd name="T1" fmla="*/ 0 h 227"/>
                <a:gd name="T2" fmla="*/ 114 w 1138"/>
                <a:gd name="T3" fmla="*/ 0 h 227"/>
                <a:gd name="T4" fmla="*/ 0 w 1138"/>
                <a:gd name="T5" fmla="*/ 113 h 227"/>
                <a:gd name="T6" fmla="*/ 114 w 1138"/>
                <a:gd name="T7" fmla="*/ 227 h 227"/>
                <a:gd name="T8" fmla="*/ 1024 w 1138"/>
                <a:gd name="T9" fmla="*/ 227 h 227"/>
                <a:gd name="T10" fmla="*/ 1138 w 1138"/>
                <a:gd name="T11" fmla="*/ 113 h 227"/>
                <a:gd name="T12" fmla="*/ 1024 w 1138"/>
                <a:gd name="T13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8" h="227">
                  <a:moveTo>
                    <a:pt x="1024" y="0"/>
                  </a:moveTo>
                  <a:lnTo>
                    <a:pt x="114" y="0"/>
                  </a:lnTo>
                  <a:cubicBezTo>
                    <a:pt x="51" y="0"/>
                    <a:pt x="0" y="51"/>
                    <a:pt x="0" y="113"/>
                  </a:cubicBezTo>
                  <a:cubicBezTo>
                    <a:pt x="0" y="176"/>
                    <a:pt x="51" y="227"/>
                    <a:pt x="114" y="227"/>
                  </a:cubicBezTo>
                  <a:lnTo>
                    <a:pt x="1024" y="227"/>
                  </a:lnTo>
                  <a:cubicBezTo>
                    <a:pt x="1087" y="227"/>
                    <a:pt x="1138" y="176"/>
                    <a:pt x="1138" y="113"/>
                  </a:cubicBezTo>
                  <a:cubicBezTo>
                    <a:pt x="1138" y="51"/>
                    <a:pt x="1087" y="0"/>
                    <a:pt x="102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57">
              <a:extLst>
                <a:ext uri="{FF2B5EF4-FFF2-40B4-BE49-F238E27FC236}">
                  <a16:creationId xmlns:a16="http://schemas.microsoft.com/office/drawing/2014/main" id="{A1C6FA27-89F5-49D0-876C-38C41A17D9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2484" y="2593976"/>
              <a:ext cx="61913" cy="12700"/>
            </a:xfrm>
            <a:custGeom>
              <a:avLst/>
              <a:gdLst>
                <a:gd name="T0" fmla="*/ 1024 w 1138"/>
                <a:gd name="T1" fmla="*/ 0 h 228"/>
                <a:gd name="T2" fmla="*/ 114 w 1138"/>
                <a:gd name="T3" fmla="*/ 0 h 228"/>
                <a:gd name="T4" fmla="*/ 0 w 1138"/>
                <a:gd name="T5" fmla="*/ 114 h 228"/>
                <a:gd name="T6" fmla="*/ 114 w 1138"/>
                <a:gd name="T7" fmla="*/ 228 h 228"/>
                <a:gd name="T8" fmla="*/ 1024 w 1138"/>
                <a:gd name="T9" fmla="*/ 228 h 228"/>
                <a:gd name="T10" fmla="*/ 1138 w 1138"/>
                <a:gd name="T11" fmla="*/ 114 h 228"/>
                <a:gd name="T12" fmla="*/ 1024 w 1138"/>
                <a:gd name="T13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8" h="228">
                  <a:moveTo>
                    <a:pt x="1024" y="0"/>
                  </a:moveTo>
                  <a:lnTo>
                    <a:pt x="114" y="0"/>
                  </a:lnTo>
                  <a:cubicBezTo>
                    <a:pt x="51" y="0"/>
                    <a:pt x="0" y="51"/>
                    <a:pt x="0" y="114"/>
                  </a:cubicBezTo>
                  <a:cubicBezTo>
                    <a:pt x="0" y="177"/>
                    <a:pt x="51" y="228"/>
                    <a:pt x="114" y="228"/>
                  </a:cubicBezTo>
                  <a:lnTo>
                    <a:pt x="1024" y="228"/>
                  </a:lnTo>
                  <a:cubicBezTo>
                    <a:pt x="1087" y="228"/>
                    <a:pt x="1138" y="177"/>
                    <a:pt x="1138" y="114"/>
                  </a:cubicBezTo>
                  <a:cubicBezTo>
                    <a:pt x="1138" y="51"/>
                    <a:pt x="1087" y="0"/>
                    <a:pt x="102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58">
              <a:extLst>
                <a:ext uri="{FF2B5EF4-FFF2-40B4-BE49-F238E27FC236}">
                  <a16:creationId xmlns:a16="http://schemas.microsoft.com/office/drawing/2014/main" id="{71BF06F6-FD0C-475E-BC74-D8962015DF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67097" y="2566988"/>
              <a:ext cx="139700" cy="138113"/>
            </a:xfrm>
            <a:custGeom>
              <a:avLst/>
              <a:gdLst>
                <a:gd name="T0" fmla="*/ 2368 w 2549"/>
                <a:gd name="T1" fmla="*/ 402 h 2542"/>
                <a:gd name="T2" fmla="*/ 2140 w 2549"/>
                <a:gd name="T3" fmla="*/ 175 h 2542"/>
                <a:gd name="T4" fmla="*/ 1525 w 2549"/>
                <a:gd name="T5" fmla="*/ 175 h 2542"/>
                <a:gd name="T6" fmla="*/ 34 w 2549"/>
                <a:gd name="T7" fmla="*/ 1665 h 2542"/>
                <a:gd name="T8" fmla="*/ 0 w 2549"/>
                <a:gd name="T9" fmla="*/ 1746 h 2542"/>
                <a:gd name="T10" fmla="*/ 0 w 2549"/>
                <a:gd name="T11" fmla="*/ 2429 h 2542"/>
                <a:gd name="T12" fmla="*/ 114 w 2549"/>
                <a:gd name="T13" fmla="*/ 2542 h 2542"/>
                <a:gd name="T14" fmla="*/ 797 w 2549"/>
                <a:gd name="T15" fmla="*/ 2542 h 2542"/>
                <a:gd name="T16" fmla="*/ 877 w 2549"/>
                <a:gd name="T17" fmla="*/ 2509 h 2542"/>
                <a:gd name="T18" fmla="*/ 2368 w 2549"/>
                <a:gd name="T19" fmla="*/ 1018 h 2542"/>
                <a:gd name="T20" fmla="*/ 2368 w 2549"/>
                <a:gd name="T21" fmla="*/ 402 h 2542"/>
                <a:gd name="T22" fmla="*/ 1377 w 2549"/>
                <a:gd name="T23" fmla="*/ 644 h 2542"/>
                <a:gd name="T24" fmla="*/ 1558 w 2549"/>
                <a:gd name="T25" fmla="*/ 824 h 2542"/>
                <a:gd name="T26" fmla="*/ 569 w 2549"/>
                <a:gd name="T27" fmla="*/ 1813 h 2542"/>
                <a:gd name="T28" fmla="*/ 389 w 2549"/>
                <a:gd name="T29" fmla="*/ 1632 h 2542"/>
                <a:gd name="T30" fmla="*/ 1377 w 2549"/>
                <a:gd name="T31" fmla="*/ 644 h 2542"/>
                <a:gd name="T32" fmla="*/ 228 w 2549"/>
                <a:gd name="T33" fmla="*/ 2315 h 2542"/>
                <a:gd name="T34" fmla="*/ 228 w 2549"/>
                <a:gd name="T35" fmla="*/ 1793 h 2542"/>
                <a:gd name="T36" fmla="*/ 750 w 2549"/>
                <a:gd name="T37" fmla="*/ 2315 h 2542"/>
                <a:gd name="T38" fmla="*/ 228 w 2549"/>
                <a:gd name="T39" fmla="*/ 2315 h 2542"/>
                <a:gd name="T40" fmla="*/ 911 w 2549"/>
                <a:gd name="T41" fmla="*/ 2154 h 2542"/>
                <a:gd name="T42" fmla="*/ 730 w 2549"/>
                <a:gd name="T43" fmla="*/ 1973 h 2542"/>
                <a:gd name="T44" fmla="*/ 1719 w 2549"/>
                <a:gd name="T45" fmla="*/ 985 h 2542"/>
                <a:gd name="T46" fmla="*/ 1899 w 2549"/>
                <a:gd name="T47" fmla="*/ 1165 h 2542"/>
                <a:gd name="T48" fmla="*/ 911 w 2549"/>
                <a:gd name="T49" fmla="*/ 2154 h 2542"/>
                <a:gd name="T50" fmla="*/ 2207 w 2549"/>
                <a:gd name="T51" fmla="*/ 857 h 2542"/>
                <a:gd name="T52" fmla="*/ 2060 w 2549"/>
                <a:gd name="T53" fmla="*/ 1005 h 2542"/>
                <a:gd name="T54" fmla="*/ 1538 w 2549"/>
                <a:gd name="T55" fmla="*/ 483 h 2542"/>
                <a:gd name="T56" fmla="*/ 1685 w 2549"/>
                <a:gd name="T57" fmla="*/ 336 h 2542"/>
                <a:gd name="T58" fmla="*/ 1980 w 2549"/>
                <a:gd name="T59" fmla="*/ 336 h 2542"/>
                <a:gd name="T60" fmla="*/ 2207 w 2549"/>
                <a:gd name="T61" fmla="*/ 563 h 2542"/>
                <a:gd name="T62" fmla="*/ 2207 w 2549"/>
                <a:gd name="T63" fmla="*/ 857 h 2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49" h="2542">
                  <a:moveTo>
                    <a:pt x="2368" y="402"/>
                  </a:moveTo>
                  <a:lnTo>
                    <a:pt x="2140" y="175"/>
                  </a:lnTo>
                  <a:cubicBezTo>
                    <a:pt x="1966" y="0"/>
                    <a:pt x="1699" y="0"/>
                    <a:pt x="1525" y="175"/>
                  </a:cubicBezTo>
                  <a:lnTo>
                    <a:pt x="34" y="1665"/>
                  </a:lnTo>
                  <a:cubicBezTo>
                    <a:pt x="12" y="1687"/>
                    <a:pt x="0" y="1716"/>
                    <a:pt x="0" y="1746"/>
                  </a:cubicBezTo>
                  <a:lnTo>
                    <a:pt x="0" y="2429"/>
                  </a:lnTo>
                  <a:cubicBezTo>
                    <a:pt x="0" y="2491"/>
                    <a:pt x="51" y="2542"/>
                    <a:pt x="114" y="2542"/>
                  </a:cubicBezTo>
                  <a:lnTo>
                    <a:pt x="797" y="2542"/>
                  </a:lnTo>
                  <a:cubicBezTo>
                    <a:pt x="827" y="2542"/>
                    <a:pt x="856" y="2530"/>
                    <a:pt x="877" y="2509"/>
                  </a:cubicBezTo>
                  <a:lnTo>
                    <a:pt x="2368" y="1018"/>
                  </a:lnTo>
                  <a:cubicBezTo>
                    <a:pt x="2549" y="837"/>
                    <a:pt x="2549" y="584"/>
                    <a:pt x="2368" y="402"/>
                  </a:cubicBezTo>
                  <a:close/>
                  <a:moveTo>
                    <a:pt x="1377" y="644"/>
                  </a:moveTo>
                  <a:lnTo>
                    <a:pt x="1558" y="824"/>
                  </a:lnTo>
                  <a:lnTo>
                    <a:pt x="569" y="1813"/>
                  </a:lnTo>
                  <a:lnTo>
                    <a:pt x="389" y="1632"/>
                  </a:lnTo>
                  <a:lnTo>
                    <a:pt x="1377" y="644"/>
                  </a:lnTo>
                  <a:close/>
                  <a:moveTo>
                    <a:pt x="228" y="2315"/>
                  </a:moveTo>
                  <a:lnTo>
                    <a:pt x="228" y="1793"/>
                  </a:lnTo>
                  <a:lnTo>
                    <a:pt x="750" y="2315"/>
                  </a:lnTo>
                  <a:lnTo>
                    <a:pt x="228" y="2315"/>
                  </a:lnTo>
                  <a:close/>
                  <a:moveTo>
                    <a:pt x="911" y="2154"/>
                  </a:moveTo>
                  <a:lnTo>
                    <a:pt x="730" y="1973"/>
                  </a:lnTo>
                  <a:lnTo>
                    <a:pt x="1719" y="985"/>
                  </a:lnTo>
                  <a:lnTo>
                    <a:pt x="1899" y="1165"/>
                  </a:lnTo>
                  <a:lnTo>
                    <a:pt x="911" y="2154"/>
                  </a:lnTo>
                  <a:close/>
                  <a:moveTo>
                    <a:pt x="2207" y="857"/>
                  </a:moveTo>
                  <a:lnTo>
                    <a:pt x="2060" y="1005"/>
                  </a:lnTo>
                  <a:lnTo>
                    <a:pt x="1538" y="483"/>
                  </a:lnTo>
                  <a:lnTo>
                    <a:pt x="1685" y="336"/>
                  </a:lnTo>
                  <a:cubicBezTo>
                    <a:pt x="1775" y="246"/>
                    <a:pt x="1889" y="245"/>
                    <a:pt x="1980" y="336"/>
                  </a:cubicBezTo>
                  <a:lnTo>
                    <a:pt x="2207" y="563"/>
                  </a:lnTo>
                  <a:cubicBezTo>
                    <a:pt x="2299" y="655"/>
                    <a:pt x="2299" y="765"/>
                    <a:pt x="2207" y="8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59">
              <a:extLst>
                <a:ext uri="{FF2B5EF4-FFF2-40B4-BE49-F238E27FC236}">
                  <a16:creationId xmlns:a16="http://schemas.microsoft.com/office/drawing/2014/main" id="{D0D9D596-FE22-48EB-951F-588FB6ADF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5959" y="2332038"/>
              <a:ext cx="298450" cy="373063"/>
            </a:xfrm>
            <a:custGeom>
              <a:avLst/>
              <a:gdLst>
                <a:gd name="T0" fmla="*/ 3527 w 5472"/>
                <a:gd name="T1" fmla="*/ 6599 h 6826"/>
                <a:gd name="T2" fmla="*/ 569 w 5472"/>
                <a:gd name="T3" fmla="*/ 6599 h 6826"/>
                <a:gd name="T4" fmla="*/ 228 w 5472"/>
                <a:gd name="T5" fmla="*/ 6257 h 6826"/>
                <a:gd name="T6" fmla="*/ 228 w 5472"/>
                <a:gd name="T7" fmla="*/ 569 h 6826"/>
                <a:gd name="T8" fmla="*/ 569 w 5472"/>
                <a:gd name="T9" fmla="*/ 227 h 6826"/>
                <a:gd name="T10" fmla="*/ 4163 w 5472"/>
                <a:gd name="T11" fmla="*/ 227 h 6826"/>
                <a:gd name="T12" fmla="*/ 5267 w 5472"/>
                <a:gd name="T13" fmla="*/ 1332 h 6826"/>
                <a:gd name="T14" fmla="*/ 5428 w 5472"/>
                <a:gd name="T15" fmla="*/ 1332 h 6826"/>
                <a:gd name="T16" fmla="*/ 5428 w 5472"/>
                <a:gd name="T17" fmla="*/ 1171 h 6826"/>
                <a:gd name="T18" fmla="*/ 4290 w 5472"/>
                <a:gd name="T19" fmla="*/ 33 h 6826"/>
                <a:gd name="T20" fmla="*/ 4210 w 5472"/>
                <a:gd name="T21" fmla="*/ 0 h 6826"/>
                <a:gd name="T22" fmla="*/ 569 w 5472"/>
                <a:gd name="T23" fmla="*/ 0 h 6826"/>
                <a:gd name="T24" fmla="*/ 0 w 5472"/>
                <a:gd name="T25" fmla="*/ 569 h 6826"/>
                <a:gd name="T26" fmla="*/ 0 w 5472"/>
                <a:gd name="T27" fmla="*/ 6257 h 6826"/>
                <a:gd name="T28" fmla="*/ 569 w 5472"/>
                <a:gd name="T29" fmla="*/ 6826 h 6826"/>
                <a:gd name="T30" fmla="*/ 3527 w 5472"/>
                <a:gd name="T31" fmla="*/ 6826 h 6826"/>
                <a:gd name="T32" fmla="*/ 3641 w 5472"/>
                <a:gd name="T33" fmla="*/ 6713 h 6826"/>
                <a:gd name="T34" fmla="*/ 3527 w 5472"/>
                <a:gd name="T35" fmla="*/ 6599 h 6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72" h="6826">
                  <a:moveTo>
                    <a:pt x="3527" y="6599"/>
                  </a:moveTo>
                  <a:lnTo>
                    <a:pt x="569" y="6599"/>
                  </a:lnTo>
                  <a:cubicBezTo>
                    <a:pt x="381" y="6599"/>
                    <a:pt x="228" y="6446"/>
                    <a:pt x="228" y="6257"/>
                  </a:cubicBezTo>
                  <a:lnTo>
                    <a:pt x="228" y="569"/>
                  </a:lnTo>
                  <a:cubicBezTo>
                    <a:pt x="228" y="380"/>
                    <a:pt x="381" y="227"/>
                    <a:pt x="569" y="227"/>
                  </a:cubicBezTo>
                  <a:lnTo>
                    <a:pt x="4163" y="227"/>
                  </a:lnTo>
                  <a:lnTo>
                    <a:pt x="5267" y="1332"/>
                  </a:lnTo>
                  <a:cubicBezTo>
                    <a:pt x="5312" y="1376"/>
                    <a:pt x="5384" y="1376"/>
                    <a:pt x="5428" y="1332"/>
                  </a:cubicBezTo>
                  <a:cubicBezTo>
                    <a:pt x="5472" y="1287"/>
                    <a:pt x="5472" y="1215"/>
                    <a:pt x="5428" y="1171"/>
                  </a:cubicBezTo>
                  <a:lnTo>
                    <a:pt x="4290" y="33"/>
                  </a:lnTo>
                  <a:cubicBezTo>
                    <a:pt x="4269" y="12"/>
                    <a:pt x="4240" y="0"/>
                    <a:pt x="4210" y="0"/>
                  </a:cubicBezTo>
                  <a:lnTo>
                    <a:pt x="569" y="0"/>
                  </a:lnTo>
                  <a:cubicBezTo>
                    <a:pt x="255" y="0"/>
                    <a:pt x="0" y="255"/>
                    <a:pt x="0" y="569"/>
                  </a:cubicBezTo>
                  <a:lnTo>
                    <a:pt x="0" y="6257"/>
                  </a:lnTo>
                  <a:cubicBezTo>
                    <a:pt x="0" y="6571"/>
                    <a:pt x="255" y="6826"/>
                    <a:pt x="569" y="6826"/>
                  </a:cubicBezTo>
                  <a:lnTo>
                    <a:pt x="3527" y="6826"/>
                  </a:lnTo>
                  <a:cubicBezTo>
                    <a:pt x="3590" y="6826"/>
                    <a:pt x="3641" y="6775"/>
                    <a:pt x="3641" y="6713"/>
                  </a:cubicBezTo>
                  <a:cubicBezTo>
                    <a:pt x="3641" y="6650"/>
                    <a:pt x="3590" y="6599"/>
                    <a:pt x="3527" y="65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60">
              <a:extLst>
                <a:ext uri="{FF2B5EF4-FFF2-40B4-BE49-F238E27FC236}">
                  <a16:creationId xmlns:a16="http://schemas.microsoft.com/office/drawing/2014/main" id="{C7237506-76B0-4B16-87FC-1F7054582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2484" y="2630488"/>
              <a:ext cx="61913" cy="12700"/>
            </a:xfrm>
            <a:custGeom>
              <a:avLst/>
              <a:gdLst>
                <a:gd name="T0" fmla="*/ 1024 w 1138"/>
                <a:gd name="T1" fmla="*/ 0 h 228"/>
                <a:gd name="T2" fmla="*/ 114 w 1138"/>
                <a:gd name="T3" fmla="*/ 0 h 228"/>
                <a:gd name="T4" fmla="*/ 0 w 1138"/>
                <a:gd name="T5" fmla="*/ 114 h 228"/>
                <a:gd name="T6" fmla="*/ 114 w 1138"/>
                <a:gd name="T7" fmla="*/ 228 h 228"/>
                <a:gd name="T8" fmla="*/ 1024 w 1138"/>
                <a:gd name="T9" fmla="*/ 228 h 228"/>
                <a:gd name="T10" fmla="*/ 1138 w 1138"/>
                <a:gd name="T11" fmla="*/ 114 h 228"/>
                <a:gd name="T12" fmla="*/ 1024 w 1138"/>
                <a:gd name="T13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8" h="228">
                  <a:moveTo>
                    <a:pt x="1024" y="0"/>
                  </a:moveTo>
                  <a:lnTo>
                    <a:pt x="114" y="0"/>
                  </a:lnTo>
                  <a:cubicBezTo>
                    <a:pt x="51" y="0"/>
                    <a:pt x="0" y="51"/>
                    <a:pt x="0" y="114"/>
                  </a:cubicBezTo>
                  <a:cubicBezTo>
                    <a:pt x="0" y="177"/>
                    <a:pt x="51" y="228"/>
                    <a:pt x="114" y="228"/>
                  </a:cubicBezTo>
                  <a:lnTo>
                    <a:pt x="1024" y="228"/>
                  </a:lnTo>
                  <a:cubicBezTo>
                    <a:pt x="1087" y="228"/>
                    <a:pt x="1138" y="177"/>
                    <a:pt x="1138" y="114"/>
                  </a:cubicBezTo>
                  <a:cubicBezTo>
                    <a:pt x="1138" y="51"/>
                    <a:pt x="1087" y="0"/>
                    <a:pt x="102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61">
              <a:extLst>
                <a:ext uri="{FF2B5EF4-FFF2-40B4-BE49-F238E27FC236}">
                  <a16:creationId xmlns:a16="http://schemas.microsoft.com/office/drawing/2014/main" id="{B6C043E3-19FC-47C4-A9D7-8B947D1A47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17872" y="2444751"/>
              <a:ext cx="49213" cy="49213"/>
            </a:xfrm>
            <a:custGeom>
              <a:avLst/>
              <a:gdLst>
                <a:gd name="T0" fmla="*/ 910 w 910"/>
                <a:gd name="T1" fmla="*/ 113 h 910"/>
                <a:gd name="T2" fmla="*/ 796 w 910"/>
                <a:gd name="T3" fmla="*/ 0 h 910"/>
                <a:gd name="T4" fmla="*/ 114 w 910"/>
                <a:gd name="T5" fmla="*/ 0 h 910"/>
                <a:gd name="T6" fmla="*/ 0 w 910"/>
                <a:gd name="T7" fmla="*/ 113 h 910"/>
                <a:gd name="T8" fmla="*/ 0 w 910"/>
                <a:gd name="T9" fmla="*/ 796 h 910"/>
                <a:gd name="T10" fmla="*/ 114 w 910"/>
                <a:gd name="T11" fmla="*/ 910 h 910"/>
                <a:gd name="T12" fmla="*/ 796 w 910"/>
                <a:gd name="T13" fmla="*/ 910 h 910"/>
                <a:gd name="T14" fmla="*/ 910 w 910"/>
                <a:gd name="T15" fmla="*/ 796 h 910"/>
                <a:gd name="T16" fmla="*/ 910 w 910"/>
                <a:gd name="T17" fmla="*/ 113 h 910"/>
                <a:gd name="T18" fmla="*/ 682 w 910"/>
                <a:gd name="T19" fmla="*/ 682 h 910"/>
                <a:gd name="T20" fmla="*/ 227 w 910"/>
                <a:gd name="T21" fmla="*/ 682 h 910"/>
                <a:gd name="T22" fmla="*/ 227 w 910"/>
                <a:gd name="T23" fmla="*/ 227 h 910"/>
                <a:gd name="T24" fmla="*/ 682 w 910"/>
                <a:gd name="T25" fmla="*/ 227 h 910"/>
                <a:gd name="T26" fmla="*/ 682 w 910"/>
                <a:gd name="T27" fmla="*/ 682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0" h="910">
                  <a:moveTo>
                    <a:pt x="910" y="113"/>
                  </a:moveTo>
                  <a:cubicBezTo>
                    <a:pt x="910" y="51"/>
                    <a:pt x="859" y="0"/>
                    <a:pt x="796" y="0"/>
                  </a:cubicBezTo>
                  <a:lnTo>
                    <a:pt x="114" y="0"/>
                  </a:lnTo>
                  <a:cubicBezTo>
                    <a:pt x="51" y="0"/>
                    <a:pt x="0" y="51"/>
                    <a:pt x="0" y="113"/>
                  </a:cubicBezTo>
                  <a:lnTo>
                    <a:pt x="0" y="796"/>
                  </a:lnTo>
                  <a:cubicBezTo>
                    <a:pt x="0" y="859"/>
                    <a:pt x="51" y="910"/>
                    <a:pt x="114" y="910"/>
                  </a:cubicBezTo>
                  <a:lnTo>
                    <a:pt x="796" y="910"/>
                  </a:lnTo>
                  <a:cubicBezTo>
                    <a:pt x="859" y="910"/>
                    <a:pt x="910" y="859"/>
                    <a:pt x="910" y="796"/>
                  </a:cubicBezTo>
                  <a:lnTo>
                    <a:pt x="910" y="113"/>
                  </a:lnTo>
                  <a:close/>
                  <a:moveTo>
                    <a:pt x="682" y="682"/>
                  </a:moveTo>
                  <a:lnTo>
                    <a:pt x="227" y="682"/>
                  </a:lnTo>
                  <a:lnTo>
                    <a:pt x="227" y="227"/>
                  </a:lnTo>
                  <a:lnTo>
                    <a:pt x="682" y="227"/>
                  </a:lnTo>
                  <a:lnTo>
                    <a:pt x="682" y="6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62">
              <a:extLst>
                <a:ext uri="{FF2B5EF4-FFF2-40B4-BE49-F238E27FC236}">
                  <a16:creationId xmlns:a16="http://schemas.microsoft.com/office/drawing/2014/main" id="{084E7218-DA5D-48DC-9714-EC97AE486E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17872" y="2593976"/>
              <a:ext cx="49213" cy="49213"/>
            </a:xfrm>
            <a:custGeom>
              <a:avLst/>
              <a:gdLst>
                <a:gd name="T0" fmla="*/ 114 w 910"/>
                <a:gd name="T1" fmla="*/ 911 h 911"/>
                <a:gd name="T2" fmla="*/ 796 w 910"/>
                <a:gd name="T3" fmla="*/ 911 h 911"/>
                <a:gd name="T4" fmla="*/ 910 w 910"/>
                <a:gd name="T5" fmla="*/ 797 h 911"/>
                <a:gd name="T6" fmla="*/ 910 w 910"/>
                <a:gd name="T7" fmla="*/ 114 h 911"/>
                <a:gd name="T8" fmla="*/ 796 w 910"/>
                <a:gd name="T9" fmla="*/ 0 h 911"/>
                <a:gd name="T10" fmla="*/ 114 w 910"/>
                <a:gd name="T11" fmla="*/ 0 h 911"/>
                <a:gd name="T12" fmla="*/ 0 w 910"/>
                <a:gd name="T13" fmla="*/ 114 h 911"/>
                <a:gd name="T14" fmla="*/ 0 w 910"/>
                <a:gd name="T15" fmla="*/ 797 h 911"/>
                <a:gd name="T16" fmla="*/ 114 w 910"/>
                <a:gd name="T17" fmla="*/ 911 h 911"/>
                <a:gd name="T18" fmla="*/ 227 w 910"/>
                <a:gd name="T19" fmla="*/ 228 h 911"/>
                <a:gd name="T20" fmla="*/ 682 w 910"/>
                <a:gd name="T21" fmla="*/ 228 h 911"/>
                <a:gd name="T22" fmla="*/ 682 w 910"/>
                <a:gd name="T23" fmla="*/ 683 h 911"/>
                <a:gd name="T24" fmla="*/ 227 w 910"/>
                <a:gd name="T25" fmla="*/ 683 h 911"/>
                <a:gd name="T26" fmla="*/ 227 w 910"/>
                <a:gd name="T27" fmla="*/ 228 h 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0" h="911">
                  <a:moveTo>
                    <a:pt x="114" y="911"/>
                  </a:moveTo>
                  <a:lnTo>
                    <a:pt x="796" y="911"/>
                  </a:lnTo>
                  <a:cubicBezTo>
                    <a:pt x="859" y="911"/>
                    <a:pt x="910" y="860"/>
                    <a:pt x="910" y="797"/>
                  </a:cubicBezTo>
                  <a:lnTo>
                    <a:pt x="910" y="114"/>
                  </a:lnTo>
                  <a:cubicBezTo>
                    <a:pt x="910" y="51"/>
                    <a:pt x="859" y="0"/>
                    <a:pt x="796" y="0"/>
                  </a:cubicBezTo>
                  <a:lnTo>
                    <a:pt x="114" y="0"/>
                  </a:lnTo>
                  <a:cubicBezTo>
                    <a:pt x="51" y="0"/>
                    <a:pt x="0" y="51"/>
                    <a:pt x="0" y="114"/>
                  </a:cubicBezTo>
                  <a:lnTo>
                    <a:pt x="0" y="797"/>
                  </a:lnTo>
                  <a:cubicBezTo>
                    <a:pt x="0" y="860"/>
                    <a:pt x="51" y="911"/>
                    <a:pt x="114" y="911"/>
                  </a:cubicBezTo>
                  <a:close/>
                  <a:moveTo>
                    <a:pt x="227" y="228"/>
                  </a:moveTo>
                  <a:lnTo>
                    <a:pt x="682" y="228"/>
                  </a:lnTo>
                  <a:lnTo>
                    <a:pt x="682" y="683"/>
                  </a:lnTo>
                  <a:lnTo>
                    <a:pt x="227" y="683"/>
                  </a:lnTo>
                  <a:lnTo>
                    <a:pt x="227" y="2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63">
              <a:extLst>
                <a:ext uri="{FF2B5EF4-FFF2-40B4-BE49-F238E27FC236}">
                  <a16:creationId xmlns:a16="http://schemas.microsoft.com/office/drawing/2014/main" id="{668F70C0-A602-42C9-AB87-775770913A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7872" y="2517776"/>
              <a:ext cx="50800" cy="50800"/>
            </a:xfrm>
            <a:custGeom>
              <a:avLst/>
              <a:gdLst>
                <a:gd name="T0" fmla="*/ 272 w 937"/>
                <a:gd name="T1" fmla="*/ 893 h 926"/>
                <a:gd name="T2" fmla="*/ 352 w 937"/>
                <a:gd name="T3" fmla="*/ 926 h 926"/>
                <a:gd name="T4" fmla="*/ 363 w 937"/>
                <a:gd name="T5" fmla="*/ 926 h 926"/>
                <a:gd name="T6" fmla="*/ 447 w 937"/>
                <a:gd name="T7" fmla="*/ 876 h 926"/>
                <a:gd name="T8" fmla="*/ 902 w 937"/>
                <a:gd name="T9" fmla="*/ 193 h 926"/>
                <a:gd name="T10" fmla="*/ 870 w 937"/>
                <a:gd name="T11" fmla="*/ 35 h 926"/>
                <a:gd name="T12" fmla="*/ 713 w 937"/>
                <a:gd name="T13" fmla="*/ 67 h 926"/>
                <a:gd name="T14" fmla="*/ 334 w 937"/>
                <a:gd name="T15" fmla="*/ 634 h 926"/>
                <a:gd name="T16" fmla="*/ 205 w 937"/>
                <a:gd name="T17" fmla="*/ 504 h 926"/>
                <a:gd name="T18" fmla="*/ 44 w 937"/>
                <a:gd name="T19" fmla="*/ 504 h 926"/>
                <a:gd name="T20" fmla="*/ 44 w 937"/>
                <a:gd name="T21" fmla="*/ 665 h 926"/>
                <a:gd name="T22" fmla="*/ 272 w 937"/>
                <a:gd name="T23" fmla="*/ 89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37" h="926">
                  <a:moveTo>
                    <a:pt x="272" y="893"/>
                  </a:moveTo>
                  <a:cubicBezTo>
                    <a:pt x="293" y="914"/>
                    <a:pt x="322" y="926"/>
                    <a:pt x="352" y="926"/>
                  </a:cubicBezTo>
                  <a:cubicBezTo>
                    <a:pt x="356" y="926"/>
                    <a:pt x="360" y="926"/>
                    <a:pt x="363" y="926"/>
                  </a:cubicBezTo>
                  <a:cubicBezTo>
                    <a:pt x="397" y="922"/>
                    <a:pt x="428" y="904"/>
                    <a:pt x="447" y="876"/>
                  </a:cubicBezTo>
                  <a:lnTo>
                    <a:pt x="902" y="193"/>
                  </a:lnTo>
                  <a:cubicBezTo>
                    <a:pt x="937" y="141"/>
                    <a:pt x="923" y="70"/>
                    <a:pt x="870" y="35"/>
                  </a:cubicBezTo>
                  <a:cubicBezTo>
                    <a:pt x="818" y="0"/>
                    <a:pt x="747" y="14"/>
                    <a:pt x="713" y="67"/>
                  </a:cubicBezTo>
                  <a:lnTo>
                    <a:pt x="334" y="634"/>
                  </a:lnTo>
                  <a:lnTo>
                    <a:pt x="205" y="504"/>
                  </a:lnTo>
                  <a:cubicBezTo>
                    <a:pt x="160" y="460"/>
                    <a:pt x="89" y="460"/>
                    <a:pt x="44" y="504"/>
                  </a:cubicBezTo>
                  <a:cubicBezTo>
                    <a:pt x="0" y="549"/>
                    <a:pt x="0" y="621"/>
                    <a:pt x="44" y="665"/>
                  </a:cubicBezTo>
                  <a:lnTo>
                    <a:pt x="272" y="8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670777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08BBD5B-BA87-4BE3-9AC7-6E44B5DA53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анлаб </a:t>
            </a:r>
            <a:r>
              <a:rPr lang="ru-RU" dirty="0" err="1"/>
              <a:t>олиш</a:t>
            </a:r>
            <a:r>
              <a:rPr lang="ru-RU" dirty="0"/>
              <a:t> </a:t>
            </a:r>
            <a:r>
              <a:rPr lang="ru-RU" dirty="0" err="1"/>
              <a:t>учун</a:t>
            </a:r>
            <a:r>
              <a:rPr lang="ru-RU" dirty="0"/>
              <a:t> </a:t>
            </a:r>
            <a:r>
              <a:rPr lang="ru-RU" dirty="0" err="1"/>
              <a:t>тайёргарлик</a:t>
            </a:r>
            <a:r>
              <a:rPr lang="ru-RU" dirty="0"/>
              <a:t> (3/4)</a:t>
            </a:r>
            <a:br>
              <a:rPr lang="ru-RU" sz="1600" dirty="0"/>
            </a:br>
            <a:br>
              <a:rPr lang="ru-RU" dirty="0"/>
            </a:br>
            <a:br>
              <a:rPr lang="ru-RU" dirty="0"/>
            </a:b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43B8EA6-BC6A-4C73-8C8F-CE15085E83C2}"/>
              </a:ext>
            </a:extLst>
          </p:cNvPr>
          <p:cNvSpPr txBox="1">
            <a:spLocks/>
          </p:cNvSpPr>
          <p:nvPr/>
        </p:nvSpPr>
        <p:spPr>
          <a:xfrm>
            <a:off x="443079" y="2753887"/>
            <a:ext cx="11306007" cy="17757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28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152000" indent="-28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29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96069" indent="-285750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600" b="0" spc="-4" dirty="0" err="1">
                <a:cs typeface="Arial" panose="020B0604020202020204" pitchFamily="34" charset="0"/>
              </a:rPr>
              <a:t>Тўловлар</a:t>
            </a:r>
            <a:r>
              <a:rPr lang="ru-RU" sz="1600" b="0" spc="-4" dirty="0">
                <a:cs typeface="Arial" panose="020B0604020202020204" pitchFamily="34" charset="0"/>
              </a:rPr>
              <a:t>, товар </a:t>
            </a:r>
            <a:r>
              <a:rPr lang="ru-RU" sz="1600" b="0" spc="-4" dirty="0" err="1">
                <a:cs typeface="Arial" panose="020B0604020202020204" pitchFamily="34" charset="0"/>
              </a:rPr>
              <a:t>айланмас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ва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дебиторлик</a:t>
            </a:r>
            <a:r>
              <a:rPr lang="ru-RU" sz="1600" b="0" spc="-4" dirty="0">
                <a:cs typeface="Arial" panose="020B0604020202020204" pitchFamily="34" charset="0"/>
              </a:rPr>
              <a:t> / </a:t>
            </a:r>
            <a:r>
              <a:rPr lang="ru-RU" sz="1600" b="0" spc="-4" dirty="0" err="1">
                <a:cs typeface="Arial" panose="020B0604020202020204" pitchFamily="34" charset="0"/>
              </a:rPr>
              <a:t>кредиторлик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қарзлар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миқдор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кўрсатган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ҳолда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контрагентлар</a:t>
            </a:r>
            <a:r>
              <a:rPr lang="ru-RU" sz="1600" b="0" spc="-4" dirty="0">
                <a:cs typeface="Arial" panose="020B0604020202020204" pitchFamily="34" charset="0"/>
              </a:rPr>
              <a:t> (</a:t>
            </a:r>
            <a:r>
              <a:rPr lang="ru-RU" sz="1600" b="0" spc="-4" dirty="0" err="1">
                <a:cs typeface="Arial" panose="020B0604020202020204" pitchFamily="34" charset="0"/>
              </a:rPr>
              <a:t>етказиб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берувчилар</a:t>
            </a:r>
            <a:r>
              <a:rPr lang="ru-RU" sz="1600" b="0" spc="-4" dirty="0">
                <a:cs typeface="Arial" panose="020B0604020202020204" pitchFamily="34" charset="0"/>
              </a:rPr>
              <a:t>) </a:t>
            </a:r>
            <a:r>
              <a:rPr lang="ru-RU" sz="1600" b="0" spc="-4" dirty="0" err="1">
                <a:cs typeface="Arial" panose="020B0604020202020204" pitchFamily="34" charset="0"/>
              </a:rPr>
              <a:t>реестрин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тузиш</a:t>
            </a:r>
            <a:r>
              <a:rPr lang="ru-RU" sz="1600" b="0" spc="-4" dirty="0">
                <a:cs typeface="Arial" panose="020B0604020202020204" pitchFamily="34" charset="0"/>
              </a:rPr>
              <a:t>;</a:t>
            </a:r>
          </a:p>
          <a:p>
            <a:pPr marL="296069" indent="-285750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600" b="0" spc="-4" dirty="0" err="1">
                <a:cs typeface="Arial" panose="020B0604020202020204" pitchFamily="34" charset="0"/>
              </a:rPr>
              <a:t>Тўловлар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бўйича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етказиб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берувчилар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рейтингин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яратиш</a:t>
            </a:r>
            <a:r>
              <a:rPr lang="ru-RU" sz="1600" b="0" spc="-4" dirty="0">
                <a:cs typeface="Arial" panose="020B0604020202020204" pitchFamily="34" charset="0"/>
              </a:rPr>
              <a:t>;</a:t>
            </a:r>
          </a:p>
          <a:p>
            <a:pPr marL="296069" indent="-285750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600" b="0" spc="-4" dirty="0" err="1">
                <a:cs typeface="Arial" panose="020B0604020202020204" pitchFamily="34" charset="0"/>
              </a:rPr>
              <a:t>Ҳисоб-китоб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турлар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бўйича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етказиб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берувчилар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рейтингин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шакллантириш</a:t>
            </a:r>
            <a:r>
              <a:rPr lang="ru-RU" sz="1600" b="0" spc="-4" dirty="0">
                <a:cs typeface="Arial" panose="020B0604020202020204" pitchFamily="34" charset="0"/>
              </a:rPr>
              <a:t> (</a:t>
            </a:r>
            <a:r>
              <a:rPr lang="ru-RU" sz="1600" b="0" spc="-4" dirty="0" err="1">
                <a:cs typeface="Arial" panose="020B0604020202020204" pitchFamily="34" charset="0"/>
              </a:rPr>
              <a:t>кўрсатилган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хизматлар</a:t>
            </a:r>
            <a:r>
              <a:rPr lang="ru-RU" sz="1600" b="0" spc="-4" dirty="0">
                <a:cs typeface="Arial" panose="020B0604020202020204" pitchFamily="34" charset="0"/>
              </a:rPr>
              <a:t> / ТМҚ </a:t>
            </a:r>
            <a:r>
              <a:rPr lang="ru-RU" sz="1600" b="0" spc="-4" dirty="0" err="1">
                <a:cs typeface="Arial" panose="020B0604020202020204" pitchFamily="34" charset="0"/>
              </a:rPr>
              <a:t>турлар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бўйича</a:t>
            </a:r>
            <a:r>
              <a:rPr lang="ru-RU" sz="1600" b="0" spc="-4" dirty="0">
                <a:cs typeface="Arial" panose="020B0604020202020204" pitchFamily="34" charset="0"/>
              </a:rPr>
              <a:t>);</a:t>
            </a:r>
          </a:p>
          <a:p>
            <a:pPr marL="296069" indent="-285750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600" b="0" spc="-4" dirty="0" err="1">
                <a:cs typeface="Arial" panose="020B0604020202020204" pitchFamily="34" charset="0"/>
              </a:rPr>
              <a:t>Дебиторлик</a:t>
            </a:r>
            <a:r>
              <a:rPr lang="ru-RU" sz="1600" b="0" spc="-4" dirty="0">
                <a:cs typeface="Arial" panose="020B0604020202020204" pitchFamily="34" charset="0"/>
              </a:rPr>
              <a:t> / </a:t>
            </a:r>
            <a:r>
              <a:rPr lang="ru-RU" sz="1600" b="0" spc="-4" dirty="0" err="1">
                <a:cs typeface="Arial" panose="020B0604020202020204" pitchFamily="34" charset="0"/>
              </a:rPr>
              <a:t>кредиторлик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қарзлар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динамикасин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контрагентлар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кесимида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таҳлил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қилиш</a:t>
            </a:r>
            <a:r>
              <a:rPr lang="ru-RU" sz="1600" b="0" spc="-4" dirty="0">
                <a:cs typeface="Arial" panose="020B0604020202020204" pitchFamily="34" charset="0"/>
              </a:rPr>
              <a:t>, шу </a:t>
            </a:r>
            <a:r>
              <a:rPr lang="ru-RU" sz="1600" b="0" spc="-4" dirty="0" err="1">
                <a:cs typeface="Arial" panose="020B0604020202020204" pitchFamily="34" charset="0"/>
              </a:rPr>
              <a:t>жумладан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дебиторлик</a:t>
            </a:r>
            <a:r>
              <a:rPr lang="ru-RU" sz="1600" b="0" spc="-4" dirty="0">
                <a:cs typeface="Arial" panose="020B0604020202020204" pitchFamily="34" charset="0"/>
              </a:rPr>
              <a:t> / </a:t>
            </a:r>
            <a:r>
              <a:rPr lang="ru-RU" sz="1600" b="0" spc="-4" dirty="0" err="1">
                <a:cs typeface="Arial" panose="020B0604020202020204" pitchFamily="34" charset="0"/>
              </a:rPr>
              <a:t>кредиторлик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қарзлар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тўламаган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контрагентларн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аниқлаш</a:t>
            </a:r>
            <a:endParaRPr lang="ru-RU" sz="1600" b="0" spc="-20" dirty="0">
              <a:solidFill>
                <a:schemeClr val="bg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EADF4D9-6945-44A9-A986-B1AD67EB1869}"/>
              </a:ext>
            </a:extLst>
          </p:cNvPr>
          <p:cNvGrpSpPr/>
          <p:nvPr/>
        </p:nvGrpSpPr>
        <p:grpSpPr>
          <a:xfrm>
            <a:off x="443080" y="1282693"/>
            <a:ext cx="11306008" cy="434975"/>
            <a:chOff x="3784798" y="1289128"/>
            <a:chExt cx="7964290" cy="463165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86EDB245-C798-468C-B70C-AC7B2CA87062}"/>
                </a:ext>
              </a:extLst>
            </p:cNvPr>
            <p:cNvSpPr/>
            <p:nvPr/>
          </p:nvSpPr>
          <p:spPr>
            <a:xfrm>
              <a:off x="3921193" y="1371686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2D4BB91E-0D18-473E-8FF8-669DF35E006B}"/>
                </a:ext>
              </a:extLst>
            </p:cNvPr>
            <p:cNvSpPr/>
            <p:nvPr/>
          </p:nvSpPr>
          <p:spPr>
            <a:xfrm>
              <a:off x="3784798" y="1289128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1.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Етказиб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берувчилар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билан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операциялар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таҳлил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қили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: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контрагентлар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реестри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шакллантириш</a:t>
              </a:r>
              <a:endParaRPr lang="en-US" sz="1400" b="1" dirty="0">
                <a:solidFill>
                  <a:srgbClr val="3A07DF"/>
                </a:solidFill>
                <a:latin typeface="+mj-lt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BB317C6-D025-47DC-BFBC-623152A3D0DC}"/>
              </a:ext>
            </a:extLst>
          </p:cNvPr>
          <p:cNvGrpSpPr/>
          <p:nvPr/>
        </p:nvGrpSpPr>
        <p:grpSpPr>
          <a:xfrm>
            <a:off x="0" y="1963375"/>
            <a:ext cx="11749088" cy="573322"/>
            <a:chOff x="-3" y="1138806"/>
            <a:chExt cx="9575803" cy="146304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1B48971-F048-4C3A-87DD-6E1CFBB023CA}"/>
                </a:ext>
              </a:extLst>
            </p:cNvPr>
            <p:cNvSpPr/>
            <p:nvPr/>
          </p:nvSpPr>
          <p:spPr>
            <a:xfrm>
              <a:off x="-3" y="1138806"/>
              <a:ext cx="1282562" cy="1463040"/>
            </a:xfrm>
            <a:prstGeom prst="rect">
              <a:avLst/>
            </a:prstGeom>
            <a:solidFill>
              <a:srgbClr val="CDF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FF427B1-BAA2-4A9F-ABC8-6F92E31343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Blur radius="3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" t="25090" r="277" b="26127"/>
            <a:stretch/>
          </p:blipFill>
          <p:spPr>
            <a:xfrm>
              <a:off x="0" y="1138806"/>
              <a:ext cx="9575800" cy="1458253"/>
            </a:xfrm>
            <a:prstGeom prst="roundRect">
              <a:avLst>
                <a:gd name="adj" fmla="val 50000"/>
              </a:avLst>
            </a:prstGeom>
          </p:spPr>
        </p:pic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A7F84B80-4D8F-40E9-8B84-D0B508A3AEA8}"/>
              </a:ext>
            </a:extLst>
          </p:cNvPr>
          <p:cNvSpPr txBox="1"/>
          <p:nvPr/>
        </p:nvSpPr>
        <p:spPr>
          <a:xfrm>
            <a:off x="416563" y="1969945"/>
            <a:ext cx="9908055" cy="55475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r>
              <a:rPr lang="ru-RU" sz="1400" b="1" dirty="0" err="1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агентлар</a:t>
            </a:r>
            <a:r>
              <a:rPr lang="ru-RU" sz="1400" b="1" dirty="0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естрини</a:t>
            </a:r>
            <a:r>
              <a:rPr lang="ru-RU" sz="1400" b="1" dirty="0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кллантириш</a:t>
            </a:r>
            <a:r>
              <a:rPr lang="ru-RU" sz="1400" b="1" dirty="0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уйидаги</a:t>
            </a:r>
            <a:r>
              <a:rPr lang="ru-RU" sz="1400" b="1" dirty="0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зифаларни</a:t>
            </a:r>
            <a:r>
              <a:rPr lang="ru-RU" sz="1400" b="1" dirty="0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л</a:t>
            </a:r>
            <a:r>
              <a:rPr lang="ru-RU" sz="1400" b="1" dirty="0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га</a:t>
            </a:r>
            <a:r>
              <a:rPr lang="ru-RU" sz="1400" b="1" dirty="0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кон</a:t>
            </a:r>
            <a:r>
              <a:rPr lang="ru-RU" sz="1400" b="1" dirty="0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ади</a:t>
            </a:r>
            <a:r>
              <a:rPr lang="ru-RU" sz="1400" b="1" dirty="0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6EFC29B-7EDC-4467-A460-0BC0C6EB7FE6}"/>
              </a:ext>
            </a:extLst>
          </p:cNvPr>
          <p:cNvGrpSpPr/>
          <p:nvPr/>
        </p:nvGrpSpPr>
        <p:grpSpPr>
          <a:xfrm rot="5400000">
            <a:off x="11203811" y="2073983"/>
            <a:ext cx="238043" cy="377590"/>
            <a:chOff x="3841139" y="1940745"/>
            <a:chExt cx="238043" cy="442712"/>
          </a:xfrm>
          <a:solidFill>
            <a:srgbClr val="1BD7D3"/>
          </a:solidFill>
        </p:grpSpPr>
        <p:sp>
          <p:nvSpPr>
            <p:cNvPr id="23" name="Arrow: Chevron 22">
              <a:extLst>
                <a:ext uri="{FF2B5EF4-FFF2-40B4-BE49-F238E27FC236}">
                  <a16:creationId xmlns:a16="http://schemas.microsoft.com/office/drawing/2014/main" id="{FE30A635-8F05-4D21-92CA-176B4856DD74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580A753D-749F-4020-B183-CD88BC6BD0E9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67183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08BBD5B-BA87-4BE3-9AC7-6E44B5DA53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анлаб </a:t>
            </a:r>
            <a:r>
              <a:rPr lang="ru-RU" dirty="0" err="1"/>
              <a:t>олиш</a:t>
            </a:r>
            <a:r>
              <a:rPr lang="ru-RU" dirty="0"/>
              <a:t> </a:t>
            </a:r>
            <a:r>
              <a:rPr lang="ru-RU" dirty="0" err="1"/>
              <a:t>учун</a:t>
            </a:r>
            <a:r>
              <a:rPr lang="ru-RU" dirty="0"/>
              <a:t> </a:t>
            </a:r>
            <a:r>
              <a:rPr lang="ru-RU" dirty="0" err="1"/>
              <a:t>тайёргарлик</a:t>
            </a:r>
            <a:r>
              <a:rPr lang="ru-RU" dirty="0"/>
              <a:t> (4/4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653F33-DAA1-46AA-BFBA-4E61349629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8F8F1DB-0CF5-45A7-ADA8-499811E7A32E}"/>
              </a:ext>
            </a:extLst>
          </p:cNvPr>
          <p:cNvGrpSpPr/>
          <p:nvPr/>
        </p:nvGrpSpPr>
        <p:grpSpPr>
          <a:xfrm>
            <a:off x="443080" y="1283418"/>
            <a:ext cx="7411066" cy="434975"/>
            <a:chOff x="3784798" y="1289128"/>
            <a:chExt cx="7964290" cy="463165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8E71F754-A819-490A-9CFE-31C6D58F195D}"/>
                </a:ext>
              </a:extLst>
            </p:cNvPr>
            <p:cNvSpPr/>
            <p:nvPr/>
          </p:nvSpPr>
          <p:spPr>
            <a:xfrm>
              <a:off x="3921193" y="1371686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C3F35424-DB17-433A-AF90-18F3714FB1A0}"/>
                </a:ext>
              </a:extLst>
            </p:cNvPr>
            <p:cNvSpPr/>
            <p:nvPr/>
          </p:nvSpPr>
          <p:spPr>
            <a:xfrm>
              <a:off x="3784798" y="1289128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2. Пул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оқимлари</a:t>
              </a:r>
              <a:r>
                <a:rPr lang="uz-Cyrl-UZ" sz="1400" b="1" dirty="0">
                  <a:solidFill>
                    <a:srgbClr val="3A07DF"/>
                  </a:solidFill>
                  <a:latin typeface="+mj-lt"/>
                </a:rPr>
                <a:t>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таҳлил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қилиш</a:t>
              </a:r>
              <a:endParaRPr lang="en-US" sz="1400" b="1" dirty="0">
                <a:solidFill>
                  <a:srgbClr val="3A07DF"/>
                </a:solidFill>
                <a:latin typeface="+mj-lt"/>
              </a:endParaRPr>
            </a:p>
          </p:txBody>
        </p:sp>
      </p:grp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ECA6B0FB-B5EE-4D0A-91CC-A36C66B7454D}"/>
              </a:ext>
            </a:extLst>
          </p:cNvPr>
          <p:cNvSpPr/>
          <p:nvPr/>
        </p:nvSpPr>
        <p:spPr>
          <a:xfrm>
            <a:off x="458265" y="1877930"/>
            <a:ext cx="3500939" cy="4395869"/>
          </a:xfrm>
          <a:prstGeom prst="roundRect">
            <a:avLst>
              <a:gd name="adj" fmla="val 8350"/>
            </a:avLst>
          </a:prstGeom>
          <a:solidFill>
            <a:schemeClr val="bg1"/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8A08BAC2-7ABD-478D-87FE-863C42DE5ECF}"/>
              </a:ext>
            </a:extLst>
          </p:cNvPr>
          <p:cNvSpPr/>
          <p:nvPr/>
        </p:nvSpPr>
        <p:spPr>
          <a:xfrm>
            <a:off x="4353207" y="1877930"/>
            <a:ext cx="3500939" cy="4395869"/>
          </a:xfrm>
          <a:prstGeom prst="roundRect">
            <a:avLst>
              <a:gd name="adj" fmla="val 5439"/>
            </a:avLst>
          </a:prstGeom>
          <a:solidFill>
            <a:schemeClr val="bg1"/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3F6D5CF-7385-4F7C-B4B8-723F24FA4124}"/>
              </a:ext>
            </a:extLst>
          </p:cNvPr>
          <p:cNvSpPr txBox="1"/>
          <p:nvPr/>
        </p:nvSpPr>
        <p:spPr>
          <a:xfrm>
            <a:off x="636705" y="2886299"/>
            <a:ext cx="3105348" cy="961802"/>
          </a:xfrm>
          <a:prstGeom prst="rect">
            <a:avLst/>
          </a:prstGeom>
          <a:noFill/>
        </p:spPr>
        <p:txBody>
          <a:bodyPr wrap="square" lIns="72000" tIns="0" rIns="0" bIns="0" anchor="t">
            <a:spAutoFit/>
          </a:bodyPr>
          <a:lstStyle/>
          <a:p>
            <a:pPr marL="266700" indent="-266700" fontAlgn="base">
              <a:spcBef>
                <a:spcPct val="0"/>
              </a:spcBef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-китоб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алюта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варақлар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у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ранзакция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алар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marL="266700" indent="-266700" fontAlgn="base">
              <a:spcBef>
                <a:spcPct val="0"/>
              </a:spcBef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даг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ул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блағлар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ракат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ўғрисидаг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от</a:t>
            </a:r>
            <a:endParaRPr lang="ru-RU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3C6C040-66E7-455F-A097-E20E49C2990E}"/>
              </a:ext>
            </a:extLst>
          </p:cNvPr>
          <p:cNvSpPr txBox="1"/>
          <p:nvPr/>
        </p:nvSpPr>
        <p:spPr>
          <a:xfrm>
            <a:off x="4578099" y="2886299"/>
            <a:ext cx="3078529" cy="2108269"/>
          </a:xfrm>
          <a:prstGeom prst="rect">
            <a:avLst/>
          </a:prstGeom>
          <a:noFill/>
        </p:spPr>
        <p:txBody>
          <a:bodyPr wrap="square" lIns="72000" tIns="0" rIns="0" bIns="0" anchor="t">
            <a:spAutoFit/>
          </a:bodyPr>
          <a:lstStyle/>
          <a:p>
            <a:pPr marL="266700" indent="-266700" fontAlgn="base">
              <a:spcBef>
                <a:spcPct val="0"/>
              </a:spcBef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ражатларнинг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осий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балари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иқла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ражат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см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 </a:t>
            </a:r>
          </a:p>
          <a:p>
            <a:pPr marL="266700" indent="-266700" fontAlgn="base">
              <a:spcBef>
                <a:spcPct val="0"/>
              </a:spcBef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вфл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иг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с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маг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ялар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шу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умлад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блағлар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қари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л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ғлиқ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ялар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иқлаш</a:t>
            </a:r>
            <a:endParaRPr lang="ru-RU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fontAlgn="base">
              <a:spcBef>
                <a:spcPct val="0"/>
              </a:spcBef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шири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д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зифалариг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б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нд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и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казиб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вчилар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ҳлил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ражат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см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оҳид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малг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ширилиш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мкин</a:t>
            </a:r>
            <a:endParaRPr lang="ru-RU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85F0235-0A79-418D-BDCF-8688EC8F4B95}"/>
              </a:ext>
            </a:extLst>
          </p:cNvPr>
          <p:cNvGrpSpPr/>
          <p:nvPr/>
        </p:nvGrpSpPr>
        <p:grpSpPr>
          <a:xfrm>
            <a:off x="636705" y="2049703"/>
            <a:ext cx="3132170" cy="736607"/>
            <a:chOff x="3784798" y="1289128"/>
            <a:chExt cx="7964290" cy="440386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F7E3D6C-D42E-466E-AF45-91624A6DD8D8}"/>
                </a:ext>
              </a:extLst>
            </p:cNvPr>
            <p:cNvSpPr/>
            <p:nvPr/>
          </p:nvSpPr>
          <p:spPr>
            <a:xfrm>
              <a:off x="3921193" y="1348907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3FDB3D7B-E16E-487B-BEEF-D7F5EB949927}"/>
                </a:ext>
              </a:extLst>
            </p:cNvPr>
            <p:cNvSpPr/>
            <p:nvPr/>
          </p:nvSpPr>
          <p:spPr>
            <a:xfrm>
              <a:off x="3784798" y="1289128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pPr marL="534988"/>
              <a:r>
                <a:rPr lang="ru-RU" sz="1400" b="1" dirty="0" err="1">
                  <a:solidFill>
                    <a:srgbClr val="130A65"/>
                  </a:solidFill>
                  <a:latin typeface="+mj-lt"/>
                </a:rPr>
                <a:t>Асосий</a:t>
              </a:r>
              <a:r>
                <a:rPr lang="ru-RU" sz="1400" b="1" dirty="0">
                  <a:solidFill>
                    <a:srgbClr val="130A65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130A65"/>
                  </a:solidFill>
                  <a:latin typeface="+mj-lt"/>
                </a:rPr>
                <a:t>ахборот</a:t>
              </a:r>
              <a:r>
                <a:rPr lang="ru-RU" sz="1400" b="1" dirty="0">
                  <a:solidFill>
                    <a:srgbClr val="130A65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130A65"/>
                  </a:solidFill>
                  <a:latin typeface="+mj-lt"/>
                </a:rPr>
                <a:t>манбалари</a:t>
              </a:r>
              <a:endParaRPr lang="ru-RU" sz="1400" b="1" dirty="0">
                <a:solidFill>
                  <a:srgbClr val="130A65"/>
                </a:solidFill>
                <a:latin typeface="+mj-lt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DDAEDDC-E1E7-4486-B916-5EA97F6CAB81}"/>
              </a:ext>
            </a:extLst>
          </p:cNvPr>
          <p:cNvGrpSpPr/>
          <p:nvPr/>
        </p:nvGrpSpPr>
        <p:grpSpPr>
          <a:xfrm>
            <a:off x="4537869" y="2074059"/>
            <a:ext cx="3118759" cy="712252"/>
            <a:chOff x="3818899" y="1303689"/>
            <a:chExt cx="7930189" cy="425825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6DA0D77D-99B8-4A13-BEA6-976D6B76F883}"/>
                </a:ext>
              </a:extLst>
            </p:cNvPr>
            <p:cNvSpPr/>
            <p:nvPr/>
          </p:nvSpPr>
          <p:spPr>
            <a:xfrm>
              <a:off x="3921193" y="1348907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C15D717E-10D5-4FF8-97D5-2F806AFF167F}"/>
                </a:ext>
              </a:extLst>
            </p:cNvPr>
            <p:cNvSpPr/>
            <p:nvPr/>
          </p:nvSpPr>
          <p:spPr>
            <a:xfrm>
              <a:off x="3818899" y="1303689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pPr marL="534988"/>
              <a:r>
                <a:rPr lang="ru-RU" sz="1400" b="1" dirty="0" err="1">
                  <a:solidFill>
                    <a:srgbClr val="130A65"/>
                  </a:solidFill>
                  <a:latin typeface="+mj-lt"/>
                </a:rPr>
                <a:t>Асосий</a:t>
              </a:r>
              <a:r>
                <a:rPr lang="ru-RU" sz="1400" b="1" dirty="0">
                  <a:solidFill>
                    <a:srgbClr val="130A65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130A65"/>
                  </a:solidFill>
                  <a:latin typeface="+mj-lt"/>
                </a:rPr>
                <a:t>вазифалар</a:t>
              </a:r>
              <a:endParaRPr lang="ru-RU" sz="1400" b="1" dirty="0">
                <a:solidFill>
                  <a:srgbClr val="130A65"/>
                </a:solidFill>
                <a:latin typeface="+mj-lt"/>
              </a:endParaRPr>
            </a:p>
          </p:txBody>
        </p:sp>
      </p:grpSp>
      <p:grpSp>
        <p:nvGrpSpPr>
          <p:cNvPr id="32" name="Group 44">
            <a:extLst>
              <a:ext uri="{FF2B5EF4-FFF2-40B4-BE49-F238E27FC236}">
                <a16:creationId xmlns:a16="http://schemas.microsoft.com/office/drawing/2014/main" id="{AA0D4055-EF64-405A-BF77-480271F182D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70624" y="2185555"/>
            <a:ext cx="350789" cy="392270"/>
            <a:chOff x="3447" y="1200"/>
            <a:chExt cx="778" cy="870"/>
          </a:xfrm>
          <a:solidFill>
            <a:srgbClr val="130A65"/>
          </a:solidFill>
        </p:grpSpPr>
        <p:sp>
          <p:nvSpPr>
            <p:cNvPr id="33" name="Freeform 45">
              <a:extLst>
                <a:ext uri="{FF2B5EF4-FFF2-40B4-BE49-F238E27FC236}">
                  <a16:creationId xmlns:a16="http://schemas.microsoft.com/office/drawing/2014/main" id="{A29E53DA-EE72-44F2-A8B5-C04B90D3ED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7" y="1200"/>
              <a:ext cx="778" cy="870"/>
            </a:xfrm>
            <a:custGeom>
              <a:avLst/>
              <a:gdLst>
                <a:gd name="T0" fmla="*/ 5600 w 5725"/>
                <a:gd name="T1" fmla="*/ 0 h 6400"/>
                <a:gd name="T2" fmla="*/ 625 w 5725"/>
                <a:gd name="T3" fmla="*/ 0 h 6400"/>
                <a:gd name="T4" fmla="*/ 0 w 5725"/>
                <a:gd name="T5" fmla="*/ 625 h 6400"/>
                <a:gd name="T6" fmla="*/ 0 w 5725"/>
                <a:gd name="T7" fmla="*/ 1246 h 6400"/>
                <a:gd name="T8" fmla="*/ 125 w 5725"/>
                <a:gd name="T9" fmla="*/ 1371 h 6400"/>
                <a:gd name="T10" fmla="*/ 250 w 5725"/>
                <a:gd name="T11" fmla="*/ 1246 h 6400"/>
                <a:gd name="T12" fmla="*/ 250 w 5725"/>
                <a:gd name="T13" fmla="*/ 625 h 6400"/>
                <a:gd name="T14" fmla="*/ 625 w 5725"/>
                <a:gd name="T15" fmla="*/ 250 h 6400"/>
                <a:gd name="T16" fmla="*/ 800 w 5725"/>
                <a:gd name="T17" fmla="*/ 250 h 6400"/>
                <a:gd name="T18" fmla="*/ 800 w 5725"/>
                <a:gd name="T19" fmla="*/ 4342 h 6400"/>
                <a:gd name="T20" fmla="*/ 925 w 5725"/>
                <a:gd name="T21" fmla="*/ 4467 h 6400"/>
                <a:gd name="T22" fmla="*/ 1050 w 5725"/>
                <a:gd name="T23" fmla="*/ 4342 h 6400"/>
                <a:gd name="T24" fmla="*/ 1050 w 5725"/>
                <a:gd name="T25" fmla="*/ 250 h 6400"/>
                <a:gd name="T26" fmla="*/ 5475 w 5725"/>
                <a:gd name="T27" fmla="*/ 250 h 6400"/>
                <a:gd name="T28" fmla="*/ 5475 w 5725"/>
                <a:gd name="T29" fmla="*/ 5150 h 6400"/>
                <a:gd name="T30" fmla="*/ 625 w 5725"/>
                <a:gd name="T31" fmla="*/ 5150 h 6400"/>
                <a:gd name="T32" fmla="*/ 250 w 5725"/>
                <a:gd name="T33" fmla="*/ 5275 h 6400"/>
                <a:gd name="T34" fmla="*/ 250 w 5725"/>
                <a:gd name="T35" fmla="*/ 2388 h 6400"/>
                <a:gd name="T36" fmla="*/ 125 w 5725"/>
                <a:gd name="T37" fmla="*/ 2263 h 6400"/>
                <a:gd name="T38" fmla="*/ 0 w 5725"/>
                <a:gd name="T39" fmla="*/ 2388 h 6400"/>
                <a:gd name="T40" fmla="*/ 0 w 5725"/>
                <a:gd name="T41" fmla="*/ 5775 h 6400"/>
                <a:gd name="T42" fmla="*/ 625 w 5725"/>
                <a:gd name="T43" fmla="*/ 6400 h 6400"/>
                <a:gd name="T44" fmla="*/ 5600 w 5725"/>
                <a:gd name="T45" fmla="*/ 6400 h 6400"/>
                <a:gd name="T46" fmla="*/ 5725 w 5725"/>
                <a:gd name="T47" fmla="*/ 6275 h 6400"/>
                <a:gd name="T48" fmla="*/ 5725 w 5725"/>
                <a:gd name="T49" fmla="*/ 125 h 6400"/>
                <a:gd name="T50" fmla="*/ 5600 w 5725"/>
                <a:gd name="T51" fmla="*/ 0 h 6400"/>
                <a:gd name="T52" fmla="*/ 5475 w 5725"/>
                <a:gd name="T53" fmla="*/ 5650 h 6400"/>
                <a:gd name="T54" fmla="*/ 4389 w 5725"/>
                <a:gd name="T55" fmla="*/ 5650 h 6400"/>
                <a:gd name="T56" fmla="*/ 4264 w 5725"/>
                <a:gd name="T57" fmla="*/ 5775 h 6400"/>
                <a:gd name="T58" fmla="*/ 4389 w 5725"/>
                <a:gd name="T59" fmla="*/ 5900 h 6400"/>
                <a:gd name="T60" fmla="*/ 5475 w 5725"/>
                <a:gd name="T61" fmla="*/ 5900 h 6400"/>
                <a:gd name="T62" fmla="*/ 5475 w 5725"/>
                <a:gd name="T63" fmla="*/ 6150 h 6400"/>
                <a:gd name="T64" fmla="*/ 625 w 5725"/>
                <a:gd name="T65" fmla="*/ 6150 h 6400"/>
                <a:gd name="T66" fmla="*/ 250 w 5725"/>
                <a:gd name="T67" fmla="*/ 5775 h 6400"/>
                <a:gd name="T68" fmla="*/ 625 w 5725"/>
                <a:gd name="T69" fmla="*/ 5400 h 6400"/>
                <a:gd name="T70" fmla="*/ 5475 w 5725"/>
                <a:gd name="T71" fmla="*/ 5400 h 6400"/>
                <a:gd name="T72" fmla="*/ 5475 w 5725"/>
                <a:gd name="T73" fmla="*/ 5650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25" h="6400">
                  <a:moveTo>
                    <a:pt x="5600" y="0"/>
                  </a:moveTo>
                  <a:lnTo>
                    <a:pt x="625" y="0"/>
                  </a:lnTo>
                  <a:cubicBezTo>
                    <a:pt x="280" y="0"/>
                    <a:pt x="0" y="280"/>
                    <a:pt x="0" y="625"/>
                  </a:cubicBezTo>
                  <a:lnTo>
                    <a:pt x="0" y="1246"/>
                  </a:lnTo>
                  <a:cubicBezTo>
                    <a:pt x="0" y="1315"/>
                    <a:pt x="55" y="1371"/>
                    <a:pt x="125" y="1371"/>
                  </a:cubicBezTo>
                  <a:cubicBezTo>
                    <a:pt x="194" y="1371"/>
                    <a:pt x="250" y="1315"/>
                    <a:pt x="250" y="1246"/>
                  </a:cubicBezTo>
                  <a:lnTo>
                    <a:pt x="250" y="625"/>
                  </a:lnTo>
                  <a:cubicBezTo>
                    <a:pt x="250" y="418"/>
                    <a:pt x="418" y="250"/>
                    <a:pt x="625" y="250"/>
                  </a:cubicBezTo>
                  <a:lnTo>
                    <a:pt x="800" y="250"/>
                  </a:lnTo>
                  <a:lnTo>
                    <a:pt x="800" y="4342"/>
                  </a:lnTo>
                  <a:cubicBezTo>
                    <a:pt x="800" y="4411"/>
                    <a:pt x="855" y="4467"/>
                    <a:pt x="925" y="4467"/>
                  </a:cubicBezTo>
                  <a:cubicBezTo>
                    <a:pt x="994" y="4467"/>
                    <a:pt x="1050" y="4411"/>
                    <a:pt x="1050" y="4342"/>
                  </a:cubicBezTo>
                  <a:lnTo>
                    <a:pt x="1050" y="250"/>
                  </a:lnTo>
                  <a:lnTo>
                    <a:pt x="5475" y="250"/>
                  </a:lnTo>
                  <a:lnTo>
                    <a:pt x="5475" y="5150"/>
                  </a:lnTo>
                  <a:lnTo>
                    <a:pt x="625" y="5150"/>
                  </a:lnTo>
                  <a:cubicBezTo>
                    <a:pt x="484" y="5150"/>
                    <a:pt x="354" y="5197"/>
                    <a:pt x="250" y="5275"/>
                  </a:cubicBezTo>
                  <a:lnTo>
                    <a:pt x="250" y="2388"/>
                  </a:lnTo>
                  <a:cubicBezTo>
                    <a:pt x="250" y="2318"/>
                    <a:pt x="194" y="2263"/>
                    <a:pt x="125" y="2263"/>
                  </a:cubicBezTo>
                  <a:cubicBezTo>
                    <a:pt x="55" y="2263"/>
                    <a:pt x="0" y="2318"/>
                    <a:pt x="0" y="2388"/>
                  </a:cubicBezTo>
                  <a:lnTo>
                    <a:pt x="0" y="5775"/>
                  </a:lnTo>
                  <a:cubicBezTo>
                    <a:pt x="0" y="6120"/>
                    <a:pt x="280" y="6400"/>
                    <a:pt x="625" y="6400"/>
                  </a:cubicBezTo>
                  <a:lnTo>
                    <a:pt x="5600" y="6400"/>
                  </a:lnTo>
                  <a:cubicBezTo>
                    <a:pt x="5669" y="6400"/>
                    <a:pt x="5725" y="6344"/>
                    <a:pt x="5725" y="6275"/>
                  </a:cubicBezTo>
                  <a:lnTo>
                    <a:pt x="5725" y="125"/>
                  </a:lnTo>
                  <a:cubicBezTo>
                    <a:pt x="5725" y="56"/>
                    <a:pt x="5669" y="0"/>
                    <a:pt x="5600" y="0"/>
                  </a:cubicBezTo>
                  <a:close/>
                  <a:moveTo>
                    <a:pt x="5475" y="5650"/>
                  </a:moveTo>
                  <a:lnTo>
                    <a:pt x="4389" y="5650"/>
                  </a:lnTo>
                  <a:cubicBezTo>
                    <a:pt x="4319" y="5650"/>
                    <a:pt x="4264" y="5706"/>
                    <a:pt x="4264" y="5775"/>
                  </a:cubicBezTo>
                  <a:cubicBezTo>
                    <a:pt x="4264" y="5844"/>
                    <a:pt x="4319" y="5900"/>
                    <a:pt x="4389" y="5900"/>
                  </a:cubicBezTo>
                  <a:lnTo>
                    <a:pt x="5475" y="5900"/>
                  </a:lnTo>
                  <a:lnTo>
                    <a:pt x="5475" y="6150"/>
                  </a:lnTo>
                  <a:lnTo>
                    <a:pt x="625" y="6150"/>
                  </a:lnTo>
                  <a:cubicBezTo>
                    <a:pt x="418" y="6150"/>
                    <a:pt x="250" y="5982"/>
                    <a:pt x="250" y="5775"/>
                  </a:cubicBezTo>
                  <a:cubicBezTo>
                    <a:pt x="250" y="5568"/>
                    <a:pt x="418" y="5400"/>
                    <a:pt x="625" y="5400"/>
                  </a:cubicBezTo>
                  <a:lnTo>
                    <a:pt x="5475" y="5400"/>
                  </a:lnTo>
                  <a:lnTo>
                    <a:pt x="5475" y="565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46">
              <a:extLst>
                <a:ext uri="{FF2B5EF4-FFF2-40B4-BE49-F238E27FC236}">
                  <a16:creationId xmlns:a16="http://schemas.microsoft.com/office/drawing/2014/main" id="{13BB4704-05BB-4C18-9717-D9FFCC696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" y="1436"/>
              <a:ext cx="34" cy="34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59"/>
                    <a:pt x="0" y="92"/>
                    <a:pt x="0" y="125"/>
                  </a:cubicBezTo>
                  <a:cubicBezTo>
                    <a:pt x="0" y="157"/>
                    <a:pt x="13" y="190"/>
                    <a:pt x="36" y="213"/>
                  </a:cubicBezTo>
                  <a:cubicBezTo>
                    <a:pt x="59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7"/>
                    <a:pt x="250" y="125"/>
                  </a:cubicBezTo>
                  <a:cubicBezTo>
                    <a:pt x="250" y="92"/>
                    <a:pt x="236" y="59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47">
              <a:extLst>
                <a:ext uri="{FF2B5EF4-FFF2-40B4-BE49-F238E27FC236}">
                  <a16:creationId xmlns:a16="http://schemas.microsoft.com/office/drawing/2014/main" id="{8A7F001C-789C-484E-8159-A0730B840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6" y="1835"/>
              <a:ext cx="34" cy="34"/>
            </a:xfrm>
            <a:custGeom>
              <a:avLst/>
              <a:gdLst>
                <a:gd name="T0" fmla="*/ 213 w 250"/>
                <a:gd name="T1" fmla="*/ 37 h 250"/>
                <a:gd name="T2" fmla="*/ 125 w 250"/>
                <a:gd name="T3" fmla="*/ 0 h 250"/>
                <a:gd name="T4" fmla="*/ 36 w 250"/>
                <a:gd name="T5" fmla="*/ 37 h 250"/>
                <a:gd name="T6" fmla="*/ 0 w 250"/>
                <a:gd name="T7" fmla="*/ 125 h 250"/>
                <a:gd name="T8" fmla="*/ 36 w 250"/>
                <a:gd name="T9" fmla="*/ 214 h 250"/>
                <a:gd name="T10" fmla="*/ 125 w 250"/>
                <a:gd name="T11" fmla="*/ 250 h 250"/>
                <a:gd name="T12" fmla="*/ 213 w 250"/>
                <a:gd name="T13" fmla="*/ 214 h 250"/>
                <a:gd name="T14" fmla="*/ 250 w 250"/>
                <a:gd name="T15" fmla="*/ 125 h 250"/>
                <a:gd name="T16" fmla="*/ 213 w 250"/>
                <a:gd name="T17" fmla="*/ 37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7"/>
                  </a:moveTo>
                  <a:cubicBezTo>
                    <a:pt x="190" y="14"/>
                    <a:pt x="157" y="0"/>
                    <a:pt x="125" y="0"/>
                  </a:cubicBezTo>
                  <a:cubicBezTo>
                    <a:pt x="92" y="0"/>
                    <a:pt x="59" y="14"/>
                    <a:pt x="36" y="37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4"/>
                  </a:cubicBezTo>
                  <a:cubicBezTo>
                    <a:pt x="59" y="237"/>
                    <a:pt x="92" y="250"/>
                    <a:pt x="125" y="250"/>
                  </a:cubicBezTo>
                  <a:cubicBezTo>
                    <a:pt x="157" y="250"/>
                    <a:pt x="190" y="237"/>
                    <a:pt x="213" y="214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48">
              <a:extLst>
                <a:ext uri="{FF2B5EF4-FFF2-40B4-BE49-F238E27FC236}">
                  <a16:creationId xmlns:a16="http://schemas.microsoft.com/office/drawing/2014/main" id="{D9B6D6FF-194C-494F-9ABC-ECAB23723C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2" y="1299"/>
              <a:ext cx="536" cy="536"/>
            </a:xfrm>
            <a:custGeom>
              <a:avLst/>
              <a:gdLst>
                <a:gd name="T0" fmla="*/ 3503 w 3948"/>
                <a:gd name="T1" fmla="*/ 1345 h 3948"/>
                <a:gd name="T2" fmla="*/ 3604 w 3948"/>
                <a:gd name="T3" fmla="*/ 989 h 3948"/>
                <a:gd name="T4" fmla="*/ 3047 w 3948"/>
                <a:gd name="T5" fmla="*/ 308 h 3948"/>
                <a:gd name="T6" fmla="*/ 2609 w 3948"/>
                <a:gd name="T7" fmla="*/ 447 h 3948"/>
                <a:gd name="T8" fmla="*/ 2430 w 3948"/>
                <a:gd name="T9" fmla="*/ 125 h 3948"/>
                <a:gd name="T10" fmla="*/ 1518 w 3948"/>
                <a:gd name="T11" fmla="*/ 125 h 3948"/>
                <a:gd name="T12" fmla="*/ 1339 w 3948"/>
                <a:gd name="T13" fmla="*/ 448 h 3948"/>
                <a:gd name="T14" fmla="*/ 900 w 3948"/>
                <a:gd name="T15" fmla="*/ 308 h 3948"/>
                <a:gd name="T16" fmla="*/ 308 w 3948"/>
                <a:gd name="T17" fmla="*/ 900 h 3948"/>
                <a:gd name="T18" fmla="*/ 449 w 3948"/>
                <a:gd name="T19" fmla="*/ 1339 h 3948"/>
                <a:gd name="T20" fmla="*/ 125 w 3948"/>
                <a:gd name="T21" fmla="*/ 1518 h 3948"/>
                <a:gd name="T22" fmla="*/ 125 w 3948"/>
                <a:gd name="T23" fmla="*/ 2430 h 3948"/>
                <a:gd name="T24" fmla="*/ 449 w 3948"/>
                <a:gd name="T25" fmla="*/ 2608 h 3948"/>
                <a:gd name="T26" fmla="*/ 308 w 3948"/>
                <a:gd name="T27" fmla="*/ 3048 h 3948"/>
                <a:gd name="T28" fmla="*/ 901 w 3948"/>
                <a:gd name="T29" fmla="*/ 3640 h 3948"/>
                <a:gd name="T30" fmla="*/ 1340 w 3948"/>
                <a:gd name="T31" fmla="*/ 3499 h 3948"/>
                <a:gd name="T32" fmla="*/ 1518 w 3948"/>
                <a:gd name="T33" fmla="*/ 3823 h 3948"/>
                <a:gd name="T34" fmla="*/ 2430 w 3948"/>
                <a:gd name="T35" fmla="*/ 3823 h 3948"/>
                <a:gd name="T36" fmla="*/ 2609 w 3948"/>
                <a:gd name="T37" fmla="*/ 3499 h 3948"/>
                <a:gd name="T38" fmla="*/ 3136 w 3948"/>
                <a:gd name="T39" fmla="*/ 3604 h 3948"/>
                <a:gd name="T40" fmla="*/ 3604 w 3948"/>
                <a:gd name="T41" fmla="*/ 2959 h 3948"/>
                <a:gd name="T42" fmla="*/ 3503 w 3948"/>
                <a:gd name="T43" fmla="*/ 2603 h 3948"/>
                <a:gd name="T44" fmla="*/ 3948 w 3948"/>
                <a:gd name="T45" fmla="*/ 2305 h 3948"/>
                <a:gd name="T46" fmla="*/ 1121 w 3948"/>
                <a:gd name="T47" fmla="*/ 3236 h 3948"/>
                <a:gd name="T48" fmla="*/ 607 w 3948"/>
                <a:gd name="T49" fmla="*/ 3045 h 3948"/>
                <a:gd name="T50" fmla="*/ 1204 w 3948"/>
                <a:gd name="T51" fmla="*/ 2347 h 3948"/>
                <a:gd name="T52" fmla="*/ 2068 w 3948"/>
                <a:gd name="T53" fmla="*/ 1211 h 3948"/>
                <a:gd name="T54" fmla="*/ 1769 w 3948"/>
                <a:gd name="T55" fmla="*/ 2094 h 3948"/>
                <a:gd name="T56" fmla="*/ 2378 w 3948"/>
                <a:gd name="T57" fmla="*/ 2252 h 3948"/>
                <a:gd name="T58" fmla="*/ 1733 w 3948"/>
                <a:gd name="T59" fmla="*/ 2718 h 3948"/>
                <a:gd name="T60" fmla="*/ 3698 w 3948"/>
                <a:gd name="T61" fmla="*/ 2183 h 3948"/>
                <a:gd name="T62" fmla="*/ 3341 w 3948"/>
                <a:gd name="T63" fmla="*/ 3045 h 3948"/>
                <a:gd name="T64" fmla="*/ 2508 w 3948"/>
                <a:gd name="T65" fmla="*/ 3270 h 3948"/>
                <a:gd name="T66" fmla="*/ 1441 w 3948"/>
                <a:gd name="T67" fmla="*/ 3270 h 3948"/>
                <a:gd name="T68" fmla="*/ 2924 w 3948"/>
                <a:gd name="T69" fmla="*/ 1599 h 3948"/>
                <a:gd name="T70" fmla="*/ 2251 w 3948"/>
                <a:gd name="T71" fmla="*/ 2026 h 3948"/>
                <a:gd name="T72" fmla="*/ 2398 w 3948"/>
                <a:gd name="T73" fmla="*/ 1234 h 3948"/>
                <a:gd name="T74" fmla="*/ 1247 w 3948"/>
                <a:gd name="T75" fmla="*/ 1255 h 3948"/>
                <a:gd name="T76" fmla="*/ 680 w 3948"/>
                <a:gd name="T77" fmla="*/ 2512 h 3948"/>
                <a:gd name="T78" fmla="*/ 250 w 3948"/>
                <a:gd name="T79" fmla="*/ 1765 h 3948"/>
                <a:gd name="T80" fmla="*/ 607 w 3948"/>
                <a:gd name="T81" fmla="*/ 903 h 3948"/>
                <a:gd name="T82" fmla="*/ 1440 w 3948"/>
                <a:gd name="T83" fmla="*/ 676 h 3948"/>
                <a:gd name="T84" fmla="*/ 2509 w 3948"/>
                <a:gd name="T85" fmla="*/ 676 h 3948"/>
                <a:gd name="T86" fmla="*/ 3341 w 3948"/>
                <a:gd name="T87" fmla="*/ 903 h 3948"/>
                <a:gd name="T88" fmla="*/ 3272 w 3948"/>
                <a:gd name="T89" fmla="*/ 1439 h 3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948" h="3948">
                  <a:moveTo>
                    <a:pt x="3823" y="1518"/>
                  </a:moveTo>
                  <a:lnTo>
                    <a:pt x="3759" y="1518"/>
                  </a:lnTo>
                  <a:cubicBezTo>
                    <a:pt x="3647" y="1518"/>
                    <a:pt x="3547" y="1450"/>
                    <a:pt x="3503" y="1345"/>
                  </a:cubicBezTo>
                  <a:lnTo>
                    <a:pt x="3501" y="1339"/>
                  </a:lnTo>
                  <a:cubicBezTo>
                    <a:pt x="3457" y="1233"/>
                    <a:pt x="3480" y="1113"/>
                    <a:pt x="3559" y="1034"/>
                  </a:cubicBezTo>
                  <a:lnTo>
                    <a:pt x="3604" y="989"/>
                  </a:lnTo>
                  <a:cubicBezTo>
                    <a:pt x="3652" y="940"/>
                    <a:pt x="3652" y="861"/>
                    <a:pt x="3604" y="812"/>
                  </a:cubicBezTo>
                  <a:lnTo>
                    <a:pt x="3136" y="344"/>
                  </a:lnTo>
                  <a:cubicBezTo>
                    <a:pt x="3112" y="321"/>
                    <a:pt x="3081" y="308"/>
                    <a:pt x="3047" y="308"/>
                  </a:cubicBezTo>
                  <a:cubicBezTo>
                    <a:pt x="3014" y="308"/>
                    <a:pt x="2983" y="321"/>
                    <a:pt x="2959" y="344"/>
                  </a:cubicBezTo>
                  <a:lnTo>
                    <a:pt x="2914" y="389"/>
                  </a:lnTo>
                  <a:cubicBezTo>
                    <a:pt x="2835" y="468"/>
                    <a:pt x="2715" y="491"/>
                    <a:pt x="2609" y="447"/>
                  </a:cubicBezTo>
                  <a:lnTo>
                    <a:pt x="2604" y="445"/>
                  </a:lnTo>
                  <a:cubicBezTo>
                    <a:pt x="2498" y="401"/>
                    <a:pt x="2430" y="301"/>
                    <a:pt x="2430" y="189"/>
                  </a:cubicBezTo>
                  <a:lnTo>
                    <a:pt x="2430" y="125"/>
                  </a:lnTo>
                  <a:cubicBezTo>
                    <a:pt x="2430" y="56"/>
                    <a:pt x="2374" y="0"/>
                    <a:pt x="2305" y="0"/>
                  </a:cubicBezTo>
                  <a:lnTo>
                    <a:pt x="1643" y="0"/>
                  </a:lnTo>
                  <a:cubicBezTo>
                    <a:pt x="1574" y="0"/>
                    <a:pt x="1518" y="56"/>
                    <a:pt x="1518" y="125"/>
                  </a:cubicBezTo>
                  <a:lnTo>
                    <a:pt x="1518" y="190"/>
                  </a:lnTo>
                  <a:cubicBezTo>
                    <a:pt x="1518" y="301"/>
                    <a:pt x="1450" y="402"/>
                    <a:pt x="1345" y="445"/>
                  </a:cubicBezTo>
                  <a:lnTo>
                    <a:pt x="1339" y="448"/>
                  </a:lnTo>
                  <a:cubicBezTo>
                    <a:pt x="1233" y="492"/>
                    <a:pt x="1114" y="469"/>
                    <a:pt x="1035" y="390"/>
                  </a:cubicBezTo>
                  <a:lnTo>
                    <a:pt x="989" y="344"/>
                  </a:lnTo>
                  <a:cubicBezTo>
                    <a:pt x="965" y="321"/>
                    <a:pt x="934" y="308"/>
                    <a:pt x="900" y="308"/>
                  </a:cubicBezTo>
                  <a:cubicBezTo>
                    <a:pt x="867" y="308"/>
                    <a:pt x="835" y="321"/>
                    <a:pt x="812" y="344"/>
                  </a:cubicBezTo>
                  <a:lnTo>
                    <a:pt x="344" y="812"/>
                  </a:lnTo>
                  <a:cubicBezTo>
                    <a:pt x="321" y="836"/>
                    <a:pt x="308" y="867"/>
                    <a:pt x="308" y="900"/>
                  </a:cubicBezTo>
                  <a:cubicBezTo>
                    <a:pt x="308" y="934"/>
                    <a:pt x="321" y="965"/>
                    <a:pt x="344" y="989"/>
                  </a:cubicBezTo>
                  <a:lnTo>
                    <a:pt x="391" y="1036"/>
                  </a:lnTo>
                  <a:cubicBezTo>
                    <a:pt x="470" y="1114"/>
                    <a:pt x="492" y="1234"/>
                    <a:pt x="449" y="1339"/>
                  </a:cubicBezTo>
                  <a:lnTo>
                    <a:pt x="446" y="1345"/>
                  </a:lnTo>
                  <a:cubicBezTo>
                    <a:pt x="403" y="1450"/>
                    <a:pt x="303" y="1518"/>
                    <a:pt x="191" y="1518"/>
                  </a:cubicBezTo>
                  <a:lnTo>
                    <a:pt x="125" y="1518"/>
                  </a:lnTo>
                  <a:cubicBezTo>
                    <a:pt x="56" y="1518"/>
                    <a:pt x="0" y="1574"/>
                    <a:pt x="0" y="1643"/>
                  </a:cubicBezTo>
                  <a:lnTo>
                    <a:pt x="0" y="2305"/>
                  </a:lnTo>
                  <a:cubicBezTo>
                    <a:pt x="0" y="2374"/>
                    <a:pt x="56" y="2430"/>
                    <a:pt x="125" y="2430"/>
                  </a:cubicBezTo>
                  <a:lnTo>
                    <a:pt x="192" y="2430"/>
                  </a:lnTo>
                  <a:cubicBezTo>
                    <a:pt x="304" y="2430"/>
                    <a:pt x="404" y="2498"/>
                    <a:pt x="447" y="2603"/>
                  </a:cubicBezTo>
                  <a:lnTo>
                    <a:pt x="449" y="2608"/>
                  </a:lnTo>
                  <a:cubicBezTo>
                    <a:pt x="493" y="2714"/>
                    <a:pt x="471" y="2833"/>
                    <a:pt x="392" y="2912"/>
                  </a:cubicBezTo>
                  <a:lnTo>
                    <a:pt x="344" y="2959"/>
                  </a:lnTo>
                  <a:cubicBezTo>
                    <a:pt x="321" y="2983"/>
                    <a:pt x="308" y="3014"/>
                    <a:pt x="308" y="3048"/>
                  </a:cubicBezTo>
                  <a:cubicBezTo>
                    <a:pt x="308" y="3081"/>
                    <a:pt x="321" y="3112"/>
                    <a:pt x="344" y="3136"/>
                  </a:cubicBezTo>
                  <a:lnTo>
                    <a:pt x="812" y="3604"/>
                  </a:lnTo>
                  <a:cubicBezTo>
                    <a:pt x="836" y="3627"/>
                    <a:pt x="867" y="3640"/>
                    <a:pt x="901" y="3640"/>
                  </a:cubicBezTo>
                  <a:cubicBezTo>
                    <a:pt x="934" y="3640"/>
                    <a:pt x="965" y="3627"/>
                    <a:pt x="989" y="3604"/>
                  </a:cubicBezTo>
                  <a:lnTo>
                    <a:pt x="1036" y="3556"/>
                  </a:lnTo>
                  <a:cubicBezTo>
                    <a:pt x="1115" y="3477"/>
                    <a:pt x="1234" y="3455"/>
                    <a:pt x="1340" y="3499"/>
                  </a:cubicBezTo>
                  <a:lnTo>
                    <a:pt x="1345" y="3501"/>
                  </a:lnTo>
                  <a:cubicBezTo>
                    <a:pt x="1450" y="3544"/>
                    <a:pt x="1518" y="3644"/>
                    <a:pt x="1518" y="3756"/>
                  </a:cubicBezTo>
                  <a:lnTo>
                    <a:pt x="1518" y="3823"/>
                  </a:lnTo>
                  <a:cubicBezTo>
                    <a:pt x="1518" y="3892"/>
                    <a:pt x="1574" y="3948"/>
                    <a:pt x="1643" y="3948"/>
                  </a:cubicBezTo>
                  <a:lnTo>
                    <a:pt x="2305" y="3948"/>
                  </a:lnTo>
                  <a:cubicBezTo>
                    <a:pt x="2374" y="3948"/>
                    <a:pt x="2430" y="3892"/>
                    <a:pt x="2430" y="3823"/>
                  </a:cubicBezTo>
                  <a:lnTo>
                    <a:pt x="2430" y="3757"/>
                  </a:lnTo>
                  <a:cubicBezTo>
                    <a:pt x="2430" y="3645"/>
                    <a:pt x="2498" y="3545"/>
                    <a:pt x="2604" y="3501"/>
                  </a:cubicBezTo>
                  <a:lnTo>
                    <a:pt x="2609" y="3499"/>
                  </a:lnTo>
                  <a:cubicBezTo>
                    <a:pt x="2714" y="3456"/>
                    <a:pt x="2834" y="3478"/>
                    <a:pt x="2912" y="3557"/>
                  </a:cubicBezTo>
                  <a:lnTo>
                    <a:pt x="2959" y="3604"/>
                  </a:lnTo>
                  <a:cubicBezTo>
                    <a:pt x="3008" y="3652"/>
                    <a:pt x="3087" y="3652"/>
                    <a:pt x="3136" y="3604"/>
                  </a:cubicBezTo>
                  <a:lnTo>
                    <a:pt x="3604" y="3136"/>
                  </a:lnTo>
                  <a:cubicBezTo>
                    <a:pt x="3627" y="3112"/>
                    <a:pt x="3640" y="3081"/>
                    <a:pt x="3640" y="3048"/>
                  </a:cubicBezTo>
                  <a:cubicBezTo>
                    <a:pt x="3640" y="3014"/>
                    <a:pt x="3627" y="2983"/>
                    <a:pt x="3604" y="2959"/>
                  </a:cubicBezTo>
                  <a:lnTo>
                    <a:pt x="3558" y="2913"/>
                  </a:lnTo>
                  <a:cubicBezTo>
                    <a:pt x="3479" y="2834"/>
                    <a:pt x="3456" y="2715"/>
                    <a:pt x="3501" y="2609"/>
                  </a:cubicBezTo>
                  <a:lnTo>
                    <a:pt x="3503" y="2603"/>
                  </a:lnTo>
                  <a:cubicBezTo>
                    <a:pt x="3546" y="2498"/>
                    <a:pt x="3647" y="2430"/>
                    <a:pt x="3758" y="2430"/>
                  </a:cubicBezTo>
                  <a:lnTo>
                    <a:pt x="3823" y="2430"/>
                  </a:lnTo>
                  <a:cubicBezTo>
                    <a:pt x="3892" y="2430"/>
                    <a:pt x="3948" y="2374"/>
                    <a:pt x="3948" y="2305"/>
                  </a:cubicBezTo>
                  <a:lnTo>
                    <a:pt x="3948" y="1643"/>
                  </a:lnTo>
                  <a:cubicBezTo>
                    <a:pt x="3948" y="1574"/>
                    <a:pt x="3892" y="1518"/>
                    <a:pt x="3823" y="1518"/>
                  </a:cubicBezTo>
                  <a:close/>
                  <a:moveTo>
                    <a:pt x="1121" y="3236"/>
                  </a:moveTo>
                  <a:cubicBezTo>
                    <a:pt x="1120" y="3237"/>
                    <a:pt x="1119" y="3238"/>
                    <a:pt x="1119" y="3238"/>
                  </a:cubicBezTo>
                  <a:cubicBezTo>
                    <a:pt x="1041" y="3255"/>
                    <a:pt x="967" y="3290"/>
                    <a:pt x="903" y="3341"/>
                  </a:cubicBezTo>
                  <a:lnTo>
                    <a:pt x="607" y="3045"/>
                  </a:lnTo>
                  <a:cubicBezTo>
                    <a:pt x="655" y="2986"/>
                    <a:pt x="688" y="2917"/>
                    <a:pt x="706" y="2845"/>
                  </a:cubicBezTo>
                  <a:cubicBezTo>
                    <a:pt x="708" y="2843"/>
                    <a:pt x="711" y="2840"/>
                    <a:pt x="713" y="2838"/>
                  </a:cubicBezTo>
                  <a:lnTo>
                    <a:pt x="1204" y="2347"/>
                  </a:lnTo>
                  <a:cubicBezTo>
                    <a:pt x="1237" y="2314"/>
                    <a:pt x="1249" y="2265"/>
                    <a:pt x="1234" y="2220"/>
                  </a:cubicBezTo>
                  <a:cubicBezTo>
                    <a:pt x="1144" y="1941"/>
                    <a:pt x="1216" y="1639"/>
                    <a:pt x="1424" y="1432"/>
                  </a:cubicBezTo>
                  <a:cubicBezTo>
                    <a:pt x="1596" y="1260"/>
                    <a:pt x="1834" y="1181"/>
                    <a:pt x="2068" y="1211"/>
                  </a:cubicBezTo>
                  <a:lnTo>
                    <a:pt x="1702" y="1577"/>
                  </a:lnTo>
                  <a:cubicBezTo>
                    <a:pt x="1671" y="1608"/>
                    <a:pt x="1658" y="1653"/>
                    <a:pt x="1669" y="1695"/>
                  </a:cubicBezTo>
                  <a:lnTo>
                    <a:pt x="1769" y="2094"/>
                  </a:lnTo>
                  <a:cubicBezTo>
                    <a:pt x="1780" y="2139"/>
                    <a:pt x="1815" y="2174"/>
                    <a:pt x="1860" y="2185"/>
                  </a:cubicBezTo>
                  <a:lnTo>
                    <a:pt x="2259" y="2285"/>
                  </a:lnTo>
                  <a:cubicBezTo>
                    <a:pt x="2301" y="2296"/>
                    <a:pt x="2346" y="2283"/>
                    <a:pt x="2378" y="2252"/>
                  </a:cubicBezTo>
                  <a:lnTo>
                    <a:pt x="2742" y="1888"/>
                  </a:lnTo>
                  <a:cubicBezTo>
                    <a:pt x="2770" y="2121"/>
                    <a:pt x="2691" y="2358"/>
                    <a:pt x="2520" y="2529"/>
                  </a:cubicBezTo>
                  <a:cubicBezTo>
                    <a:pt x="2314" y="2735"/>
                    <a:pt x="2012" y="2808"/>
                    <a:pt x="1733" y="2718"/>
                  </a:cubicBezTo>
                  <a:cubicBezTo>
                    <a:pt x="1684" y="2703"/>
                    <a:pt x="1632" y="2719"/>
                    <a:pt x="1600" y="2757"/>
                  </a:cubicBezTo>
                  <a:lnTo>
                    <a:pt x="1121" y="3236"/>
                  </a:lnTo>
                  <a:close/>
                  <a:moveTo>
                    <a:pt x="3698" y="2183"/>
                  </a:moveTo>
                  <a:cubicBezTo>
                    <a:pt x="3509" y="2205"/>
                    <a:pt x="3346" y="2327"/>
                    <a:pt x="3272" y="2508"/>
                  </a:cubicBezTo>
                  <a:lnTo>
                    <a:pt x="3270" y="2513"/>
                  </a:lnTo>
                  <a:cubicBezTo>
                    <a:pt x="3194" y="2693"/>
                    <a:pt x="3223" y="2896"/>
                    <a:pt x="3341" y="3045"/>
                  </a:cubicBezTo>
                  <a:lnTo>
                    <a:pt x="3045" y="3341"/>
                  </a:lnTo>
                  <a:cubicBezTo>
                    <a:pt x="2897" y="3222"/>
                    <a:pt x="2694" y="3193"/>
                    <a:pt x="2512" y="3269"/>
                  </a:cubicBezTo>
                  <a:lnTo>
                    <a:pt x="2508" y="3270"/>
                  </a:lnTo>
                  <a:cubicBezTo>
                    <a:pt x="2327" y="3345"/>
                    <a:pt x="2204" y="3509"/>
                    <a:pt x="2183" y="3698"/>
                  </a:cubicBezTo>
                  <a:lnTo>
                    <a:pt x="1765" y="3698"/>
                  </a:lnTo>
                  <a:cubicBezTo>
                    <a:pt x="1744" y="3509"/>
                    <a:pt x="1622" y="3345"/>
                    <a:pt x="1441" y="3270"/>
                  </a:cubicBezTo>
                  <a:lnTo>
                    <a:pt x="1733" y="2978"/>
                  </a:lnTo>
                  <a:cubicBezTo>
                    <a:pt x="2079" y="3061"/>
                    <a:pt x="2442" y="2960"/>
                    <a:pt x="2697" y="2706"/>
                  </a:cubicBezTo>
                  <a:cubicBezTo>
                    <a:pt x="2988" y="2415"/>
                    <a:pt x="3077" y="1980"/>
                    <a:pt x="2924" y="1599"/>
                  </a:cubicBezTo>
                  <a:cubicBezTo>
                    <a:pt x="2908" y="1560"/>
                    <a:pt x="2874" y="1531"/>
                    <a:pt x="2833" y="1523"/>
                  </a:cubicBezTo>
                  <a:cubicBezTo>
                    <a:pt x="2792" y="1514"/>
                    <a:pt x="2749" y="1527"/>
                    <a:pt x="2720" y="1557"/>
                  </a:cubicBezTo>
                  <a:lnTo>
                    <a:pt x="2251" y="2026"/>
                  </a:lnTo>
                  <a:lnTo>
                    <a:pt x="1993" y="1961"/>
                  </a:lnTo>
                  <a:lnTo>
                    <a:pt x="1929" y="1703"/>
                  </a:lnTo>
                  <a:lnTo>
                    <a:pt x="2398" y="1234"/>
                  </a:lnTo>
                  <a:cubicBezTo>
                    <a:pt x="2428" y="1204"/>
                    <a:pt x="2441" y="1162"/>
                    <a:pt x="2432" y="1121"/>
                  </a:cubicBezTo>
                  <a:cubicBezTo>
                    <a:pt x="2424" y="1079"/>
                    <a:pt x="2395" y="1045"/>
                    <a:pt x="2357" y="1030"/>
                  </a:cubicBezTo>
                  <a:cubicBezTo>
                    <a:pt x="1974" y="875"/>
                    <a:pt x="1539" y="964"/>
                    <a:pt x="1247" y="1255"/>
                  </a:cubicBezTo>
                  <a:cubicBezTo>
                    <a:pt x="991" y="1511"/>
                    <a:pt x="891" y="1875"/>
                    <a:pt x="975" y="2222"/>
                  </a:cubicBezTo>
                  <a:lnTo>
                    <a:pt x="682" y="2516"/>
                  </a:lnTo>
                  <a:cubicBezTo>
                    <a:pt x="681" y="2515"/>
                    <a:pt x="680" y="2513"/>
                    <a:pt x="680" y="2512"/>
                  </a:cubicBezTo>
                  <a:lnTo>
                    <a:pt x="678" y="2507"/>
                  </a:lnTo>
                  <a:cubicBezTo>
                    <a:pt x="604" y="2327"/>
                    <a:pt x="439" y="2204"/>
                    <a:pt x="250" y="2183"/>
                  </a:cubicBezTo>
                  <a:lnTo>
                    <a:pt x="250" y="1765"/>
                  </a:lnTo>
                  <a:cubicBezTo>
                    <a:pt x="439" y="1744"/>
                    <a:pt x="603" y="1621"/>
                    <a:pt x="678" y="1440"/>
                  </a:cubicBezTo>
                  <a:lnTo>
                    <a:pt x="679" y="1435"/>
                  </a:lnTo>
                  <a:cubicBezTo>
                    <a:pt x="755" y="1254"/>
                    <a:pt x="726" y="1051"/>
                    <a:pt x="607" y="903"/>
                  </a:cubicBezTo>
                  <a:lnTo>
                    <a:pt x="903" y="607"/>
                  </a:lnTo>
                  <a:cubicBezTo>
                    <a:pt x="1052" y="725"/>
                    <a:pt x="1255" y="754"/>
                    <a:pt x="1436" y="678"/>
                  </a:cubicBezTo>
                  <a:lnTo>
                    <a:pt x="1440" y="676"/>
                  </a:lnTo>
                  <a:cubicBezTo>
                    <a:pt x="1621" y="602"/>
                    <a:pt x="1743" y="439"/>
                    <a:pt x="1765" y="250"/>
                  </a:cubicBezTo>
                  <a:lnTo>
                    <a:pt x="2183" y="250"/>
                  </a:lnTo>
                  <a:cubicBezTo>
                    <a:pt x="2205" y="438"/>
                    <a:pt x="2328" y="602"/>
                    <a:pt x="2509" y="676"/>
                  </a:cubicBezTo>
                  <a:lnTo>
                    <a:pt x="2513" y="678"/>
                  </a:lnTo>
                  <a:cubicBezTo>
                    <a:pt x="2694" y="753"/>
                    <a:pt x="2896" y="724"/>
                    <a:pt x="3045" y="607"/>
                  </a:cubicBezTo>
                  <a:lnTo>
                    <a:pt x="3341" y="903"/>
                  </a:lnTo>
                  <a:cubicBezTo>
                    <a:pt x="3224" y="1052"/>
                    <a:pt x="3195" y="1254"/>
                    <a:pt x="3270" y="1435"/>
                  </a:cubicBezTo>
                  <a:cubicBezTo>
                    <a:pt x="3270" y="1435"/>
                    <a:pt x="3271" y="1436"/>
                    <a:pt x="3271" y="1436"/>
                  </a:cubicBezTo>
                  <a:lnTo>
                    <a:pt x="3272" y="1439"/>
                  </a:lnTo>
                  <a:cubicBezTo>
                    <a:pt x="3346" y="1620"/>
                    <a:pt x="3510" y="1743"/>
                    <a:pt x="3698" y="1765"/>
                  </a:cubicBezTo>
                  <a:lnTo>
                    <a:pt x="3698" y="218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49">
              <a:extLst>
                <a:ext uri="{FF2B5EF4-FFF2-40B4-BE49-F238E27FC236}">
                  <a16:creationId xmlns:a16="http://schemas.microsoft.com/office/drawing/2014/main" id="{25585AC8-48C6-449E-BC43-F184A02D1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3" y="1968"/>
              <a:ext cx="34" cy="34"/>
            </a:xfrm>
            <a:custGeom>
              <a:avLst/>
              <a:gdLst>
                <a:gd name="T0" fmla="*/ 213 w 250"/>
                <a:gd name="T1" fmla="*/ 37 h 250"/>
                <a:gd name="T2" fmla="*/ 125 w 250"/>
                <a:gd name="T3" fmla="*/ 0 h 250"/>
                <a:gd name="T4" fmla="*/ 36 w 250"/>
                <a:gd name="T5" fmla="*/ 37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7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7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7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7"/>
                    <a:pt x="92" y="250"/>
                    <a:pt x="125" y="250"/>
                  </a:cubicBezTo>
                  <a:cubicBezTo>
                    <a:pt x="158" y="250"/>
                    <a:pt x="190" y="237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EFEF7EA-0DC0-49DE-BA8C-FBBA31724653}"/>
              </a:ext>
            </a:extLst>
          </p:cNvPr>
          <p:cNvGrpSpPr/>
          <p:nvPr/>
        </p:nvGrpSpPr>
        <p:grpSpPr>
          <a:xfrm>
            <a:off x="4762383" y="2178924"/>
            <a:ext cx="409599" cy="411144"/>
            <a:chOff x="10255959" y="2332038"/>
            <a:chExt cx="350838" cy="373063"/>
          </a:xfrm>
          <a:solidFill>
            <a:srgbClr val="130A65"/>
          </a:solidFill>
        </p:grpSpPr>
        <p:sp>
          <p:nvSpPr>
            <p:cNvPr id="39" name="Freeform 48">
              <a:extLst>
                <a:ext uri="{FF2B5EF4-FFF2-40B4-BE49-F238E27FC236}">
                  <a16:creationId xmlns:a16="http://schemas.microsoft.com/office/drawing/2014/main" id="{6A126088-4AAC-4CDB-B168-BF7FFD93C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67097" y="2555876"/>
              <a:ext cx="49213" cy="12700"/>
            </a:xfrm>
            <a:custGeom>
              <a:avLst/>
              <a:gdLst>
                <a:gd name="T0" fmla="*/ 911 w 911"/>
                <a:gd name="T1" fmla="*/ 113 h 227"/>
                <a:gd name="T2" fmla="*/ 797 w 911"/>
                <a:gd name="T3" fmla="*/ 0 h 227"/>
                <a:gd name="T4" fmla="*/ 114 w 911"/>
                <a:gd name="T5" fmla="*/ 0 h 227"/>
                <a:gd name="T6" fmla="*/ 0 w 911"/>
                <a:gd name="T7" fmla="*/ 113 h 227"/>
                <a:gd name="T8" fmla="*/ 114 w 911"/>
                <a:gd name="T9" fmla="*/ 227 h 227"/>
                <a:gd name="T10" fmla="*/ 797 w 911"/>
                <a:gd name="T11" fmla="*/ 227 h 227"/>
                <a:gd name="T12" fmla="*/ 911 w 911"/>
                <a:gd name="T13" fmla="*/ 11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1" h="227">
                  <a:moveTo>
                    <a:pt x="911" y="113"/>
                  </a:moveTo>
                  <a:cubicBezTo>
                    <a:pt x="911" y="51"/>
                    <a:pt x="860" y="0"/>
                    <a:pt x="797" y="0"/>
                  </a:cubicBezTo>
                  <a:lnTo>
                    <a:pt x="114" y="0"/>
                  </a:lnTo>
                  <a:cubicBezTo>
                    <a:pt x="51" y="0"/>
                    <a:pt x="0" y="51"/>
                    <a:pt x="0" y="113"/>
                  </a:cubicBezTo>
                  <a:cubicBezTo>
                    <a:pt x="0" y="176"/>
                    <a:pt x="51" y="227"/>
                    <a:pt x="114" y="227"/>
                  </a:cubicBezTo>
                  <a:lnTo>
                    <a:pt x="797" y="227"/>
                  </a:lnTo>
                  <a:cubicBezTo>
                    <a:pt x="860" y="227"/>
                    <a:pt x="911" y="176"/>
                    <a:pt x="911" y="1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49">
              <a:extLst>
                <a:ext uri="{FF2B5EF4-FFF2-40B4-BE49-F238E27FC236}">
                  <a16:creationId xmlns:a16="http://schemas.microsoft.com/office/drawing/2014/main" id="{B1FEEB23-D4C7-4F2E-9E52-77C4F6E03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9797" y="2363788"/>
              <a:ext cx="98425" cy="192088"/>
            </a:xfrm>
            <a:custGeom>
              <a:avLst/>
              <a:gdLst>
                <a:gd name="T0" fmla="*/ 228 w 1820"/>
                <a:gd name="T1" fmla="*/ 682 h 3527"/>
                <a:gd name="T2" fmla="*/ 228 w 1820"/>
                <a:gd name="T3" fmla="*/ 113 h 3527"/>
                <a:gd name="T4" fmla="*/ 114 w 1820"/>
                <a:gd name="T5" fmla="*/ 0 h 3527"/>
                <a:gd name="T6" fmla="*/ 0 w 1820"/>
                <a:gd name="T7" fmla="*/ 113 h 3527"/>
                <a:gd name="T8" fmla="*/ 0 w 1820"/>
                <a:gd name="T9" fmla="*/ 682 h 3527"/>
                <a:gd name="T10" fmla="*/ 569 w 1820"/>
                <a:gd name="T11" fmla="*/ 1251 h 3527"/>
                <a:gd name="T12" fmla="*/ 1593 w 1820"/>
                <a:gd name="T13" fmla="*/ 1251 h 3527"/>
                <a:gd name="T14" fmla="*/ 1593 w 1820"/>
                <a:gd name="T15" fmla="*/ 3413 h 3527"/>
                <a:gd name="T16" fmla="*/ 1707 w 1820"/>
                <a:gd name="T17" fmla="*/ 3527 h 3527"/>
                <a:gd name="T18" fmla="*/ 1820 w 1820"/>
                <a:gd name="T19" fmla="*/ 3413 h 3527"/>
                <a:gd name="T20" fmla="*/ 1820 w 1820"/>
                <a:gd name="T21" fmla="*/ 1137 h 3527"/>
                <a:gd name="T22" fmla="*/ 1707 w 1820"/>
                <a:gd name="T23" fmla="*/ 1024 h 3527"/>
                <a:gd name="T24" fmla="*/ 569 w 1820"/>
                <a:gd name="T25" fmla="*/ 1024 h 3527"/>
                <a:gd name="T26" fmla="*/ 228 w 1820"/>
                <a:gd name="T27" fmla="*/ 682 h 3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20" h="3527">
                  <a:moveTo>
                    <a:pt x="228" y="682"/>
                  </a:moveTo>
                  <a:lnTo>
                    <a:pt x="228" y="113"/>
                  </a:lnTo>
                  <a:cubicBezTo>
                    <a:pt x="228" y="51"/>
                    <a:pt x="177" y="0"/>
                    <a:pt x="114" y="0"/>
                  </a:cubicBezTo>
                  <a:cubicBezTo>
                    <a:pt x="51" y="0"/>
                    <a:pt x="0" y="51"/>
                    <a:pt x="0" y="113"/>
                  </a:cubicBezTo>
                  <a:lnTo>
                    <a:pt x="0" y="682"/>
                  </a:lnTo>
                  <a:cubicBezTo>
                    <a:pt x="0" y="996"/>
                    <a:pt x="255" y="1251"/>
                    <a:pt x="569" y="1251"/>
                  </a:cubicBezTo>
                  <a:lnTo>
                    <a:pt x="1593" y="1251"/>
                  </a:lnTo>
                  <a:lnTo>
                    <a:pt x="1593" y="3413"/>
                  </a:lnTo>
                  <a:cubicBezTo>
                    <a:pt x="1593" y="3476"/>
                    <a:pt x="1644" y="3527"/>
                    <a:pt x="1707" y="3527"/>
                  </a:cubicBezTo>
                  <a:cubicBezTo>
                    <a:pt x="1769" y="3527"/>
                    <a:pt x="1820" y="3476"/>
                    <a:pt x="1820" y="3413"/>
                  </a:cubicBezTo>
                  <a:lnTo>
                    <a:pt x="1820" y="1137"/>
                  </a:lnTo>
                  <a:cubicBezTo>
                    <a:pt x="1820" y="1075"/>
                    <a:pt x="1769" y="1024"/>
                    <a:pt x="1707" y="1024"/>
                  </a:cubicBezTo>
                  <a:lnTo>
                    <a:pt x="569" y="1024"/>
                  </a:lnTo>
                  <a:cubicBezTo>
                    <a:pt x="381" y="1024"/>
                    <a:pt x="228" y="870"/>
                    <a:pt x="228" y="6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50">
              <a:extLst>
                <a:ext uri="{FF2B5EF4-FFF2-40B4-BE49-F238E27FC236}">
                  <a16:creationId xmlns:a16="http://schemas.microsoft.com/office/drawing/2014/main" id="{5093201B-3E15-4BD6-AADB-CCF549A48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4397" y="2481263"/>
              <a:ext cx="61913" cy="12700"/>
            </a:xfrm>
            <a:custGeom>
              <a:avLst/>
              <a:gdLst>
                <a:gd name="T0" fmla="*/ 1024 w 1138"/>
                <a:gd name="T1" fmla="*/ 0 h 228"/>
                <a:gd name="T2" fmla="*/ 114 w 1138"/>
                <a:gd name="T3" fmla="*/ 0 h 228"/>
                <a:gd name="T4" fmla="*/ 0 w 1138"/>
                <a:gd name="T5" fmla="*/ 114 h 228"/>
                <a:gd name="T6" fmla="*/ 114 w 1138"/>
                <a:gd name="T7" fmla="*/ 228 h 228"/>
                <a:gd name="T8" fmla="*/ 1024 w 1138"/>
                <a:gd name="T9" fmla="*/ 228 h 228"/>
                <a:gd name="T10" fmla="*/ 1138 w 1138"/>
                <a:gd name="T11" fmla="*/ 114 h 228"/>
                <a:gd name="T12" fmla="*/ 1024 w 1138"/>
                <a:gd name="T13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8" h="228">
                  <a:moveTo>
                    <a:pt x="1024" y="0"/>
                  </a:moveTo>
                  <a:lnTo>
                    <a:pt x="114" y="0"/>
                  </a:lnTo>
                  <a:cubicBezTo>
                    <a:pt x="51" y="0"/>
                    <a:pt x="0" y="51"/>
                    <a:pt x="0" y="114"/>
                  </a:cubicBezTo>
                  <a:cubicBezTo>
                    <a:pt x="0" y="177"/>
                    <a:pt x="51" y="228"/>
                    <a:pt x="114" y="228"/>
                  </a:cubicBezTo>
                  <a:lnTo>
                    <a:pt x="1024" y="228"/>
                  </a:lnTo>
                  <a:cubicBezTo>
                    <a:pt x="1087" y="228"/>
                    <a:pt x="1138" y="177"/>
                    <a:pt x="1138" y="114"/>
                  </a:cubicBezTo>
                  <a:cubicBezTo>
                    <a:pt x="1138" y="51"/>
                    <a:pt x="1087" y="0"/>
                    <a:pt x="102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51">
              <a:extLst>
                <a:ext uri="{FF2B5EF4-FFF2-40B4-BE49-F238E27FC236}">
                  <a16:creationId xmlns:a16="http://schemas.microsoft.com/office/drawing/2014/main" id="{1952A092-B46F-42C2-8FBE-63B3EBB2ED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2484" y="2481263"/>
              <a:ext cx="49213" cy="12700"/>
            </a:xfrm>
            <a:custGeom>
              <a:avLst/>
              <a:gdLst>
                <a:gd name="T0" fmla="*/ 910 w 910"/>
                <a:gd name="T1" fmla="*/ 114 h 228"/>
                <a:gd name="T2" fmla="*/ 797 w 910"/>
                <a:gd name="T3" fmla="*/ 0 h 228"/>
                <a:gd name="T4" fmla="*/ 114 w 910"/>
                <a:gd name="T5" fmla="*/ 0 h 228"/>
                <a:gd name="T6" fmla="*/ 0 w 910"/>
                <a:gd name="T7" fmla="*/ 114 h 228"/>
                <a:gd name="T8" fmla="*/ 114 w 910"/>
                <a:gd name="T9" fmla="*/ 228 h 228"/>
                <a:gd name="T10" fmla="*/ 797 w 910"/>
                <a:gd name="T11" fmla="*/ 228 h 228"/>
                <a:gd name="T12" fmla="*/ 910 w 910"/>
                <a:gd name="T13" fmla="*/ 11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0" h="228">
                  <a:moveTo>
                    <a:pt x="910" y="114"/>
                  </a:moveTo>
                  <a:cubicBezTo>
                    <a:pt x="910" y="51"/>
                    <a:pt x="859" y="0"/>
                    <a:pt x="797" y="0"/>
                  </a:cubicBezTo>
                  <a:lnTo>
                    <a:pt x="114" y="0"/>
                  </a:lnTo>
                  <a:cubicBezTo>
                    <a:pt x="51" y="0"/>
                    <a:pt x="0" y="51"/>
                    <a:pt x="0" y="114"/>
                  </a:cubicBezTo>
                  <a:cubicBezTo>
                    <a:pt x="0" y="177"/>
                    <a:pt x="51" y="228"/>
                    <a:pt x="114" y="228"/>
                  </a:cubicBezTo>
                  <a:lnTo>
                    <a:pt x="797" y="228"/>
                  </a:lnTo>
                  <a:cubicBezTo>
                    <a:pt x="859" y="228"/>
                    <a:pt x="910" y="177"/>
                    <a:pt x="910" y="1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52">
              <a:extLst>
                <a:ext uri="{FF2B5EF4-FFF2-40B4-BE49-F238E27FC236}">
                  <a16:creationId xmlns:a16="http://schemas.microsoft.com/office/drawing/2014/main" id="{8233EAD7-B589-4ABB-AF6B-87C3CA8A2A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2484" y="2519363"/>
              <a:ext cx="25400" cy="12700"/>
            </a:xfrm>
            <a:custGeom>
              <a:avLst/>
              <a:gdLst>
                <a:gd name="T0" fmla="*/ 114 w 455"/>
                <a:gd name="T1" fmla="*/ 0 h 228"/>
                <a:gd name="T2" fmla="*/ 0 w 455"/>
                <a:gd name="T3" fmla="*/ 114 h 228"/>
                <a:gd name="T4" fmla="*/ 114 w 455"/>
                <a:gd name="T5" fmla="*/ 228 h 228"/>
                <a:gd name="T6" fmla="*/ 341 w 455"/>
                <a:gd name="T7" fmla="*/ 228 h 228"/>
                <a:gd name="T8" fmla="*/ 455 w 455"/>
                <a:gd name="T9" fmla="*/ 114 h 228"/>
                <a:gd name="T10" fmla="*/ 341 w 455"/>
                <a:gd name="T11" fmla="*/ 0 h 228"/>
                <a:gd name="T12" fmla="*/ 114 w 455"/>
                <a:gd name="T13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5" h="228">
                  <a:moveTo>
                    <a:pt x="114" y="0"/>
                  </a:moveTo>
                  <a:cubicBezTo>
                    <a:pt x="51" y="0"/>
                    <a:pt x="0" y="51"/>
                    <a:pt x="0" y="114"/>
                  </a:cubicBezTo>
                  <a:cubicBezTo>
                    <a:pt x="0" y="177"/>
                    <a:pt x="51" y="228"/>
                    <a:pt x="114" y="228"/>
                  </a:cubicBezTo>
                  <a:lnTo>
                    <a:pt x="341" y="228"/>
                  </a:lnTo>
                  <a:cubicBezTo>
                    <a:pt x="404" y="228"/>
                    <a:pt x="455" y="177"/>
                    <a:pt x="455" y="114"/>
                  </a:cubicBezTo>
                  <a:cubicBezTo>
                    <a:pt x="455" y="51"/>
                    <a:pt x="404" y="0"/>
                    <a:pt x="341" y="0"/>
                  </a:cubicBezTo>
                  <a:lnTo>
                    <a:pt x="1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53">
              <a:extLst>
                <a:ext uri="{FF2B5EF4-FFF2-40B4-BE49-F238E27FC236}">
                  <a16:creationId xmlns:a16="http://schemas.microsoft.com/office/drawing/2014/main" id="{F09EA9A3-B5BF-4270-99C4-22805C2C7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2484" y="2444751"/>
              <a:ext cx="74613" cy="12700"/>
            </a:xfrm>
            <a:custGeom>
              <a:avLst/>
              <a:gdLst>
                <a:gd name="T0" fmla="*/ 114 w 1365"/>
                <a:gd name="T1" fmla="*/ 227 h 227"/>
                <a:gd name="T2" fmla="*/ 1252 w 1365"/>
                <a:gd name="T3" fmla="*/ 227 h 227"/>
                <a:gd name="T4" fmla="*/ 1365 w 1365"/>
                <a:gd name="T5" fmla="*/ 113 h 227"/>
                <a:gd name="T6" fmla="*/ 1252 w 1365"/>
                <a:gd name="T7" fmla="*/ 0 h 227"/>
                <a:gd name="T8" fmla="*/ 114 w 1365"/>
                <a:gd name="T9" fmla="*/ 0 h 227"/>
                <a:gd name="T10" fmla="*/ 0 w 1365"/>
                <a:gd name="T11" fmla="*/ 113 h 227"/>
                <a:gd name="T12" fmla="*/ 114 w 1365"/>
                <a:gd name="T13" fmla="*/ 22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5" h="227">
                  <a:moveTo>
                    <a:pt x="114" y="227"/>
                  </a:moveTo>
                  <a:lnTo>
                    <a:pt x="1252" y="227"/>
                  </a:lnTo>
                  <a:cubicBezTo>
                    <a:pt x="1314" y="227"/>
                    <a:pt x="1365" y="176"/>
                    <a:pt x="1365" y="113"/>
                  </a:cubicBezTo>
                  <a:cubicBezTo>
                    <a:pt x="1365" y="51"/>
                    <a:pt x="1314" y="0"/>
                    <a:pt x="1252" y="0"/>
                  </a:cubicBezTo>
                  <a:lnTo>
                    <a:pt x="114" y="0"/>
                  </a:lnTo>
                  <a:cubicBezTo>
                    <a:pt x="51" y="0"/>
                    <a:pt x="0" y="51"/>
                    <a:pt x="0" y="113"/>
                  </a:cubicBezTo>
                  <a:cubicBezTo>
                    <a:pt x="0" y="176"/>
                    <a:pt x="51" y="227"/>
                    <a:pt x="114" y="2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54">
              <a:extLst>
                <a:ext uri="{FF2B5EF4-FFF2-40B4-BE49-F238E27FC236}">
                  <a16:creationId xmlns:a16="http://schemas.microsoft.com/office/drawing/2014/main" id="{C7C73A1D-4BF9-4EC8-873D-ADB9B10EA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0584" y="2519363"/>
              <a:ext cx="74613" cy="12700"/>
            </a:xfrm>
            <a:custGeom>
              <a:avLst/>
              <a:gdLst>
                <a:gd name="T0" fmla="*/ 114 w 1365"/>
                <a:gd name="T1" fmla="*/ 228 h 228"/>
                <a:gd name="T2" fmla="*/ 1251 w 1365"/>
                <a:gd name="T3" fmla="*/ 228 h 228"/>
                <a:gd name="T4" fmla="*/ 1365 w 1365"/>
                <a:gd name="T5" fmla="*/ 114 h 228"/>
                <a:gd name="T6" fmla="*/ 1251 w 1365"/>
                <a:gd name="T7" fmla="*/ 0 h 228"/>
                <a:gd name="T8" fmla="*/ 114 w 1365"/>
                <a:gd name="T9" fmla="*/ 0 h 228"/>
                <a:gd name="T10" fmla="*/ 0 w 1365"/>
                <a:gd name="T11" fmla="*/ 114 h 228"/>
                <a:gd name="T12" fmla="*/ 114 w 1365"/>
                <a:gd name="T13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5" h="228">
                  <a:moveTo>
                    <a:pt x="114" y="228"/>
                  </a:moveTo>
                  <a:lnTo>
                    <a:pt x="1251" y="228"/>
                  </a:lnTo>
                  <a:cubicBezTo>
                    <a:pt x="1314" y="228"/>
                    <a:pt x="1365" y="177"/>
                    <a:pt x="1365" y="114"/>
                  </a:cubicBezTo>
                  <a:cubicBezTo>
                    <a:pt x="1365" y="51"/>
                    <a:pt x="1314" y="0"/>
                    <a:pt x="1251" y="0"/>
                  </a:cubicBezTo>
                  <a:lnTo>
                    <a:pt x="114" y="0"/>
                  </a:lnTo>
                  <a:cubicBezTo>
                    <a:pt x="51" y="0"/>
                    <a:pt x="0" y="51"/>
                    <a:pt x="0" y="114"/>
                  </a:cubicBezTo>
                  <a:cubicBezTo>
                    <a:pt x="0" y="177"/>
                    <a:pt x="51" y="228"/>
                    <a:pt x="114" y="2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55">
              <a:extLst>
                <a:ext uri="{FF2B5EF4-FFF2-40B4-BE49-F238E27FC236}">
                  <a16:creationId xmlns:a16="http://schemas.microsoft.com/office/drawing/2014/main" id="{98EDC8AC-65C7-4FF3-A9E6-84FE58F1D2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67097" y="2593976"/>
              <a:ext cx="25400" cy="12700"/>
            </a:xfrm>
            <a:custGeom>
              <a:avLst/>
              <a:gdLst>
                <a:gd name="T0" fmla="*/ 114 w 456"/>
                <a:gd name="T1" fmla="*/ 0 h 228"/>
                <a:gd name="T2" fmla="*/ 0 w 456"/>
                <a:gd name="T3" fmla="*/ 114 h 228"/>
                <a:gd name="T4" fmla="*/ 114 w 456"/>
                <a:gd name="T5" fmla="*/ 228 h 228"/>
                <a:gd name="T6" fmla="*/ 342 w 456"/>
                <a:gd name="T7" fmla="*/ 228 h 228"/>
                <a:gd name="T8" fmla="*/ 456 w 456"/>
                <a:gd name="T9" fmla="*/ 114 h 228"/>
                <a:gd name="T10" fmla="*/ 342 w 456"/>
                <a:gd name="T11" fmla="*/ 0 h 228"/>
                <a:gd name="T12" fmla="*/ 114 w 456"/>
                <a:gd name="T13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6" h="228">
                  <a:moveTo>
                    <a:pt x="114" y="0"/>
                  </a:moveTo>
                  <a:cubicBezTo>
                    <a:pt x="51" y="0"/>
                    <a:pt x="0" y="51"/>
                    <a:pt x="0" y="114"/>
                  </a:cubicBezTo>
                  <a:cubicBezTo>
                    <a:pt x="0" y="177"/>
                    <a:pt x="51" y="228"/>
                    <a:pt x="114" y="228"/>
                  </a:cubicBezTo>
                  <a:lnTo>
                    <a:pt x="342" y="228"/>
                  </a:lnTo>
                  <a:cubicBezTo>
                    <a:pt x="405" y="228"/>
                    <a:pt x="456" y="177"/>
                    <a:pt x="456" y="114"/>
                  </a:cubicBezTo>
                  <a:cubicBezTo>
                    <a:pt x="456" y="51"/>
                    <a:pt x="405" y="0"/>
                    <a:pt x="342" y="0"/>
                  </a:cubicBezTo>
                  <a:lnTo>
                    <a:pt x="1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56">
              <a:extLst>
                <a:ext uri="{FF2B5EF4-FFF2-40B4-BE49-F238E27FC236}">
                  <a16:creationId xmlns:a16="http://schemas.microsoft.com/office/drawing/2014/main" id="{0E99A478-2BB4-45FF-84E7-62205783E7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2484" y="2555876"/>
              <a:ext cx="61913" cy="12700"/>
            </a:xfrm>
            <a:custGeom>
              <a:avLst/>
              <a:gdLst>
                <a:gd name="T0" fmla="*/ 1024 w 1138"/>
                <a:gd name="T1" fmla="*/ 0 h 227"/>
                <a:gd name="T2" fmla="*/ 114 w 1138"/>
                <a:gd name="T3" fmla="*/ 0 h 227"/>
                <a:gd name="T4" fmla="*/ 0 w 1138"/>
                <a:gd name="T5" fmla="*/ 113 h 227"/>
                <a:gd name="T6" fmla="*/ 114 w 1138"/>
                <a:gd name="T7" fmla="*/ 227 h 227"/>
                <a:gd name="T8" fmla="*/ 1024 w 1138"/>
                <a:gd name="T9" fmla="*/ 227 h 227"/>
                <a:gd name="T10" fmla="*/ 1138 w 1138"/>
                <a:gd name="T11" fmla="*/ 113 h 227"/>
                <a:gd name="T12" fmla="*/ 1024 w 1138"/>
                <a:gd name="T13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8" h="227">
                  <a:moveTo>
                    <a:pt x="1024" y="0"/>
                  </a:moveTo>
                  <a:lnTo>
                    <a:pt x="114" y="0"/>
                  </a:lnTo>
                  <a:cubicBezTo>
                    <a:pt x="51" y="0"/>
                    <a:pt x="0" y="51"/>
                    <a:pt x="0" y="113"/>
                  </a:cubicBezTo>
                  <a:cubicBezTo>
                    <a:pt x="0" y="176"/>
                    <a:pt x="51" y="227"/>
                    <a:pt x="114" y="227"/>
                  </a:cubicBezTo>
                  <a:lnTo>
                    <a:pt x="1024" y="227"/>
                  </a:lnTo>
                  <a:cubicBezTo>
                    <a:pt x="1087" y="227"/>
                    <a:pt x="1138" y="176"/>
                    <a:pt x="1138" y="113"/>
                  </a:cubicBezTo>
                  <a:cubicBezTo>
                    <a:pt x="1138" y="51"/>
                    <a:pt x="1087" y="0"/>
                    <a:pt x="102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57">
              <a:extLst>
                <a:ext uri="{FF2B5EF4-FFF2-40B4-BE49-F238E27FC236}">
                  <a16:creationId xmlns:a16="http://schemas.microsoft.com/office/drawing/2014/main" id="{CF90B0C3-87A4-4B5E-867F-B2EE115086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2484" y="2593976"/>
              <a:ext cx="61913" cy="12700"/>
            </a:xfrm>
            <a:custGeom>
              <a:avLst/>
              <a:gdLst>
                <a:gd name="T0" fmla="*/ 1024 w 1138"/>
                <a:gd name="T1" fmla="*/ 0 h 228"/>
                <a:gd name="T2" fmla="*/ 114 w 1138"/>
                <a:gd name="T3" fmla="*/ 0 h 228"/>
                <a:gd name="T4" fmla="*/ 0 w 1138"/>
                <a:gd name="T5" fmla="*/ 114 h 228"/>
                <a:gd name="T6" fmla="*/ 114 w 1138"/>
                <a:gd name="T7" fmla="*/ 228 h 228"/>
                <a:gd name="T8" fmla="*/ 1024 w 1138"/>
                <a:gd name="T9" fmla="*/ 228 h 228"/>
                <a:gd name="T10" fmla="*/ 1138 w 1138"/>
                <a:gd name="T11" fmla="*/ 114 h 228"/>
                <a:gd name="T12" fmla="*/ 1024 w 1138"/>
                <a:gd name="T13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8" h="228">
                  <a:moveTo>
                    <a:pt x="1024" y="0"/>
                  </a:moveTo>
                  <a:lnTo>
                    <a:pt x="114" y="0"/>
                  </a:lnTo>
                  <a:cubicBezTo>
                    <a:pt x="51" y="0"/>
                    <a:pt x="0" y="51"/>
                    <a:pt x="0" y="114"/>
                  </a:cubicBezTo>
                  <a:cubicBezTo>
                    <a:pt x="0" y="177"/>
                    <a:pt x="51" y="228"/>
                    <a:pt x="114" y="228"/>
                  </a:cubicBezTo>
                  <a:lnTo>
                    <a:pt x="1024" y="228"/>
                  </a:lnTo>
                  <a:cubicBezTo>
                    <a:pt x="1087" y="228"/>
                    <a:pt x="1138" y="177"/>
                    <a:pt x="1138" y="114"/>
                  </a:cubicBezTo>
                  <a:cubicBezTo>
                    <a:pt x="1138" y="51"/>
                    <a:pt x="1087" y="0"/>
                    <a:pt x="102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58">
              <a:extLst>
                <a:ext uri="{FF2B5EF4-FFF2-40B4-BE49-F238E27FC236}">
                  <a16:creationId xmlns:a16="http://schemas.microsoft.com/office/drawing/2014/main" id="{A3D97CEA-17FC-4B6A-9E66-E893D3C520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67097" y="2566988"/>
              <a:ext cx="139700" cy="138113"/>
            </a:xfrm>
            <a:custGeom>
              <a:avLst/>
              <a:gdLst>
                <a:gd name="T0" fmla="*/ 2368 w 2549"/>
                <a:gd name="T1" fmla="*/ 402 h 2542"/>
                <a:gd name="T2" fmla="*/ 2140 w 2549"/>
                <a:gd name="T3" fmla="*/ 175 h 2542"/>
                <a:gd name="T4" fmla="*/ 1525 w 2549"/>
                <a:gd name="T5" fmla="*/ 175 h 2542"/>
                <a:gd name="T6" fmla="*/ 34 w 2549"/>
                <a:gd name="T7" fmla="*/ 1665 h 2542"/>
                <a:gd name="T8" fmla="*/ 0 w 2549"/>
                <a:gd name="T9" fmla="*/ 1746 h 2542"/>
                <a:gd name="T10" fmla="*/ 0 w 2549"/>
                <a:gd name="T11" fmla="*/ 2429 h 2542"/>
                <a:gd name="T12" fmla="*/ 114 w 2549"/>
                <a:gd name="T13" fmla="*/ 2542 h 2542"/>
                <a:gd name="T14" fmla="*/ 797 w 2549"/>
                <a:gd name="T15" fmla="*/ 2542 h 2542"/>
                <a:gd name="T16" fmla="*/ 877 w 2549"/>
                <a:gd name="T17" fmla="*/ 2509 h 2542"/>
                <a:gd name="T18" fmla="*/ 2368 w 2549"/>
                <a:gd name="T19" fmla="*/ 1018 h 2542"/>
                <a:gd name="T20" fmla="*/ 2368 w 2549"/>
                <a:gd name="T21" fmla="*/ 402 h 2542"/>
                <a:gd name="T22" fmla="*/ 1377 w 2549"/>
                <a:gd name="T23" fmla="*/ 644 h 2542"/>
                <a:gd name="T24" fmla="*/ 1558 w 2549"/>
                <a:gd name="T25" fmla="*/ 824 h 2542"/>
                <a:gd name="T26" fmla="*/ 569 w 2549"/>
                <a:gd name="T27" fmla="*/ 1813 h 2542"/>
                <a:gd name="T28" fmla="*/ 389 w 2549"/>
                <a:gd name="T29" fmla="*/ 1632 h 2542"/>
                <a:gd name="T30" fmla="*/ 1377 w 2549"/>
                <a:gd name="T31" fmla="*/ 644 h 2542"/>
                <a:gd name="T32" fmla="*/ 228 w 2549"/>
                <a:gd name="T33" fmla="*/ 2315 h 2542"/>
                <a:gd name="T34" fmla="*/ 228 w 2549"/>
                <a:gd name="T35" fmla="*/ 1793 h 2542"/>
                <a:gd name="T36" fmla="*/ 750 w 2549"/>
                <a:gd name="T37" fmla="*/ 2315 h 2542"/>
                <a:gd name="T38" fmla="*/ 228 w 2549"/>
                <a:gd name="T39" fmla="*/ 2315 h 2542"/>
                <a:gd name="T40" fmla="*/ 911 w 2549"/>
                <a:gd name="T41" fmla="*/ 2154 h 2542"/>
                <a:gd name="T42" fmla="*/ 730 w 2549"/>
                <a:gd name="T43" fmla="*/ 1973 h 2542"/>
                <a:gd name="T44" fmla="*/ 1719 w 2549"/>
                <a:gd name="T45" fmla="*/ 985 h 2542"/>
                <a:gd name="T46" fmla="*/ 1899 w 2549"/>
                <a:gd name="T47" fmla="*/ 1165 h 2542"/>
                <a:gd name="T48" fmla="*/ 911 w 2549"/>
                <a:gd name="T49" fmla="*/ 2154 h 2542"/>
                <a:gd name="T50" fmla="*/ 2207 w 2549"/>
                <a:gd name="T51" fmla="*/ 857 h 2542"/>
                <a:gd name="T52" fmla="*/ 2060 w 2549"/>
                <a:gd name="T53" fmla="*/ 1005 h 2542"/>
                <a:gd name="T54" fmla="*/ 1538 w 2549"/>
                <a:gd name="T55" fmla="*/ 483 h 2542"/>
                <a:gd name="T56" fmla="*/ 1685 w 2549"/>
                <a:gd name="T57" fmla="*/ 336 h 2542"/>
                <a:gd name="T58" fmla="*/ 1980 w 2549"/>
                <a:gd name="T59" fmla="*/ 336 h 2542"/>
                <a:gd name="T60" fmla="*/ 2207 w 2549"/>
                <a:gd name="T61" fmla="*/ 563 h 2542"/>
                <a:gd name="T62" fmla="*/ 2207 w 2549"/>
                <a:gd name="T63" fmla="*/ 857 h 2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49" h="2542">
                  <a:moveTo>
                    <a:pt x="2368" y="402"/>
                  </a:moveTo>
                  <a:lnTo>
                    <a:pt x="2140" y="175"/>
                  </a:lnTo>
                  <a:cubicBezTo>
                    <a:pt x="1966" y="0"/>
                    <a:pt x="1699" y="0"/>
                    <a:pt x="1525" y="175"/>
                  </a:cubicBezTo>
                  <a:lnTo>
                    <a:pt x="34" y="1665"/>
                  </a:lnTo>
                  <a:cubicBezTo>
                    <a:pt x="12" y="1687"/>
                    <a:pt x="0" y="1716"/>
                    <a:pt x="0" y="1746"/>
                  </a:cubicBezTo>
                  <a:lnTo>
                    <a:pt x="0" y="2429"/>
                  </a:lnTo>
                  <a:cubicBezTo>
                    <a:pt x="0" y="2491"/>
                    <a:pt x="51" y="2542"/>
                    <a:pt x="114" y="2542"/>
                  </a:cubicBezTo>
                  <a:lnTo>
                    <a:pt x="797" y="2542"/>
                  </a:lnTo>
                  <a:cubicBezTo>
                    <a:pt x="827" y="2542"/>
                    <a:pt x="856" y="2530"/>
                    <a:pt x="877" y="2509"/>
                  </a:cubicBezTo>
                  <a:lnTo>
                    <a:pt x="2368" y="1018"/>
                  </a:lnTo>
                  <a:cubicBezTo>
                    <a:pt x="2549" y="837"/>
                    <a:pt x="2549" y="584"/>
                    <a:pt x="2368" y="402"/>
                  </a:cubicBezTo>
                  <a:close/>
                  <a:moveTo>
                    <a:pt x="1377" y="644"/>
                  </a:moveTo>
                  <a:lnTo>
                    <a:pt x="1558" y="824"/>
                  </a:lnTo>
                  <a:lnTo>
                    <a:pt x="569" y="1813"/>
                  </a:lnTo>
                  <a:lnTo>
                    <a:pt x="389" y="1632"/>
                  </a:lnTo>
                  <a:lnTo>
                    <a:pt x="1377" y="644"/>
                  </a:lnTo>
                  <a:close/>
                  <a:moveTo>
                    <a:pt x="228" y="2315"/>
                  </a:moveTo>
                  <a:lnTo>
                    <a:pt x="228" y="1793"/>
                  </a:lnTo>
                  <a:lnTo>
                    <a:pt x="750" y="2315"/>
                  </a:lnTo>
                  <a:lnTo>
                    <a:pt x="228" y="2315"/>
                  </a:lnTo>
                  <a:close/>
                  <a:moveTo>
                    <a:pt x="911" y="2154"/>
                  </a:moveTo>
                  <a:lnTo>
                    <a:pt x="730" y="1973"/>
                  </a:lnTo>
                  <a:lnTo>
                    <a:pt x="1719" y="985"/>
                  </a:lnTo>
                  <a:lnTo>
                    <a:pt x="1899" y="1165"/>
                  </a:lnTo>
                  <a:lnTo>
                    <a:pt x="911" y="2154"/>
                  </a:lnTo>
                  <a:close/>
                  <a:moveTo>
                    <a:pt x="2207" y="857"/>
                  </a:moveTo>
                  <a:lnTo>
                    <a:pt x="2060" y="1005"/>
                  </a:lnTo>
                  <a:lnTo>
                    <a:pt x="1538" y="483"/>
                  </a:lnTo>
                  <a:lnTo>
                    <a:pt x="1685" y="336"/>
                  </a:lnTo>
                  <a:cubicBezTo>
                    <a:pt x="1775" y="246"/>
                    <a:pt x="1889" y="245"/>
                    <a:pt x="1980" y="336"/>
                  </a:cubicBezTo>
                  <a:lnTo>
                    <a:pt x="2207" y="563"/>
                  </a:lnTo>
                  <a:cubicBezTo>
                    <a:pt x="2299" y="655"/>
                    <a:pt x="2299" y="765"/>
                    <a:pt x="2207" y="8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59">
              <a:extLst>
                <a:ext uri="{FF2B5EF4-FFF2-40B4-BE49-F238E27FC236}">
                  <a16:creationId xmlns:a16="http://schemas.microsoft.com/office/drawing/2014/main" id="{A3F9DB59-7355-4D76-B53B-90864FB60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5959" y="2332038"/>
              <a:ext cx="298450" cy="373063"/>
            </a:xfrm>
            <a:custGeom>
              <a:avLst/>
              <a:gdLst>
                <a:gd name="T0" fmla="*/ 3527 w 5472"/>
                <a:gd name="T1" fmla="*/ 6599 h 6826"/>
                <a:gd name="T2" fmla="*/ 569 w 5472"/>
                <a:gd name="T3" fmla="*/ 6599 h 6826"/>
                <a:gd name="T4" fmla="*/ 228 w 5472"/>
                <a:gd name="T5" fmla="*/ 6257 h 6826"/>
                <a:gd name="T6" fmla="*/ 228 w 5472"/>
                <a:gd name="T7" fmla="*/ 569 h 6826"/>
                <a:gd name="T8" fmla="*/ 569 w 5472"/>
                <a:gd name="T9" fmla="*/ 227 h 6826"/>
                <a:gd name="T10" fmla="*/ 4163 w 5472"/>
                <a:gd name="T11" fmla="*/ 227 h 6826"/>
                <a:gd name="T12" fmla="*/ 5267 w 5472"/>
                <a:gd name="T13" fmla="*/ 1332 h 6826"/>
                <a:gd name="T14" fmla="*/ 5428 w 5472"/>
                <a:gd name="T15" fmla="*/ 1332 h 6826"/>
                <a:gd name="T16" fmla="*/ 5428 w 5472"/>
                <a:gd name="T17" fmla="*/ 1171 h 6826"/>
                <a:gd name="T18" fmla="*/ 4290 w 5472"/>
                <a:gd name="T19" fmla="*/ 33 h 6826"/>
                <a:gd name="T20" fmla="*/ 4210 w 5472"/>
                <a:gd name="T21" fmla="*/ 0 h 6826"/>
                <a:gd name="T22" fmla="*/ 569 w 5472"/>
                <a:gd name="T23" fmla="*/ 0 h 6826"/>
                <a:gd name="T24" fmla="*/ 0 w 5472"/>
                <a:gd name="T25" fmla="*/ 569 h 6826"/>
                <a:gd name="T26" fmla="*/ 0 w 5472"/>
                <a:gd name="T27" fmla="*/ 6257 h 6826"/>
                <a:gd name="T28" fmla="*/ 569 w 5472"/>
                <a:gd name="T29" fmla="*/ 6826 h 6826"/>
                <a:gd name="T30" fmla="*/ 3527 w 5472"/>
                <a:gd name="T31" fmla="*/ 6826 h 6826"/>
                <a:gd name="T32" fmla="*/ 3641 w 5472"/>
                <a:gd name="T33" fmla="*/ 6713 h 6826"/>
                <a:gd name="T34" fmla="*/ 3527 w 5472"/>
                <a:gd name="T35" fmla="*/ 6599 h 6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72" h="6826">
                  <a:moveTo>
                    <a:pt x="3527" y="6599"/>
                  </a:moveTo>
                  <a:lnTo>
                    <a:pt x="569" y="6599"/>
                  </a:lnTo>
                  <a:cubicBezTo>
                    <a:pt x="381" y="6599"/>
                    <a:pt x="228" y="6446"/>
                    <a:pt x="228" y="6257"/>
                  </a:cubicBezTo>
                  <a:lnTo>
                    <a:pt x="228" y="569"/>
                  </a:lnTo>
                  <a:cubicBezTo>
                    <a:pt x="228" y="380"/>
                    <a:pt x="381" y="227"/>
                    <a:pt x="569" y="227"/>
                  </a:cubicBezTo>
                  <a:lnTo>
                    <a:pt x="4163" y="227"/>
                  </a:lnTo>
                  <a:lnTo>
                    <a:pt x="5267" y="1332"/>
                  </a:lnTo>
                  <a:cubicBezTo>
                    <a:pt x="5312" y="1376"/>
                    <a:pt x="5384" y="1376"/>
                    <a:pt x="5428" y="1332"/>
                  </a:cubicBezTo>
                  <a:cubicBezTo>
                    <a:pt x="5472" y="1287"/>
                    <a:pt x="5472" y="1215"/>
                    <a:pt x="5428" y="1171"/>
                  </a:cubicBezTo>
                  <a:lnTo>
                    <a:pt x="4290" y="33"/>
                  </a:lnTo>
                  <a:cubicBezTo>
                    <a:pt x="4269" y="12"/>
                    <a:pt x="4240" y="0"/>
                    <a:pt x="4210" y="0"/>
                  </a:cubicBezTo>
                  <a:lnTo>
                    <a:pt x="569" y="0"/>
                  </a:lnTo>
                  <a:cubicBezTo>
                    <a:pt x="255" y="0"/>
                    <a:pt x="0" y="255"/>
                    <a:pt x="0" y="569"/>
                  </a:cubicBezTo>
                  <a:lnTo>
                    <a:pt x="0" y="6257"/>
                  </a:lnTo>
                  <a:cubicBezTo>
                    <a:pt x="0" y="6571"/>
                    <a:pt x="255" y="6826"/>
                    <a:pt x="569" y="6826"/>
                  </a:cubicBezTo>
                  <a:lnTo>
                    <a:pt x="3527" y="6826"/>
                  </a:lnTo>
                  <a:cubicBezTo>
                    <a:pt x="3590" y="6826"/>
                    <a:pt x="3641" y="6775"/>
                    <a:pt x="3641" y="6713"/>
                  </a:cubicBezTo>
                  <a:cubicBezTo>
                    <a:pt x="3641" y="6650"/>
                    <a:pt x="3590" y="6599"/>
                    <a:pt x="3527" y="65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60">
              <a:extLst>
                <a:ext uri="{FF2B5EF4-FFF2-40B4-BE49-F238E27FC236}">
                  <a16:creationId xmlns:a16="http://schemas.microsoft.com/office/drawing/2014/main" id="{06C9ACB9-0537-4665-AA1A-3F912540C6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2484" y="2630488"/>
              <a:ext cx="61913" cy="12700"/>
            </a:xfrm>
            <a:custGeom>
              <a:avLst/>
              <a:gdLst>
                <a:gd name="T0" fmla="*/ 1024 w 1138"/>
                <a:gd name="T1" fmla="*/ 0 h 228"/>
                <a:gd name="T2" fmla="*/ 114 w 1138"/>
                <a:gd name="T3" fmla="*/ 0 h 228"/>
                <a:gd name="T4" fmla="*/ 0 w 1138"/>
                <a:gd name="T5" fmla="*/ 114 h 228"/>
                <a:gd name="T6" fmla="*/ 114 w 1138"/>
                <a:gd name="T7" fmla="*/ 228 h 228"/>
                <a:gd name="T8" fmla="*/ 1024 w 1138"/>
                <a:gd name="T9" fmla="*/ 228 h 228"/>
                <a:gd name="T10" fmla="*/ 1138 w 1138"/>
                <a:gd name="T11" fmla="*/ 114 h 228"/>
                <a:gd name="T12" fmla="*/ 1024 w 1138"/>
                <a:gd name="T13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8" h="228">
                  <a:moveTo>
                    <a:pt x="1024" y="0"/>
                  </a:moveTo>
                  <a:lnTo>
                    <a:pt x="114" y="0"/>
                  </a:lnTo>
                  <a:cubicBezTo>
                    <a:pt x="51" y="0"/>
                    <a:pt x="0" y="51"/>
                    <a:pt x="0" y="114"/>
                  </a:cubicBezTo>
                  <a:cubicBezTo>
                    <a:pt x="0" y="177"/>
                    <a:pt x="51" y="228"/>
                    <a:pt x="114" y="228"/>
                  </a:cubicBezTo>
                  <a:lnTo>
                    <a:pt x="1024" y="228"/>
                  </a:lnTo>
                  <a:cubicBezTo>
                    <a:pt x="1087" y="228"/>
                    <a:pt x="1138" y="177"/>
                    <a:pt x="1138" y="114"/>
                  </a:cubicBezTo>
                  <a:cubicBezTo>
                    <a:pt x="1138" y="51"/>
                    <a:pt x="1087" y="0"/>
                    <a:pt x="102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61">
              <a:extLst>
                <a:ext uri="{FF2B5EF4-FFF2-40B4-BE49-F238E27FC236}">
                  <a16:creationId xmlns:a16="http://schemas.microsoft.com/office/drawing/2014/main" id="{669E72A6-17F6-4ABE-99A5-8FB92D32D7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17872" y="2444751"/>
              <a:ext cx="49213" cy="49213"/>
            </a:xfrm>
            <a:custGeom>
              <a:avLst/>
              <a:gdLst>
                <a:gd name="T0" fmla="*/ 910 w 910"/>
                <a:gd name="T1" fmla="*/ 113 h 910"/>
                <a:gd name="T2" fmla="*/ 796 w 910"/>
                <a:gd name="T3" fmla="*/ 0 h 910"/>
                <a:gd name="T4" fmla="*/ 114 w 910"/>
                <a:gd name="T5" fmla="*/ 0 h 910"/>
                <a:gd name="T6" fmla="*/ 0 w 910"/>
                <a:gd name="T7" fmla="*/ 113 h 910"/>
                <a:gd name="T8" fmla="*/ 0 w 910"/>
                <a:gd name="T9" fmla="*/ 796 h 910"/>
                <a:gd name="T10" fmla="*/ 114 w 910"/>
                <a:gd name="T11" fmla="*/ 910 h 910"/>
                <a:gd name="T12" fmla="*/ 796 w 910"/>
                <a:gd name="T13" fmla="*/ 910 h 910"/>
                <a:gd name="T14" fmla="*/ 910 w 910"/>
                <a:gd name="T15" fmla="*/ 796 h 910"/>
                <a:gd name="T16" fmla="*/ 910 w 910"/>
                <a:gd name="T17" fmla="*/ 113 h 910"/>
                <a:gd name="T18" fmla="*/ 682 w 910"/>
                <a:gd name="T19" fmla="*/ 682 h 910"/>
                <a:gd name="T20" fmla="*/ 227 w 910"/>
                <a:gd name="T21" fmla="*/ 682 h 910"/>
                <a:gd name="T22" fmla="*/ 227 w 910"/>
                <a:gd name="T23" fmla="*/ 227 h 910"/>
                <a:gd name="T24" fmla="*/ 682 w 910"/>
                <a:gd name="T25" fmla="*/ 227 h 910"/>
                <a:gd name="T26" fmla="*/ 682 w 910"/>
                <a:gd name="T27" fmla="*/ 682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0" h="910">
                  <a:moveTo>
                    <a:pt x="910" y="113"/>
                  </a:moveTo>
                  <a:cubicBezTo>
                    <a:pt x="910" y="51"/>
                    <a:pt x="859" y="0"/>
                    <a:pt x="796" y="0"/>
                  </a:cubicBezTo>
                  <a:lnTo>
                    <a:pt x="114" y="0"/>
                  </a:lnTo>
                  <a:cubicBezTo>
                    <a:pt x="51" y="0"/>
                    <a:pt x="0" y="51"/>
                    <a:pt x="0" y="113"/>
                  </a:cubicBezTo>
                  <a:lnTo>
                    <a:pt x="0" y="796"/>
                  </a:lnTo>
                  <a:cubicBezTo>
                    <a:pt x="0" y="859"/>
                    <a:pt x="51" y="910"/>
                    <a:pt x="114" y="910"/>
                  </a:cubicBezTo>
                  <a:lnTo>
                    <a:pt x="796" y="910"/>
                  </a:lnTo>
                  <a:cubicBezTo>
                    <a:pt x="859" y="910"/>
                    <a:pt x="910" y="859"/>
                    <a:pt x="910" y="796"/>
                  </a:cubicBezTo>
                  <a:lnTo>
                    <a:pt x="910" y="113"/>
                  </a:lnTo>
                  <a:close/>
                  <a:moveTo>
                    <a:pt x="682" y="682"/>
                  </a:moveTo>
                  <a:lnTo>
                    <a:pt x="227" y="682"/>
                  </a:lnTo>
                  <a:lnTo>
                    <a:pt x="227" y="227"/>
                  </a:lnTo>
                  <a:lnTo>
                    <a:pt x="682" y="227"/>
                  </a:lnTo>
                  <a:lnTo>
                    <a:pt x="682" y="6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62">
              <a:extLst>
                <a:ext uri="{FF2B5EF4-FFF2-40B4-BE49-F238E27FC236}">
                  <a16:creationId xmlns:a16="http://schemas.microsoft.com/office/drawing/2014/main" id="{5C6051D5-CB87-47E5-AF6E-D48B1A59A7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17872" y="2593976"/>
              <a:ext cx="49213" cy="49213"/>
            </a:xfrm>
            <a:custGeom>
              <a:avLst/>
              <a:gdLst>
                <a:gd name="T0" fmla="*/ 114 w 910"/>
                <a:gd name="T1" fmla="*/ 911 h 911"/>
                <a:gd name="T2" fmla="*/ 796 w 910"/>
                <a:gd name="T3" fmla="*/ 911 h 911"/>
                <a:gd name="T4" fmla="*/ 910 w 910"/>
                <a:gd name="T5" fmla="*/ 797 h 911"/>
                <a:gd name="T6" fmla="*/ 910 w 910"/>
                <a:gd name="T7" fmla="*/ 114 h 911"/>
                <a:gd name="T8" fmla="*/ 796 w 910"/>
                <a:gd name="T9" fmla="*/ 0 h 911"/>
                <a:gd name="T10" fmla="*/ 114 w 910"/>
                <a:gd name="T11" fmla="*/ 0 h 911"/>
                <a:gd name="T12" fmla="*/ 0 w 910"/>
                <a:gd name="T13" fmla="*/ 114 h 911"/>
                <a:gd name="T14" fmla="*/ 0 w 910"/>
                <a:gd name="T15" fmla="*/ 797 h 911"/>
                <a:gd name="T16" fmla="*/ 114 w 910"/>
                <a:gd name="T17" fmla="*/ 911 h 911"/>
                <a:gd name="T18" fmla="*/ 227 w 910"/>
                <a:gd name="T19" fmla="*/ 228 h 911"/>
                <a:gd name="T20" fmla="*/ 682 w 910"/>
                <a:gd name="T21" fmla="*/ 228 h 911"/>
                <a:gd name="T22" fmla="*/ 682 w 910"/>
                <a:gd name="T23" fmla="*/ 683 h 911"/>
                <a:gd name="T24" fmla="*/ 227 w 910"/>
                <a:gd name="T25" fmla="*/ 683 h 911"/>
                <a:gd name="T26" fmla="*/ 227 w 910"/>
                <a:gd name="T27" fmla="*/ 228 h 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0" h="911">
                  <a:moveTo>
                    <a:pt x="114" y="911"/>
                  </a:moveTo>
                  <a:lnTo>
                    <a:pt x="796" y="911"/>
                  </a:lnTo>
                  <a:cubicBezTo>
                    <a:pt x="859" y="911"/>
                    <a:pt x="910" y="860"/>
                    <a:pt x="910" y="797"/>
                  </a:cubicBezTo>
                  <a:lnTo>
                    <a:pt x="910" y="114"/>
                  </a:lnTo>
                  <a:cubicBezTo>
                    <a:pt x="910" y="51"/>
                    <a:pt x="859" y="0"/>
                    <a:pt x="796" y="0"/>
                  </a:cubicBezTo>
                  <a:lnTo>
                    <a:pt x="114" y="0"/>
                  </a:lnTo>
                  <a:cubicBezTo>
                    <a:pt x="51" y="0"/>
                    <a:pt x="0" y="51"/>
                    <a:pt x="0" y="114"/>
                  </a:cubicBezTo>
                  <a:lnTo>
                    <a:pt x="0" y="797"/>
                  </a:lnTo>
                  <a:cubicBezTo>
                    <a:pt x="0" y="860"/>
                    <a:pt x="51" y="911"/>
                    <a:pt x="114" y="911"/>
                  </a:cubicBezTo>
                  <a:close/>
                  <a:moveTo>
                    <a:pt x="227" y="228"/>
                  </a:moveTo>
                  <a:lnTo>
                    <a:pt x="682" y="228"/>
                  </a:lnTo>
                  <a:lnTo>
                    <a:pt x="682" y="683"/>
                  </a:lnTo>
                  <a:lnTo>
                    <a:pt x="227" y="683"/>
                  </a:lnTo>
                  <a:lnTo>
                    <a:pt x="227" y="2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63">
              <a:extLst>
                <a:ext uri="{FF2B5EF4-FFF2-40B4-BE49-F238E27FC236}">
                  <a16:creationId xmlns:a16="http://schemas.microsoft.com/office/drawing/2014/main" id="{ACF8382B-D1E3-4509-A7D5-3035FCA09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7872" y="2517776"/>
              <a:ext cx="50800" cy="50800"/>
            </a:xfrm>
            <a:custGeom>
              <a:avLst/>
              <a:gdLst>
                <a:gd name="T0" fmla="*/ 272 w 937"/>
                <a:gd name="T1" fmla="*/ 893 h 926"/>
                <a:gd name="T2" fmla="*/ 352 w 937"/>
                <a:gd name="T3" fmla="*/ 926 h 926"/>
                <a:gd name="T4" fmla="*/ 363 w 937"/>
                <a:gd name="T5" fmla="*/ 926 h 926"/>
                <a:gd name="T6" fmla="*/ 447 w 937"/>
                <a:gd name="T7" fmla="*/ 876 h 926"/>
                <a:gd name="T8" fmla="*/ 902 w 937"/>
                <a:gd name="T9" fmla="*/ 193 h 926"/>
                <a:gd name="T10" fmla="*/ 870 w 937"/>
                <a:gd name="T11" fmla="*/ 35 h 926"/>
                <a:gd name="T12" fmla="*/ 713 w 937"/>
                <a:gd name="T13" fmla="*/ 67 h 926"/>
                <a:gd name="T14" fmla="*/ 334 w 937"/>
                <a:gd name="T15" fmla="*/ 634 h 926"/>
                <a:gd name="T16" fmla="*/ 205 w 937"/>
                <a:gd name="T17" fmla="*/ 504 h 926"/>
                <a:gd name="T18" fmla="*/ 44 w 937"/>
                <a:gd name="T19" fmla="*/ 504 h 926"/>
                <a:gd name="T20" fmla="*/ 44 w 937"/>
                <a:gd name="T21" fmla="*/ 665 h 926"/>
                <a:gd name="T22" fmla="*/ 272 w 937"/>
                <a:gd name="T23" fmla="*/ 89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37" h="926">
                  <a:moveTo>
                    <a:pt x="272" y="893"/>
                  </a:moveTo>
                  <a:cubicBezTo>
                    <a:pt x="293" y="914"/>
                    <a:pt x="322" y="926"/>
                    <a:pt x="352" y="926"/>
                  </a:cubicBezTo>
                  <a:cubicBezTo>
                    <a:pt x="356" y="926"/>
                    <a:pt x="360" y="926"/>
                    <a:pt x="363" y="926"/>
                  </a:cubicBezTo>
                  <a:cubicBezTo>
                    <a:pt x="397" y="922"/>
                    <a:pt x="428" y="904"/>
                    <a:pt x="447" y="876"/>
                  </a:cubicBezTo>
                  <a:lnTo>
                    <a:pt x="902" y="193"/>
                  </a:lnTo>
                  <a:cubicBezTo>
                    <a:pt x="937" y="141"/>
                    <a:pt x="923" y="70"/>
                    <a:pt x="870" y="35"/>
                  </a:cubicBezTo>
                  <a:cubicBezTo>
                    <a:pt x="818" y="0"/>
                    <a:pt x="747" y="14"/>
                    <a:pt x="713" y="67"/>
                  </a:cubicBezTo>
                  <a:lnTo>
                    <a:pt x="334" y="634"/>
                  </a:lnTo>
                  <a:lnTo>
                    <a:pt x="205" y="504"/>
                  </a:lnTo>
                  <a:cubicBezTo>
                    <a:pt x="160" y="460"/>
                    <a:pt x="89" y="460"/>
                    <a:pt x="44" y="504"/>
                  </a:cubicBezTo>
                  <a:cubicBezTo>
                    <a:pt x="0" y="549"/>
                    <a:pt x="0" y="621"/>
                    <a:pt x="44" y="665"/>
                  </a:cubicBezTo>
                  <a:lnTo>
                    <a:pt x="272" y="8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66958126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08BBD5B-BA87-4BE3-9AC7-6E44B5DA53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Танланган</a:t>
            </a:r>
            <a:r>
              <a:rPr lang="ru-RU" dirty="0"/>
              <a:t> </a:t>
            </a:r>
            <a:r>
              <a:rPr lang="ru-RU" dirty="0" err="1"/>
              <a:t>ҳужжатли</a:t>
            </a:r>
            <a:r>
              <a:rPr lang="ru-RU" dirty="0"/>
              <a:t> </a:t>
            </a:r>
            <a:r>
              <a:rPr lang="ru-RU" dirty="0" err="1"/>
              <a:t>текшириш</a:t>
            </a:r>
            <a:br>
              <a:rPr lang="ru-RU" dirty="0"/>
            </a:br>
            <a:br>
              <a:rPr lang="ru-RU" dirty="0"/>
            </a:b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43B8EA6-BC6A-4C73-8C8F-CE15085E83C2}"/>
              </a:ext>
            </a:extLst>
          </p:cNvPr>
          <p:cNvSpPr txBox="1">
            <a:spLocks/>
          </p:cNvSpPr>
          <p:nvPr/>
        </p:nvSpPr>
        <p:spPr>
          <a:xfrm>
            <a:off x="431999" y="1910606"/>
            <a:ext cx="11306007" cy="27528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28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152000" indent="-28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29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96069" indent="-285750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600" b="0" spc="-4" dirty="0">
                <a:cs typeface="Arial" panose="020B0604020202020204" pitchFamily="34" charset="0"/>
              </a:rPr>
              <a:t>Ички </a:t>
            </a:r>
            <a:r>
              <a:rPr lang="ru-RU" sz="1600" b="0" spc="-4" dirty="0" err="1">
                <a:cs typeface="Arial" panose="020B0604020202020204" pitchFamily="34" charset="0"/>
              </a:rPr>
              <a:t>харидлар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сиёсат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ва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регламентлари</a:t>
            </a:r>
            <a:r>
              <a:rPr lang="ru-RU" sz="1600" b="0" spc="-4" dirty="0">
                <a:cs typeface="Arial" panose="020B0604020202020204" pitchFamily="34" charset="0"/>
              </a:rPr>
              <a:t>; </a:t>
            </a:r>
          </a:p>
          <a:p>
            <a:pPr marL="296069" indent="-285750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600" b="0" spc="-4" dirty="0" err="1">
                <a:cs typeface="Arial" panose="020B0604020202020204" pitchFamily="34" charset="0"/>
              </a:rPr>
              <a:t>Етказиб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берувчиларнинг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текширувин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тасдиқловч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ҳужжатлар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en-US" sz="1600" b="0" spc="-4" dirty="0">
                <a:cs typeface="Arial" panose="020B0604020202020204" pitchFamily="34" charset="0"/>
              </a:rPr>
              <a:t>DD</a:t>
            </a:r>
            <a:r>
              <a:rPr lang="ru-RU" sz="1600" b="0" spc="-4" dirty="0">
                <a:cs typeface="Arial" panose="020B0604020202020204" pitchFamily="34" charset="0"/>
              </a:rPr>
              <a:t> (</a:t>
            </a:r>
            <a:r>
              <a:rPr lang="en-US" sz="1600" b="0" spc="-4" dirty="0">
                <a:cs typeface="Arial" panose="020B0604020202020204" pitchFamily="34" charset="0"/>
              </a:rPr>
              <a:t>Due Diligence), KYC( Know Your Costumer</a:t>
            </a:r>
            <a:r>
              <a:rPr lang="ru-RU" sz="1600" b="0" spc="-4" dirty="0">
                <a:cs typeface="Arial" panose="020B0604020202020204" pitchFamily="34" charset="0"/>
              </a:rPr>
              <a:t>);</a:t>
            </a:r>
          </a:p>
          <a:p>
            <a:pPr marL="296069" indent="-285750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600" b="0" spc="-4" dirty="0" err="1">
                <a:cs typeface="Arial" panose="020B0604020202020204" pitchFamily="34" charset="0"/>
              </a:rPr>
              <a:t>Етказиб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берувчиларн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танлаб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олинганлигин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тасдиқловч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ҳужжатлар</a:t>
            </a:r>
            <a:r>
              <a:rPr lang="ru-RU" sz="1600" b="0" spc="-4" dirty="0">
                <a:cs typeface="Arial" panose="020B0604020202020204" pitchFamily="34" charset="0"/>
              </a:rPr>
              <a:t> (</a:t>
            </a:r>
            <a:r>
              <a:rPr lang="ru-RU" sz="1600" b="0" spc="-4" dirty="0" err="1">
                <a:cs typeface="Arial" panose="020B0604020202020204" pitchFamily="34" charset="0"/>
              </a:rPr>
              <a:t>хабарнома</a:t>
            </a:r>
            <a:r>
              <a:rPr lang="ru-RU" sz="1600" b="0" spc="-4" dirty="0">
                <a:cs typeface="Arial" panose="020B0604020202020204" pitchFamily="34" charset="0"/>
              </a:rPr>
              <a:t>, техник </a:t>
            </a:r>
            <a:r>
              <a:rPr lang="ru-RU" sz="1600" b="0" spc="-4" dirty="0" err="1">
                <a:cs typeface="Arial" panose="020B0604020202020204" pitchFamily="34" charset="0"/>
              </a:rPr>
              <a:t>топшириқ</a:t>
            </a:r>
            <a:r>
              <a:rPr lang="ru-RU" sz="1600" b="0" spc="-4" dirty="0">
                <a:cs typeface="Arial" panose="020B0604020202020204" pitchFamily="34" charset="0"/>
              </a:rPr>
              <a:t>, </a:t>
            </a:r>
            <a:r>
              <a:rPr lang="ru-RU" sz="1600" b="0" spc="-4" dirty="0" err="1">
                <a:cs typeface="Arial" panose="020B0604020202020204" pitchFamily="34" charset="0"/>
              </a:rPr>
              <a:t>тижорат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таклифларин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кўриб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чиқиш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баённомаси</a:t>
            </a:r>
            <a:r>
              <a:rPr lang="ru-RU" sz="1600" b="0" spc="-4" dirty="0">
                <a:cs typeface="Arial" panose="020B0604020202020204" pitchFamily="34" charset="0"/>
              </a:rPr>
              <a:t>, </a:t>
            </a:r>
            <a:r>
              <a:rPr lang="ru-RU" sz="1600" b="0" spc="-4" dirty="0" err="1">
                <a:cs typeface="Arial" panose="020B0604020202020204" pitchFamily="34" charset="0"/>
              </a:rPr>
              <a:t>қарорлар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қабул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қилиш</a:t>
            </a:r>
            <a:r>
              <a:rPr lang="ru-RU" sz="1600" b="0" spc="-4" dirty="0">
                <a:cs typeface="Arial" panose="020B0604020202020204" pitchFamily="34" charset="0"/>
              </a:rPr>
              <a:t>);</a:t>
            </a:r>
          </a:p>
          <a:p>
            <a:pPr marL="296069" indent="-285750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600" b="0" spc="-4" dirty="0" err="1">
                <a:cs typeface="Arial" panose="020B0604020202020204" pitchFamily="34" charset="0"/>
              </a:rPr>
              <a:t>Шартнома</a:t>
            </a:r>
            <a:r>
              <a:rPr lang="ru-RU" sz="1600" b="0" spc="-4" dirty="0">
                <a:cs typeface="Arial" panose="020B0604020202020204" pitchFamily="34" charset="0"/>
              </a:rPr>
              <a:t>, </a:t>
            </a:r>
            <a:r>
              <a:rPr lang="ru-RU" sz="1600" b="0" spc="-4" dirty="0" err="1">
                <a:cs typeface="Arial" panose="020B0604020202020204" pitchFamily="34" charset="0"/>
              </a:rPr>
              <a:t>унинг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қўшимчалар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ва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хусусиятлари</a:t>
            </a:r>
            <a:r>
              <a:rPr lang="ru-RU" sz="1600" b="0" spc="-4" dirty="0">
                <a:cs typeface="Arial" panose="020B0604020202020204" pitchFamily="34" charset="0"/>
              </a:rPr>
              <a:t>;</a:t>
            </a:r>
            <a:endParaRPr lang="en-US" sz="1600" b="0" spc="-4" dirty="0">
              <a:cs typeface="Arial" panose="020B0604020202020204" pitchFamily="34" charset="0"/>
            </a:endParaRPr>
          </a:p>
          <a:p>
            <a:pPr marL="296069" indent="-285750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600" b="0" spc="-4" dirty="0" err="1">
                <a:cs typeface="Arial" panose="020B0604020202020204" pitchFamily="34" charset="0"/>
              </a:rPr>
              <a:t>Хизматлар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кўрсатиш</a:t>
            </a:r>
            <a:r>
              <a:rPr lang="ru-RU" sz="1600" b="0" spc="-4" dirty="0">
                <a:cs typeface="Arial" panose="020B0604020202020204" pitchFamily="34" charset="0"/>
              </a:rPr>
              <a:t> / </a:t>
            </a:r>
            <a:r>
              <a:rPr lang="ru-RU" sz="1600" b="0" spc="-4" dirty="0" err="1">
                <a:cs typeface="Arial" panose="020B0604020202020204" pitchFamily="34" charset="0"/>
              </a:rPr>
              <a:t>ишларн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бажариш</a:t>
            </a:r>
            <a:r>
              <a:rPr lang="ru-RU" sz="1600" b="0" spc="-4" dirty="0">
                <a:cs typeface="Arial" panose="020B0604020202020204" pitchFamily="34" charset="0"/>
              </a:rPr>
              <a:t> / ТМҚ </a:t>
            </a:r>
            <a:r>
              <a:rPr lang="ru-RU" sz="1600" b="0" spc="-4" dirty="0" err="1">
                <a:cs typeface="Arial" panose="020B0604020202020204" pitchFamily="34" charset="0"/>
              </a:rPr>
              <a:t>ларн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етказиб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бериш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фактин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тасдиқловч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ҳужжатлар</a:t>
            </a:r>
            <a:r>
              <a:rPr lang="ru-RU" sz="1600" b="0" spc="-4" dirty="0">
                <a:cs typeface="Arial" panose="020B0604020202020204" pitchFamily="34" charset="0"/>
              </a:rPr>
              <a:t> (</a:t>
            </a:r>
            <a:r>
              <a:rPr lang="ru-RU" sz="1600" b="0" spc="-4" dirty="0" err="1">
                <a:cs typeface="Arial" panose="020B0604020202020204" pitchFamily="34" charset="0"/>
              </a:rPr>
              <a:t>бажарилган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ишлар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тўғрисида</a:t>
            </a:r>
            <a:r>
              <a:rPr lang="ru-RU" sz="1600" b="0" spc="-4" dirty="0">
                <a:cs typeface="Arial" panose="020B0604020202020204" pitchFamily="34" charset="0"/>
              </a:rPr>
              <a:t> акт, счёт-фактура, </a:t>
            </a:r>
            <a:r>
              <a:rPr lang="uz-Cyrl-UZ" sz="1600" b="0" spc="-4" dirty="0">
                <a:cs typeface="Arial" panose="020B0604020202020204" pitchFamily="34" charset="0"/>
              </a:rPr>
              <a:t>товар ҳисоб</a:t>
            </a:r>
            <a:r>
              <a:rPr lang="en-US" sz="1600" b="0" spc="-4" dirty="0">
                <a:cs typeface="Arial" panose="020B0604020202020204" pitchFamily="34" charset="0"/>
              </a:rPr>
              <a:t>-</a:t>
            </a:r>
            <a:r>
              <a:rPr lang="uz-Cyrl-UZ" sz="1600" b="0" spc="-4" dirty="0">
                <a:cs typeface="Arial" panose="020B0604020202020204" pitchFamily="34" charset="0"/>
              </a:rPr>
              <a:t>варақаси</a:t>
            </a:r>
            <a:r>
              <a:rPr lang="ru-RU" sz="1600" b="0" spc="-4" dirty="0">
                <a:cs typeface="Arial" panose="020B0604020202020204" pitchFamily="34" charset="0"/>
              </a:rPr>
              <a:t>, товар </a:t>
            </a:r>
            <a:r>
              <a:rPr lang="ru-RU" sz="1600" b="0" spc="-4" dirty="0" err="1">
                <a:cs typeface="Arial" panose="020B0604020202020204" pitchFamily="34" charset="0"/>
              </a:rPr>
              <a:t>ва</a:t>
            </a:r>
            <a:r>
              <a:rPr lang="ru-RU" sz="1600" b="0" spc="-4" dirty="0">
                <a:cs typeface="Arial" panose="020B0604020202020204" pitchFamily="34" charset="0"/>
              </a:rPr>
              <a:t> транспорт </a:t>
            </a:r>
            <a:r>
              <a:rPr lang="ru-RU" sz="1600" b="0" spc="-4" dirty="0" err="1">
                <a:cs typeface="Arial" panose="020B0604020202020204" pitchFamily="34" charset="0"/>
              </a:rPr>
              <a:t>ҳисоб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варақаси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ва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бошқалар</a:t>
            </a:r>
            <a:r>
              <a:rPr lang="ru-RU" sz="1600" b="0" spc="-4" dirty="0">
                <a:cs typeface="Arial" panose="020B0604020202020204" pitchFamily="34" charset="0"/>
              </a:rPr>
              <a:t>);</a:t>
            </a:r>
          </a:p>
          <a:p>
            <a:pPr marL="296069" indent="-285750"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600" b="0" spc="-4" dirty="0" err="1">
                <a:cs typeface="Arial" panose="020B0604020202020204" pitchFamily="34" charset="0"/>
              </a:rPr>
              <a:t>Тўлов</a:t>
            </a:r>
            <a:r>
              <a:rPr lang="ru-RU" sz="1600" b="0" spc="-4" dirty="0">
                <a:cs typeface="Arial" panose="020B0604020202020204" pitchFamily="34" charset="0"/>
              </a:rPr>
              <a:t> </a:t>
            </a:r>
            <a:r>
              <a:rPr lang="ru-RU" sz="1600" b="0" spc="-4" dirty="0" err="1">
                <a:cs typeface="Arial" panose="020B0604020202020204" pitchFamily="34" charset="0"/>
              </a:rPr>
              <a:t>ҳужжатлари</a:t>
            </a:r>
            <a:r>
              <a:rPr lang="ru-RU" sz="1600" b="0" spc="-4" dirty="0"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EADF4D9-6945-44A9-A986-B1AD67EB1869}"/>
              </a:ext>
            </a:extLst>
          </p:cNvPr>
          <p:cNvGrpSpPr/>
          <p:nvPr/>
        </p:nvGrpSpPr>
        <p:grpSpPr>
          <a:xfrm>
            <a:off x="443080" y="1282693"/>
            <a:ext cx="11306008" cy="434975"/>
            <a:chOff x="3784798" y="1289128"/>
            <a:chExt cx="7964290" cy="463165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86EDB245-C798-468C-B70C-AC7B2CA87062}"/>
                </a:ext>
              </a:extLst>
            </p:cNvPr>
            <p:cNvSpPr/>
            <p:nvPr/>
          </p:nvSpPr>
          <p:spPr>
            <a:xfrm>
              <a:off x="3921193" y="1371686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2D4BB91E-0D18-473E-8FF8-669DF35E006B}"/>
                </a:ext>
              </a:extLst>
            </p:cNvPr>
            <p:cNvSpPr/>
            <p:nvPr/>
          </p:nvSpPr>
          <p:spPr>
            <a:xfrm>
              <a:off x="3784798" y="1289128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pPr>
                <a:spcBef>
                  <a:spcPts val="400"/>
                </a:spcBef>
                <a:buClr>
                  <a:schemeClr val="bg1"/>
                </a:buClr>
              </a:pP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Танланган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ҳужжатл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текшири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учун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талаб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этиладиган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ҳужжатлар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</a:rPr>
                <a:t>рўйхати</a:t>
              </a:r>
              <a:r>
                <a:rPr lang="ru-RU" sz="1400" dirty="0">
                  <a:cs typeface="Arial" pitchFamily="34" charset="0"/>
                </a:rPr>
                <a:t>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604169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ED5F977B-B32D-49A1-A1ED-817E16707A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44395"/>
              </p:ext>
            </p:extLst>
          </p:nvPr>
        </p:nvGraphicFramePr>
        <p:xfrm>
          <a:off x="431999" y="1573011"/>
          <a:ext cx="11327118" cy="47100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2360">
                  <a:extLst>
                    <a:ext uri="{9D8B030D-6E8A-4147-A177-3AD203B41FA5}">
                      <a16:colId xmlns:a16="http://schemas.microsoft.com/office/drawing/2014/main" val="883667857"/>
                    </a:ext>
                  </a:extLst>
                </a:gridCol>
                <a:gridCol w="2559653">
                  <a:extLst>
                    <a:ext uri="{9D8B030D-6E8A-4147-A177-3AD203B41FA5}">
                      <a16:colId xmlns:a16="http://schemas.microsoft.com/office/drawing/2014/main" val="4230808858"/>
                    </a:ext>
                  </a:extLst>
                </a:gridCol>
                <a:gridCol w="1982830">
                  <a:extLst>
                    <a:ext uri="{9D8B030D-6E8A-4147-A177-3AD203B41FA5}">
                      <a16:colId xmlns:a16="http://schemas.microsoft.com/office/drawing/2014/main" val="3127423005"/>
                    </a:ext>
                  </a:extLst>
                </a:gridCol>
                <a:gridCol w="1045492">
                  <a:extLst>
                    <a:ext uri="{9D8B030D-6E8A-4147-A177-3AD203B41FA5}">
                      <a16:colId xmlns:a16="http://schemas.microsoft.com/office/drawing/2014/main" val="1344277155"/>
                    </a:ext>
                  </a:extLst>
                </a:gridCol>
                <a:gridCol w="901286">
                  <a:extLst>
                    <a:ext uri="{9D8B030D-6E8A-4147-A177-3AD203B41FA5}">
                      <a16:colId xmlns:a16="http://schemas.microsoft.com/office/drawing/2014/main" val="3259728679"/>
                    </a:ext>
                  </a:extLst>
                </a:gridCol>
                <a:gridCol w="1369955">
                  <a:extLst>
                    <a:ext uri="{9D8B030D-6E8A-4147-A177-3AD203B41FA5}">
                      <a16:colId xmlns:a16="http://schemas.microsoft.com/office/drawing/2014/main" val="1572916360"/>
                    </a:ext>
                  </a:extLst>
                </a:gridCol>
                <a:gridCol w="1081543">
                  <a:extLst>
                    <a:ext uri="{9D8B030D-6E8A-4147-A177-3AD203B41FA5}">
                      <a16:colId xmlns:a16="http://schemas.microsoft.com/office/drawing/2014/main" val="2901483916"/>
                    </a:ext>
                  </a:extLst>
                </a:gridCol>
                <a:gridCol w="1225749">
                  <a:extLst>
                    <a:ext uri="{9D8B030D-6E8A-4147-A177-3AD203B41FA5}">
                      <a16:colId xmlns:a16="http://schemas.microsoft.com/office/drawing/2014/main" val="3016009454"/>
                    </a:ext>
                  </a:extLst>
                </a:gridCol>
                <a:gridCol w="908250">
                  <a:extLst>
                    <a:ext uri="{9D8B030D-6E8A-4147-A177-3AD203B41FA5}">
                      <a16:colId xmlns:a16="http://schemas.microsoft.com/office/drawing/2014/main" val="1549920034"/>
                    </a:ext>
                  </a:extLst>
                </a:gridCol>
              </a:tblGrid>
              <a:tr h="17893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№ п/п</a:t>
                      </a:r>
                      <a:endParaRPr lang="en-US" sz="10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ониторинг тури /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адбирлар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endParaRPr lang="en-US" sz="10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uz-Cyrl-UZ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ониторинг даврийлиги 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ҳар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йили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/ ярим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йиллик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/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унлик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/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унтазам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)</a:t>
                      </a:r>
                      <a:endParaRPr lang="en-US" sz="10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ониторинг /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адбир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санаси</a:t>
                      </a:r>
                      <a:endParaRPr lang="en-US" sz="10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узатиш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авсифи</a:t>
                      </a:r>
                      <a:endParaRPr lang="en-US" sz="10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оррупцияга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қарши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изимни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узатиш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чоралари</a:t>
                      </a:r>
                      <a:endParaRPr lang="en-US" sz="10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асъул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ижрочи</a:t>
                      </a:r>
                      <a:endParaRPr lang="en-US" sz="10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узатиш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уддати</a:t>
                      </a:r>
                      <a:endParaRPr lang="en-US" sz="10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Ижро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ҳолати</a:t>
                      </a:r>
                      <a:endParaRPr lang="en-US" sz="10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9929040"/>
                  </a:ext>
                </a:extLst>
              </a:tr>
              <a:tr h="0">
                <a:tc gridSpan="9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оррупсияга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қарши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урашиш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изимининг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етарлилигини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баҳолаш</a:t>
                      </a:r>
                      <a:endParaRPr lang="en-US" sz="10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611572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1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Қонунчилиги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а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ҳокимият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рганларининг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авсиялари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мониторинги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унтазам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 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1.</a:t>
                      </a: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….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1.</a:t>
                      </a: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….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1.</a:t>
                      </a: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….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1.</a:t>
                      </a: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….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1.</a:t>
                      </a: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….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08148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</a:t>
                      </a: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.….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</a:t>
                      </a: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.….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</a:t>
                      </a: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.….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</a:t>
                      </a: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.….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</a:t>
                      </a: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.….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123816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9031017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2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оррупцияга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қарши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урашиш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асалалари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бўйича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халқаро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а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хорижий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ашкилотларнинг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авсиялари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мониторинги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унтазам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 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.1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.1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.1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.1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.1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848460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2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2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2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2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2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2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2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2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2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2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111984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2203019"/>
                  </a:ext>
                </a:extLst>
              </a:tr>
              <a:tr h="0">
                <a:tc gridSpan="9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оррупцияга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қарши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урашиш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изимининг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самарадорлигини</a:t>
                      </a:r>
                      <a:r>
                        <a:rPr lang="ru-RU" sz="1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баҳолаш</a:t>
                      </a:r>
                      <a:endParaRPr lang="en-US" sz="10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492380830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АВ Мониторинги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унтазам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 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1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1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1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1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1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00212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2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2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2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2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2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663050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980380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Ходимларнинг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коррупцияга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қарши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урашиш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асослари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а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алаблари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ўғрисида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хабардорлигини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екшириш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Ҳар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ярим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йилда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 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1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1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1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1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1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447660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2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2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2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2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2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86760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180289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.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оррупцияга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қарши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урашиш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дастури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ижросини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uz-Cyrl-UZ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азорат қилиш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Ҳар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чорак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.1 …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.1 …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.1 …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.1 …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.1 …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28391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0" marR="3935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0" marR="3935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0" marR="3935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0" marR="3935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.2 …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.2 …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.2 …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.2 …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.2 …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864425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0" marR="3935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0" marR="3935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0" marR="3935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0" marR="3935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0280394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.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Давлат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ргани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ходимлари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омонидан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коррупцияга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қарши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урашиш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сиёсати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а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артиб-қоидаларига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риоя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этилишини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мониторинг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қилиш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Ҳар</a:t>
                      </a: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чорак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 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.1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.1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.1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.1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.1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168639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.2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.2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.2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.2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.2. 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129635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  <a:endParaRPr lang="en-US" sz="10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401962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481131-5582-4950-B431-84A728A155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8150"/>
            <a:ext cx="10988670" cy="434975"/>
          </a:xfrm>
        </p:spPr>
        <p:txBody>
          <a:bodyPr/>
          <a:lstStyle/>
          <a:p>
            <a:r>
              <a:rPr lang="ru-RU" dirty="0"/>
              <a:t>Давлат </a:t>
            </a:r>
            <a:r>
              <a:rPr lang="ru-RU" dirty="0" err="1"/>
              <a:t>органининг</a:t>
            </a:r>
            <a:r>
              <a:rPr lang="ru-RU" dirty="0"/>
              <a:t> 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</a:t>
            </a:r>
            <a:r>
              <a:rPr lang="ru-RU" dirty="0"/>
              <a:t> </a:t>
            </a:r>
            <a:r>
              <a:rPr lang="ru-RU" dirty="0" err="1"/>
              <a:t>тизими</a:t>
            </a:r>
            <a:r>
              <a:rPr lang="ru-RU" dirty="0"/>
              <a:t> </a:t>
            </a:r>
            <a:r>
              <a:rPr lang="ru-RU" dirty="0" err="1"/>
              <a:t>ҳолатини</a:t>
            </a:r>
            <a:r>
              <a:rPr lang="ru-RU" dirty="0"/>
              <a:t> мониторинг </a:t>
            </a:r>
            <a:r>
              <a:rPr lang="ru-RU" dirty="0" err="1"/>
              <a:t>натижаларини</a:t>
            </a:r>
            <a:r>
              <a:rPr lang="ru-RU" dirty="0"/>
              <a:t> </a:t>
            </a:r>
            <a:r>
              <a:rPr lang="ru-RU" dirty="0" err="1"/>
              <a:t>рўйхатдан</a:t>
            </a:r>
            <a:r>
              <a:rPr lang="ru-RU" dirty="0"/>
              <a:t> </a:t>
            </a:r>
            <a:r>
              <a:rPr lang="ru-RU" dirty="0" err="1"/>
              <a:t>ўтказиш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324F5F2-BB2C-4AA6-8D3F-F945AE9542BE}"/>
              </a:ext>
            </a:extLst>
          </p:cNvPr>
          <p:cNvGrpSpPr/>
          <p:nvPr/>
        </p:nvGrpSpPr>
        <p:grpSpPr>
          <a:xfrm>
            <a:off x="443080" y="1155332"/>
            <a:ext cx="11306008" cy="354492"/>
            <a:chOff x="3784798" y="1289128"/>
            <a:chExt cx="7964290" cy="463165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9BCECEAB-D1F8-4F0B-A313-2685C183845C}"/>
                </a:ext>
              </a:extLst>
            </p:cNvPr>
            <p:cNvSpPr/>
            <p:nvPr/>
          </p:nvSpPr>
          <p:spPr>
            <a:xfrm>
              <a:off x="3921193" y="1371686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167C7347-2C8D-44AE-B8AC-9EF24C4AB3FD}"/>
                </a:ext>
              </a:extLst>
            </p:cNvPr>
            <p:cNvSpPr/>
            <p:nvPr/>
          </p:nvSpPr>
          <p:spPr>
            <a:xfrm>
              <a:off x="3784798" y="1289128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pPr algn="ctr"/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ррупцияга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арш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ураши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изимининг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ҳолат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мониторинги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журналининг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шакли</a:t>
              </a:r>
              <a:endParaRPr lang="ru-RU" sz="14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65447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2C937A-A4B4-4865-8B57-65B5AEE7C7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Ўзбекистон </a:t>
            </a:r>
            <a:r>
              <a:rPr lang="ru-RU" dirty="0" err="1"/>
              <a:t>Республикаси</a:t>
            </a:r>
            <a:r>
              <a:rPr lang="ru-RU" dirty="0"/>
              <a:t> </a:t>
            </a:r>
            <a:r>
              <a:rPr lang="ru-RU" dirty="0" err="1"/>
              <a:t>давлат</a:t>
            </a:r>
            <a:r>
              <a:rPr lang="ru-RU" dirty="0"/>
              <a:t> </a:t>
            </a:r>
            <a:r>
              <a:rPr lang="ru-RU" dirty="0" err="1"/>
              <a:t>органларида</a:t>
            </a:r>
            <a:r>
              <a:rPr lang="ru-RU" dirty="0"/>
              <a:t> ички </a:t>
            </a:r>
            <a:r>
              <a:rPr lang="ru-RU" dirty="0" err="1"/>
              <a:t>аудитнинг</a:t>
            </a:r>
            <a:r>
              <a:rPr lang="ru-RU" dirty="0"/>
              <a:t> </a:t>
            </a:r>
            <a:r>
              <a:rPr lang="ru-RU" dirty="0" err="1"/>
              <a:t>функцияси</a:t>
            </a:r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1F822D3-4FEC-48AE-B862-95D84B6D3AA9}"/>
              </a:ext>
            </a:extLst>
          </p:cNvPr>
          <p:cNvGrpSpPr/>
          <p:nvPr/>
        </p:nvGrpSpPr>
        <p:grpSpPr>
          <a:xfrm>
            <a:off x="443080" y="1282693"/>
            <a:ext cx="11306008" cy="434975"/>
            <a:chOff x="3784798" y="1289128"/>
            <a:chExt cx="7964290" cy="463165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6C4DE6A9-7E6C-46EE-9724-E3F52AAD2F82}"/>
                </a:ext>
              </a:extLst>
            </p:cNvPr>
            <p:cNvSpPr/>
            <p:nvPr/>
          </p:nvSpPr>
          <p:spPr>
            <a:xfrm>
              <a:off x="3921193" y="1371686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BEE3E51B-A74F-4FB4-A3B2-005D85795F3B}"/>
                </a:ext>
              </a:extLst>
            </p:cNvPr>
            <p:cNvSpPr/>
            <p:nvPr/>
          </p:nvSpPr>
          <p:spPr>
            <a:xfrm>
              <a:off x="3784798" y="1289128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pPr algn="ctr"/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Хавфларни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ошқариш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изими</a:t>
              </a:r>
              <a:endParaRPr lang="ru-RU" sz="16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43CDF64-A972-4077-AC5C-72193EBD2F8A}"/>
              </a:ext>
            </a:extLst>
          </p:cNvPr>
          <p:cNvGrpSpPr/>
          <p:nvPr/>
        </p:nvGrpSpPr>
        <p:grpSpPr>
          <a:xfrm>
            <a:off x="448934" y="1617230"/>
            <a:ext cx="3537198" cy="1307036"/>
            <a:chOff x="448934" y="1927836"/>
            <a:chExt cx="3537198" cy="1307036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FAFE3C17-79DA-4955-8940-4FE37A3BAE8D}"/>
                </a:ext>
              </a:extLst>
            </p:cNvPr>
            <p:cNvSpPr/>
            <p:nvPr/>
          </p:nvSpPr>
          <p:spPr>
            <a:xfrm>
              <a:off x="448934" y="2681382"/>
              <a:ext cx="3537198" cy="141750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F620CDA-B6D6-405F-AC9D-8D9E6714BBD6}"/>
                </a:ext>
              </a:extLst>
            </p:cNvPr>
            <p:cNvSpPr/>
            <p:nvPr/>
          </p:nvSpPr>
          <p:spPr>
            <a:xfrm>
              <a:off x="456832" y="1927836"/>
              <a:ext cx="1461956" cy="981502"/>
            </a:xfrm>
            <a:prstGeom prst="rect">
              <a:avLst/>
            </a:prstGeom>
          </p:spPr>
          <p:txBody>
            <a:bodyPr wrap="none" lIns="0" tIns="0" bIns="0" anchor="t">
              <a:noAutofit/>
            </a:bodyPr>
            <a:lstStyle/>
            <a:p>
              <a:r>
                <a:rPr lang="ru-RU" sz="6000" spc="-244" dirty="0">
                  <a:solidFill>
                    <a:srgbClr val="3A07DF">
                      <a:alpha val="36000"/>
                    </a:srgbClr>
                  </a:solidFill>
                  <a:latin typeface="Arial" panose="020B0604020202020204" pitchFamily="34" charset="0"/>
                </a:rPr>
                <a:t>1</a:t>
              </a:r>
              <a:r>
                <a:rPr lang="ru-RU" sz="4000" spc="-244" dirty="0">
                  <a:solidFill>
                    <a:srgbClr val="3A07DF">
                      <a:alpha val="36000"/>
                    </a:srgbClr>
                  </a:solidFill>
                  <a:latin typeface="Arial" panose="020B0604020202020204" pitchFamily="34" charset="0"/>
                </a:rPr>
                <a:t>Ҳимоя </a:t>
              </a:r>
              <a:r>
                <a:rPr lang="ru-RU" sz="4000" spc="-244" dirty="0" err="1">
                  <a:solidFill>
                    <a:srgbClr val="3A07DF">
                      <a:alpha val="36000"/>
                    </a:srgbClr>
                  </a:solidFill>
                  <a:latin typeface="Arial" panose="020B0604020202020204" pitchFamily="34" charset="0"/>
                </a:rPr>
                <a:t>чизиғи</a:t>
              </a:r>
              <a:endParaRPr lang="ru-RU" sz="6000" spc="-244" dirty="0">
                <a:solidFill>
                  <a:srgbClr val="3A07DF">
                    <a:alpha val="36000"/>
                  </a:srgb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3346CF50-0726-4A48-AC87-9ADBBEF99F99}"/>
                </a:ext>
              </a:extLst>
            </p:cNvPr>
            <p:cNvSpPr/>
            <p:nvPr/>
          </p:nvSpPr>
          <p:spPr>
            <a:xfrm>
              <a:off x="448935" y="2613659"/>
              <a:ext cx="3537195" cy="621213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44371" rIns="0" bIns="44371" rtlCol="0" anchor="t">
              <a:noAutofit/>
            </a:bodyPr>
            <a:lstStyle/>
            <a:p>
              <a:pPr>
                <a:spcAft>
                  <a:spcPts val="600"/>
                </a:spcAft>
                <a:buClr>
                  <a:srgbClr val="1BD7D3"/>
                </a:buClr>
              </a:pPr>
              <a:r>
                <a:rPr lang="ru-RU" sz="14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Функция </a:t>
              </a:r>
              <a:r>
                <a:rPr lang="ru-RU" sz="1400" b="1" dirty="0" err="1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Бошқарувчилари</a:t>
              </a:r>
              <a:r>
                <a:rPr lang="ru-RU" sz="14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 </a:t>
              </a:r>
            </a:p>
            <a:p>
              <a:pPr>
                <a:spcAft>
                  <a:spcPts val="600"/>
                </a:spcAft>
                <a:buClr>
                  <a:srgbClr val="1BD7D3"/>
                </a:buClr>
              </a:pPr>
              <a:r>
                <a:rPr lang="ru-RU" sz="14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(</a:t>
              </a:r>
              <a:r>
                <a:rPr lang="ru-RU" sz="1400" b="1" dirty="0" err="1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Хавф</a:t>
              </a:r>
              <a:r>
                <a:rPr lang="ru-RU" sz="14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эгалари</a:t>
              </a:r>
              <a:r>
                <a:rPr lang="ru-RU" sz="14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)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448775E-DE92-4354-AB60-839DC3A15911}"/>
              </a:ext>
            </a:extLst>
          </p:cNvPr>
          <p:cNvGrpSpPr/>
          <p:nvPr/>
        </p:nvGrpSpPr>
        <p:grpSpPr>
          <a:xfrm>
            <a:off x="4321944" y="1617230"/>
            <a:ext cx="3537198" cy="1307036"/>
            <a:chOff x="448934" y="1927836"/>
            <a:chExt cx="3537198" cy="1307036"/>
          </a:xfrm>
        </p:grpSpPr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A138AA6C-FE05-4412-95CD-0B66AF03F24F}"/>
                </a:ext>
              </a:extLst>
            </p:cNvPr>
            <p:cNvSpPr/>
            <p:nvPr/>
          </p:nvSpPr>
          <p:spPr>
            <a:xfrm>
              <a:off x="448934" y="2681382"/>
              <a:ext cx="3537198" cy="141750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6FE196CB-1C12-4263-845F-75F582492E53}"/>
                </a:ext>
              </a:extLst>
            </p:cNvPr>
            <p:cNvSpPr/>
            <p:nvPr/>
          </p:nvSpPr>
          <p:spPr>
            <a:xfrm>
              <a:off x="456832" y="1927836"/>
              <a:ext cx="1461956" cy="981502"/>
            </a:xfrm>
            <a:prstGeom prst="rect">
              <a:avLst/>
            </a:prstGeom>
          </p:spPr>
          <p:txBody>
            <a:bodyPr wrap="none" lIns="0" tIns="0" bIns="0" anchor="t">
              <a:noAutofit/>
            </a:bodyPr>
            <a:lstStyle/>
            <a:p>
              <a:r>
                <a:rPr lang="en-US" sz="6000" spc="-244" dirty="0">
                  <a:solidFill>
                    <a:srgbClr val="3A07DF">
                      <a:alpha val="36000"/>
                    </a:srgbClr>
                  </a:solidFill>
                  <a:latin typeface="Arial" panose="020B0604020202020204" pitchFamily="34" charset="0"/>
                </a:rPr>
                <a:t>2 </a:t>
              </a:r>
              <a:r>
                <a:rPr lang="ru-RU" sz="4000" spc="-244" dirty="0" err="1">
                  <a:solidFill>
                    <a:srgbClr val="3A07DF">
                      <a:alpha val="36000"/>
                    </a:srgbClr>
                  </a:solidFill>
                  <a:latin typeface="Arial" panose="020B0604020202020204" pitchFamily="34" charset="0"/>
                </a:rPr>
                <a:t>Ҳимоя</a:t>
              </a:r>
              <a:r>
                <a:rPr lang="ru-RU" sz="4000" spc="-244" dirty="0">
                  <a:solidFill>
                    <a:srgbClr val="3A07DF">
                      <a:alpha val="36000"/>
                    </a:srgbClr>
                  </a:solidFill>
                  <a:latin typeface="Arial" panose="020B0604020202020204" pitchFamily="34" charset="0"/>
                </a:rPr>
                <a:t> </a:t>
              </a:r>
              <a:r>
                <a:rPr lang="ru-RU" sz="4000" spc="-244" dirty="0" err="1">
                  <a:solidFill>
                    <a:srgbClr val="3A07DF">
                      <a:alpha val="36000"/>
                    </a:srgbClr>
                  </a:solidFill>
                  <a:latin typeface="Arial" panose="020B0604020202020204" pitchFamily="34" charset="0"/>
                </a:rPr>
                <a:t>чизиғи</a:t>
              </a:r>
              <a:endParaRPr lang="ru-RU" sz="6000" spc="-244" dirty="0">
                <a:solidFill>
                  <a:srgbClr val="3A07DF">
                    <a:alpha val="36000"/>
                  </a:srgb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FBD2FF26-3EFD-4B4A-99CA-8610E1615A50}"/>
                </a:ext>
              </a:extLst>
            </p:cNvPr>
            <p:cNvSpPr/>
            <p:nvPr/>
          </p:nvSpPr>
          <p:spPr>
            <a:xfrm>
              <a:off x="448935" y="2613659"/>
              <a:ext cx="3537195" cy="621213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44371" rIns="0" bIns="44371" rtlCol="0" anchor="t">
              <a:noAutofit/>
            </a:bodyPr>
            <a:lstStyle/>
            <a:p>
              <a:pPr>
                <a:spcAft>
                  <a:spcPts val="600"/>
                </a:spcAft>
                <a:buClr>
                  <a:srgbClr val="1BD7D3"/>
                </a:buClr>
              </a:pPr>
              <a:r>
                <a:rPr lang="ru-RU" sz="14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Риск-менеджмент / Комплаенс </a:t>
              </a:r>
              <a:r>
                <a:rPr lang="ru-RU" sz="1400" b="1" dirty="0" err="1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бўлинмаси</a:t>
              </a:r>
              <a:endParaRPr lang="ru-RU" sz="1400" b="1" dirty="0">
                <a:solidFill>
                  <a:srgbClr val="2112AE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96947B56-D44A-4AE7-97AB-81A4AAD5978F}"/>
              </a:ext>
            </a:extLst>
          </p:cNvPr>
          <p:cNvGrpSpPr/>
          <p:nvPr/>
        </p:nvGrpSpPr>
        <p:grpSpPr>
          <a:xfrm>
            <a:off x="8217445" y="1617230"/>
            <a:ext cx="3537198" cy="1307036"/>
            <a:chOff x="448934" y="1927836"/>
            <a:chExt cx="3537198" cy="1307036"/>
          </a:xfrm>
        </p:grpSpPr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6B3E23B5-B4E5-46F7-8671-93F1644E31E6}"/>
                </a:ext>
              </a:extLst>
            </p:cNvPr>
            <p:cNvSpPr/>
            <p:nvPr/>
          </p:nvSpPr>
          <p:spPr>
            <a:xfrm>
              <a:off x="448934" y="2681382"/>
              <a:ext cx="3537198" cy="141750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C1D4A589-6376-4880-BF6D-C22503350A62}"/>
                </a:ext>
              </a:extLst>
            </p:cNvPr>
            <p:cNvSpPr/>
            <p:nvPr/>
          </p:nvSpPr>
          <p:spPr>
            <a:xfrm>
              <a:off x="456832" y="1927836"/>
              <a:ext cx="1461956" cy="981502"/>
            </a:xfrm>
            <a:prstGeom prst="rect">
              <a:avLst/>
            </a:prstGeom>
          </p:spPr>
          <p:txBody>
            <a:bodyPr wrap="none" lIns="0" tIns="0" bIns="0" anchor="t">
              <a:noAutofit/>
            </a:bodyPr>
            <a:lstStyle/>
            <a:p>
              <a:r>
                <a:rPr lang="en-US" sz="6000" spc="-244" dirty="0">
                  <a:solidFill>
                    <a:srgbClr val="3A07DF">
                      <a:alpha val="36000"/>
                    </a:srgbClr>
                  </a:solidFill>
                  <a:latin typeface="Arial" panose="020B0604020202020204" pitchFamily="34" charset="0"/>
                </a:rPr>
                <a:t>3</a:t>
              </a:r>
              <a:r>
                <a:rPr lang="uz-Cyrl-UZ" sz="6000" spc="-244" dirty="0">
                  <a:solidFill>
                    <a:srgbClr val="3A07DF">
                      <a:alpha val="36000"/>
                    </a:srgbClr>
                  </a:solidFill>
                  <a:latin typeface="Arial" panose="020B0604020202020204" pitchFamily="34" charset="0"/>
                </a:rPr>
                <a:t> </a:t>
              </a:r>
              <a:r>
                <a:rPr lang="uz-Cyrl-UZ" sz="4000" spc="-244" dirty="0">
                  <a:solidFill>
                    <a:srgbClr val="3A07DF">
                      <a:alpha val="36000"/>
                    </a:srgbClr>
                  </a:solidFill>
                  <a:latin typeface="Arial" panose="020B0604020202020204" pitchFamily="34" charset="0"/>
                </a:rPr>
                <a:t>Ҳимоя чизиғи</a:t>
              </a:r>
              <a:endParaRPr lang="ru-RU" sz="4000" spc="-244" dirty="0">
                <a:solidFill>
                  <a:srgbClr val="3A07DF">
                    <a:alpha val="36000"/>
                  </a:srgb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3FEF44AD-B387-427D-8F56-80F35A30FFC2}"/>
                </a:ext>
              </a:extLst>
            </p:cNvPr>
            <p:cNvSpPr/>
            <p:nvPr/>
          </p:nvSpPr>
          <p:spPr>
            <a:xfrm>
              <a:off x="448935" y="2613659"/>
              <a:ext cx="3537195" cy="621213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44371" rIns="0" bIns="44371" rtlCol="0" anchor="t">
              <a:noAutofit/>
            </a:bodyPr>
            <a:lstStyle/>
            <a:p>
              <a:pPr>
                <a:spcAft>
                  <a:spcPts val="600"/>
                </a:spcAft>
                <a:buClr>
                  <a:srgbClr val="1BD7D3"/>
                </a:buClr>
              </a:pPr>
              <a:r>
                <a:rPr lang="ru-RU" sz="14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Ички аудит</a:t>
              </a:r>
            </a:p>
          </p:txBody>
        </p:sp>
      </p:grpSp>
      <p:sp>
        <p:nvSpPr>
          <p:cNvPr id="70" name="object 15">
            <a:extLst>
              <a:ext uri="{FF2B5EF4-FFF2-40B4-BE49-F238E27FC236}">
                <a16:creationId xmlns:a16="http://schemas.microsoft.com/office/drawing/2014/main" id="{F1737FA5-AF90-4031-B6DF-B99B5A5ED67B}"/>
              </a:ext>
            </a:extLst>
          </p:cNvPr>
          <p:cNvSpPr txBox="1"/>
          <p:nvPr/>
        </p:nvSpPr>
        <p:spPr>
          <a:xfrm>
            <a:off x="1271992" y="2991989"/>
            <a:ext cx="10482648" cy="656230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  <a:spcAft>
                <a:spcPts val="1800"/>
              </a:spcAft>
            </a:pP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Ички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удитнинг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қсади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влат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рганлари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функциялари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фаолиятини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влат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рганида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елгиланган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лаблар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Ўзбекистон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еспубликасининг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онунчилигига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увофиқлигини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аҳолаш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, шу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умладан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влат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юджети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аражатларини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екширишдан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борат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.</a:t>
            </a:r>
          </a:p>
        </p:txBody>
      </p:sp>
      <p:sp>
        <p:nvSpPr>
          <p:cNvPr id="71" name="object 12">
            <a:extLst>
              <a:ext uri="{FF2B5EF4-FFF2-40B4-BE49-F238E27FC236}">
                <a16:creationId xmlns:a16="http://schemas.microsoft.com/office/drawing/2014/main" id="{E7FDB6E6-2171-477C-BAD8-1FF612D1D2A8}"/>
              </a:ext>
            </a:extLst>
          </p:cNvPr>
          <p:cNvSpPr/>
          <p:nvPr/>
        </p:nvSpPr>
        <p:spPr>
          <a:xfrm>
            <a:off x="456832" y="294381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81" name="Group 571">
            <a:extLst>
              <a:ext uri="{FF2B5EF4-FFF2-40B4-BE49-F238E27FC236}">
                <a16:creationId xmlns:a16="http://schemas.microsoft.com/office/drawing/2014/main" id="{F5E79865-CD5B-407C-8250-1727FD0386C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9" y="3007664"/>
            <a:ext cx="457001" cy="565730"/>
            <a:chOff x="2312" y="2357"/>
            <a:chExt cx="269" cy="333"/>
          </a:xfrm>
          <a:solidFill>
            <a:schemeClr val="bg2">
              <a:lumMod val="25000"/>
            </a:schemeClr>
          </a:solidFill>
        </p:grpSpPr>
        <p:sp>
          <p:nvSpPr>
            <p:cNvPr id="82" name="Freeform 572">
              <a:extLst>
                <a:ext uri="{FF2B5EF4-FFF2-40B4-BE49-F238E27FC236}">
                  <a16:creationId xmlns:a16="http://schemas.microsoft.com/office/drawing/2014/main" id="{7111673E-EE28-4626-91DA-9697E79A35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3" y="2363"/>
              <a:ext cx="208" cy="209"/>
            </a:xfrm>
            <a:custGeom>
              <a:avLst/>
              <a:gdLst>
                <a:gd name="T0" fmla="*/ 2494 w 3835"/>
                <a:gd name="T1" fmla="*/ 1217 h 3836"/>
                <a:gd name="T2" fmla="*/ 2103 w 3835"/>
                <a:gd name="T3" fmla="*/ 1608 h 3836"/>
                <a:gd name="T4" fmla="*/ 439 w 3835"/>
                <a:gd name="T5" fmla="*/ 1701 h 3836"/>
                <a:gd name="T6" fmla="*/ 472 w 3835"/>
                <a:gd name="T7" fmla="*/ 3366 h 3836"/>
                <a:gd name="T8" fmla="*/ 2138 w 3835"/>
                <a:gd name="T9" fmla="*/ 3396 h 3836"/>
                <a:gd name="T10" fmla="*/ 2227 w 3835"/>
                <a:gd name="T11" fmla="*/ 1731 h 3836"/>
                <a:gd name="T12" fmla="*/ 2618 w 3835"/>
                <a:gd name="T13" fmla="*/ 1341 h 3836"/>
                <a:gd name="T14" fmla="*/ 3046 w 3835"/>
                <a:gd name="T15" fmla="*/ 1447 h 3836"/>
                <a:gd name="T16" fmla="*/ 3129 w 3835"/>
                <a:gd name="T17" fmla="*/ 1424 h 3836"/>
                <a:gd name="T18" fmla="*/ 3783 w 3835"/>
                <a:gd name="T19" fmla="*/ 771 h 3836"/>
                <a:gd name="T20" fmla="*/ 3729 w 3835"/>
                <a:gd name="T21" fmla="*/ 622 h 3836"/>
                <a:gd name="T22" fmla="*/ 3260 w 3835"/>
                <a:gd name="T23" fmla="*/ 575 h 3836"/>
                <a:gd name="T24" fmla="*/ 3213 w 3835"/>
                <a:gd name="T25" fmla="*/ 105 h 3836"/>
                <a:gd name="T26" fmla="*/ 3064 w 3835"/>
                <a:gd name="T27" fmla="*/ 52 h 3836"/>
                <a:gd name="T28" fmla="*/ 2410 w 3835"/>
                <a:gd name="T29" fmla="*/ 706 h 3836"/>
                <a:gd name="T30" fmla="*/ 2387 w 3835"/>
                <a:gd name="T31" fmla="*/ 789 h 3836"/>
                <a:gd name="T32" fmla="*/ 2494 w 3835"/>
                <a:gd name="T33" fmla="*/ 1217 h 3836"/>
                <a:gd name="T34" fmla="*/ 2370 w 3835"/>
                <a:gd name="T35" fmla="*/ 2516 h 3836"/>
                <a:gd name="T36" fmla="*/ 1547 w 3835"/>
                <a:gd name="T37" fmla="*/ 3545 h 3836"/>
                <a:gd name="T38" fmla="*/ 365 w 3835"/>
                <a:gd name="T39" fmla="*/ 2962 h 3836"/>
                <a:gd name="T40" fmla="*/ 680 w 3835"/>
                <a:gd name="T41" fmla="*/ 1682 h 3836"/>
                <a:gd name="T42" fmla="*/ 1997 w 3835"/>
                <a:gd name="T43" fmla="*/ 1714 h 3836"/>
                <a:gd name="T44" fmla="*/ 1611 w 3835"/>
                <a:gd name="T45" fmla="*/ 2100 h 3836"/>
                <a:gd name="T46" fmla="*/ 929 w 3835"/>
                <a:gd name="T47" fmla="*/ 2191 h 3836"/>
                <a:gd name="T48" fmla="*/ 961 w 3835"/>
                <a:gd name="T49" fmla="*/ 2877 h 3836"/>
                <a:gd name="T50" fmla="*/ 1648 w 3835"/>
                <a:gd name="T51" fmla="*/ 2906 h 3836"/>
                <a:gd name="T52" fmla="*/ 1735 w 3835"/>
                <a:gd name="T53" fmla="*/ 2224 h 3836"/>
                <a:gd name="T54" fmla="*/ 2121 w 3835"/>
                <a:gd name="T55" fmla="*/ 1838 h 3836"/>
                <a:gd name="T56" fmla="*/ 2370 w 3835"/>
                <a:gd name="T57" fmla="*/ 2516 h 3836"/>
                <a:gd name="T58" fmla="*/ 1678 w 3835"/>
                <a:gd name="T59" fmla="*/ 2516 h 3836"/>
                <a:gd name="T60" fmla="*/ 1412 w 3835"/>
                <a:gd name="T61" fmla="*/ 2863 h 3836"/>
                <a:gd name="T62" fmla="*/ 1009 w 3835"/>
                <a:gd name="T63" fmla="*/ 2694 h 3836"/>
                <a:gd name="T64" fmla="*/ 1069 w 3835"/>
                <a:gd name="T65" fmla="*/ 2261 h 3836"/>
                <a:gd name="T66" fmla="*/ 1503 w 3835"/>
                <a:gd name="T67" fmla="*/ 2209 h 3836"/>
                <a:gd name="T68" fmla="*/ 1257 w 3835"/>
                <a:gd name="T69" fmla="*/ 2455 h 3836"/>
                <a:gd name="T70" fmla="*/ 1257 w 3835"/>
                <a:gd name="T71" fmla="*/ 2578 h 3836"/>
                <a:gd name="T72" fmla="*/ 1380 w 3835"/>
                <a:gd name="T73" fmla="*/ 2578 h 3836"/>
                <a:gd name="T74" fmla="*/ 1627 w 3835"/>
                <a:gd name="T75" fmla="*/ 2332 h 3836"/>
                <a:gd name="T76" fmla="*/ 1678 w 3835"/>
                <a:gd name="T77" fmla="*/ 2516 h 3836"/>
                <a:gd name="T78" fmla="*/ 3040 w 3835"/>
                <a:gd name="T79" fmla="*/ 1266 h 3836"/>
                <a:gd name="T80" fmla="*/ 2762 w 3835"/>
                <a:gd name="T81" fmla="*/ 1196 h 3836"/>
                <a:gd name="T82" fmla="*/ 3212 w 3835"/>
                <a:gd name="T83" fmla="*/ 746 h 3836"/>
                <a:gd name="T84" fmla="*/ 3528 w 3835"/>
                <a:gd name="T85" fmla="*/ 778 h 3836"/>
                <a:gd name="T86" fmla="*/ 3040 w 3835"/>
                <a:gd name="T87" fmla="*/ 1266 h 3836"/>
                <a:gd name="T88" fmla="*/ 3057 w 3835"/>
                <a:gd name="T89" fmla="*/ 307 h 3836"/>
                <a:gd name="T90" fmla="*/ 3089 w 3835"/>
                <a:gd name="T91" fmla="*/ 622 h 3836"/>
                <a:gd name="T92" fmla="*/ 2639 w 3835"/>
                <a:gd name="T93" fmla="*/ 1072 h 3836"/>
                <a:gd name="T94" fmla="*/ 2569 w 3835"/>
                <a:gd name="T95" fmla="*/ 795 h 3836"/>
                <a:gd name="T96" fmla="*/ 3057 w 3835"/>
                <a:gd name="T97" fmla="*/ 307 h 3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835" h="3836">
                  <a:moveTo>
                    <a:pt x="2494" y="1217"/>
                  </a:moveTo>
                  <a:lnTo>
                    <a:pt x="2103" y="1608"/>
                  </a:lnTo>
                  <a:cubicBezTo>
                    <a:pt x="1614" y="1186"/>
                    <a:pt x="878" y="1227"/>
                    <a:pt x="439" y="1701"/>
                  </a:cubicBezTo>
                  <a:cubicBezTo>
                    <a:pt x="0" y="2174"/>
                    <a:pt x="15" y="2910"/>
                    <a:pt x="472" y="3366"/>
                  </a:cubicBezTo>
                  <a:cubicBezTo>
                    <a:pt x="930" y="3823"/>
                    <a:pt x="1666" y="3836"/>
                    <a:pt x="2138" y="3396"/>
                  </a:cubicBezTo>
                  <a:cubicBezTo>
                    <a:pt x="2611" y="2955"/>
                    <a:pt x="2650" y="2220"/>
                    <a:pt x="2227" y="1731"/>
                  </a:cubicBezTo>
                  <a:lnTo>
                    <a:pt x="2618" y="1341"/>
                  </a:lnTo>
                  <a:lnTo>
                    <a:pt x="3046" y="1447"/>
                  </a:lnTo>
                  <a:cubicBezTo>
                    <a:pt x="3075" y="1455"/>
                    <a:pt x="3107" y="1446"/>
                    <a:pt x="3129" y="1424"/>
                  </a:cubicBezTo>
                  <a:lnTo>
                    <a:pt x="3783" y="771"/>
                  </a:lnTo>
                  <a:cubicBezTo>
                    <a:pt x="3835" y="718"/>
                    <a:pt x="3803" y="629"/>
                    <a:pt x="3729" y="622"/>
                  </a:cubicBezTo>
                  <a:lnTo>
                    <a:pt x="3260" y="575"/>
                  </a:lnTo>
                  <a:lnTo>
                    <a:pt x="3213" y="105"/>
                  </a:lnTo>
                  <a:cubicBezTo>
                    <a:pt x="3206" y="32"/>
                    <a:pt x="3117" y="0"/>
                    <a:pt x="3064" y="52"/>
                  </a:cubicBezTo>
                  <a:lnTo>
                    <a:pt x="2410" y="706"/>
                  </a:lnTo>
                  <a:cubicBezTo>
                    <a:pt x="2389" y="728"/>
                    <a:pt x="2380" y="759"/>
                    <a:pt x="2387" y="789"/>
                  </a:cubicBezTo>
                  <a:lnTo>
                    <a:pt x="2494" y="1217"/>
                  </a:lnTo>
                  <a:close/>
                  <a:moveTo>
                    <a:pt x="2370" y="2516"/>
                  </a:moveTo>
                  <a:cubicBezTo>
                    <a:pt x="2371" y="3010"/>
                    <a:pt x="2028" y="3437"/>
                    <a:pt x="1547" y="3545"/>
                  </a:cubicBezTo>
                  <a:cubicBezTo>
                    <a:pt x="1065" y="3652"/>
                    <a:pt x="574" y="3409"/>
                    <a:pt x="365" y="2962"/>
                  </a:cubicBezTo>
                  <a:cubicBezTo>
                    <a:pt x="157" y="2514"/>
                    <a:pt x="288" y="1982"/>
                    <a:pt x="680" y="1682"/>
                  </a:cubicBezTo>
                  <a:cubicBezTo>
                    <a:pt x="1072" y="1383"/>
                    <a:pt x="1620" y="1396"/>
                    <a:pt x="1997" y="1714"/>
                  </a:cubicBezTo>
                  <a:lnTo>
                    <a:pt x="1611" y="2100"/>
                  </a:lnTo>
                  <a:cubicBezTo>
                    <a:pt x="1395" y="1949"/>
                    <a:pt x="1098" y="1988"/>
                    <a:pt x="929" y="2191"/>
                  </a:cubicBezTo>
                  <a:cubicBezTo>
                    <a:pt x="760" y="2393"/>
                    <a:pt x="774" y="2691"/>
                    <a:pt x="961" y="2877"/>
                  </a:cubicBezTo>
                  <a:cubicBezTo>
                    <a:pt x="1148" y="3064"/>
                    <a:pt x="1446" y="3076"/>
                    <a:pt x="1648" y="2906"/>
                  </a:cubicBezTo>
                  <a:cubicBezTo>
                    <a:pt x="1849" y="2736"/>
                    <a:pt x="1887" y="2439"/>
                    <a:pt x="1735" y="2224"/>
                  </a:cubicBezTo>
                  <a:lnTo>
                    <a:pt x="2121" y="1838"/>
                  </a:lnTo>
                  <a:cubicBezTo>
                    <a:pt x="2282" y="2027"/>
                    <a:pt x="2370" y="2268"/>
                    <a:pt x="2370" y="2516"/>
                  </a:cubicBezTo>
                  <a:close/>
                  <a:moveTo>
                    <a:pt x="1678" y="2516"/>
                  </a:moveTo>
                  <a:cubicBezTo>
                    <a:pt x="1678" y="2679"/>
                    <a:pt x="1569" y="2821"/>
                    <a:pt x="1412" y="2863"/>
                  </a:cubicBezTo>
                  <a:cubicBezTo>
                    <a:pt x="1255" y="2905"/>
                    <a:pt x="1089" y="2835"/>
                    <a:pt x="1009" y="2694"/>
                  </a:cubicBezTo>
                  <a:cubicBezTo>
                    <a:pt x="928" y="2553"/>
                    <a:pt x="953" y="2375"/>
                    <a:pt x="1069" y="2261"/>
                  </a:cubicBezTo>
                  <a:cubicBezTo>
                    <a:pt x="1185" y="2147"/>
                    <a:pt x="1363" y="2126"/>
                    <a:pt x="1503" y="2209"/>
                  </a:cubicBezTo>
                  <a:lnTo>
                    <a:pt x="1257" y="2455"/>
                  </a:lnTo>
                  <a:cubicBezTo>
                    <a:pt x="1222" y="2489"/>
                    <a:pt x="1222" y="2544"/>
                    <a:pt x="1257" y="2578"/>
                  </a:cubicBezTo>
                  <a:cubicBezTo>
                    <a:pt x="1291" y="2612"/>
                    <a:pt x="1346" y="2612"/>
                    <a:pt x="1380" y="2578"/>
                  </a:cubicBezTo>
                  <a:lnTo>
                    <a:pt x="1627" y="2332"/>
                  </a:lnTo>
                  <a:cubicBezTo>
                    <a:pt x="1660" y="2388"/>
                    <a:pt x="1678" y="2451"/>
                    <a:pt x="1678" y="2516"/>
                  </a:cubicBezTo>
                  <a:close/>
                  <a:moveTo>
                    <a:pt x="3040" y="1266"/>
                  </a:moveTo>
                  <a:lnTo>
                    <a:pt x="2762" y="1196"/>
                  </a:lnTo>
                  <a:lnTo>
                    <a:pt x="3212" y="746"/>
                  </a:lnTo>
                  <a:lnTo>
                    <a:pt x="3528" y="778"/>
                  </a:lnTo>
                  <a:lnTo>
                    <a:pt x="3040" y="1266"/>
                  </a:lnTo>
                  <a:close/>
                  <a:moveTo>
                    <a:pt x="3057" y="307"/>
                  </a:moveTo>
                  <a:lnTo>
                    <a:pt x="3089" y="622"/>
                  </a:lnTo>
                  <a:lnTo>
                    <a:pt x="2639" y="1072"/>
                  </a:lnTo>
                  <a:lnTo>
                    <a:pt x="2569" y="795"/>
                  </a:lnTo>
                  <a:lnTo>
                    <a:pt x="3057" y="30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573">
              <a:extLst>
                <a:ext uri="{FF2B5EF4-FFF2-40B4-BE49-F238E27FC236}">
                  <a16:creationId xmlns:a16="http://schemas.microsoft.com/office/drawing/2014/main" id="{03FED5A6-9640-466A-AEBF-3CB8A2206C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5" y="2408"/>
              <a:ext cx="193" cy="282"/>
            </a:xfrm>
            <a:custGeom>
              <a:avLst/>
              <a:gdLst>
                <a:gd name="T0" fmla="*/ 686 w 3539"/>
                <a:gd name="T1" fmla="*/ 2944 h 5188"/>
                <a:gd name="T2" fmla="*/ 1029 w 3539"/>
                <a:gd name="T3" fmla="*/ 3731 h 5188"/>
                <a:gd name="T4" fmla="*/ 1029 w 3539"/>
                <a:gd name="T5" fmla="*/ 4540 h 5188"/>
                <a:gd name="T6" fmla="*/ 1353 w 3539"/>
                <a:gd name="T7" fmla="*/ 4864 h 5188"/>
                <a:gd name="T8" fmla="*/ 1758 w 3539"/>
                <a:gd name="T9" fmla="*/ 4864 h 5188"/>
                <a:gd name="T10" fmla="*/ 1758 w 3539"/>
                <a:gd name="T11" fmla="*/ 5113 h 5188"/>
                <a:gd name="T12" fmla="*/ 1833 w 3539"/>
                <a:gd name="T13" fmla="*/ 5188 h 5188"/>
                <a:gd name="T14" fmla="*/ 1908 w 3539"/>
                <a:gd name="T15" fmla="*/ 5113 h 5188"/>
                <a:gd name="T16" fmla="*/ 1908 w 3539"/>
                <a:gd name="T17" fmla="*/ 4864 h 5188"/>
                <a:gd name="T18" fmla="*/ 2312 w 3539"/>
                <a:gd name="T19" fmla="*/ 4864 h 5188"/>
                <a:gd name="T20" fmla="*/ 2637 w 3539"/>
                <a:gd name="T21" fmla="*/ 4540 h 5188"/>
                <a:gd name="T22" fmla="*/ 2637 w 3539"/>
                <a:gd name="T23" fmla="*/ 3730 h 5188"/>
                <a:gd name="T24" fmla="*/ 2988 w 3539"/>
                <a:gd name="T25" fmla="*/ 2936 h 5188"/>
                <a:gd name="T26" fmla="*/ 3527 w 3539"/>
                <a:gd name="T27" fmla="*/ 1651 h 5188"/>
                <a:gd name="T28" fmla="*/ 3171 w 3539"/>
                <a:gd name="T29" fmla="*/ 657 h 5188"/>
                <a:gd name="T30" fmla="*/ 3052 w 3539"/>
                <a:gd name="T31" fmla="*/ 749 h 5188"/>
                <a:gd name="T32" fmla="*/ 3377 w 3539"/>
                <a:gd name="T33" fmla="*/ 1654 h 5188"/>
                <a:gd name="T34" fmla="*/ 2886 w 3539"/>
                <a:gd name="T35" fmla="*/ 2826 h 5188"/>
                <a:gd name="T36" fmla="*/ 2489 w 3539"/>
                <a:gd name="T37" fmla="*/ 3656 h 5188"/>
                <a:gd name="T38" fmla="*/ 1176 w 3539"/>
                <a:gd name="T39" fmla="*/ 3656 h 5188"/>
                <a:gd name="T40" fmla="*/ 788 w 3539"/>
                <a:gd name="T41" fmla="*/ 2833 h 5188"/>
                <a:gd name="T42" fmla="*/ 393 w 3539"/>
                <a:gd name="T43" fmla="*/ 1135 h 5188"/>
                <a:gd name="T44" fmla="*/ 1833 w 3539"/>
                <a:gd name="T45" fmla="*/ 150 h 5188"/>
                <a:gd name="T46" fmla="*/ 1847 w 3539"/>
                <a:gd name="T47" fmla="*/ 150 h 5188"/>
                <a:gd name="T48" fmla="*/ 2757 w 3539"/>
                <a:gd name="T49" fmla="*/ 459 h 5188"/>
                <a:gd name="T50" fmla="*/ 2862 w 3539"/>
                <a:gd name="T51" fmla="*/ 444 h 5188"/>
                <a:gd name="T52" fmla="*/ 2847 w 3539"/>
                <a:gd name="T53" fmla="*/ 339 h 5188"/>
                <a:gd name="T54" fmla="*/ 1848 w 3539"/>
                <a:gd name="T55" fmla="*/ 1 h 5188"/>
                <a:gd name="T56" fmla="*/ 1833 w 3539"/>
                <a:gd name="T57" fmla="*/ 0 h 5188"/>
                <a:gd name="T58" fmla="*/ 253 w 3539"/>
                <a:gd name="T59" fmla="*/ 1080 h 5188"/>
                <a:gd name="T60" fmla="*/ 686 w 3539"/>
                <a:gd name="T61" fmla="*/ 2944 h 5188"/>
                <a:gd name="T62" fmla="*/ 2312 w 3539"/>
                <a:gd name="T63" fmla="*/ 4714 h 5188"/>
                <a:gd name="T64" fmla="*/ 1353 w 3539"/>
                <a:gd name="T65" fmla="*/ 4714 h 5188"/>
                <a:gd name="T66" fmla="*/ 1179 w 3539"/>
                <a:gd name="T67" fmla="*/ 4540 h 5188"/>
                <a:gd name="T68" fmla="*/ 1179 w 3539"/>
                <a:gd name="T69" fmla="*/ 4508 h 5188"/>
                <a:gd name="T70" fmla="*/ 2038 w 3539"/>
                <a:gd name="T71" fmla="*/ 4508 h 5188"/>
                <a:gd name="T72" fmla="*/ 2113 w 3539"/>
                <a:gd name="T73" fmla="*/ 4433 h 5188"/>
                <a:gd name="T74" fmla="*/ 2038 w 3539"/>
                <a:gd name="T75" fmla="*/ 4358 h 5188"/>
                <a:gd name="T76" fmla="*/ 1179 w 3539"/>
                <a:gd name="T77" fmla="*/ 4358 h 5188"/>
                <a:gd name="T78" fmla="*/ 1179 w 3539"/>
                <a:gd name="T79" fmla="*/ 4152 h 5188"/>
                <a:gd name="T80" fmla="*/ 1390 w 3539"/>
                <a:gd name="T81" fmla="*/ 4152 h 5188"/>
                <a:gd name="T82" fmla="*/ 1465 w 3539"/>
                <a:gd name="T83" fmla="*/ 4077 h 5188"/>
                <a:gd name="T84" fmla="*/ 1390 w 3539"/>
                <a:gd name="T85" fmla="*/ 4002 h 5188"/>
                <a:gd name="T86" fmla="*/ 1179 w 3539"/>
                <a:gd name="T87" fmla="*/ 4002 h 5188"/>
                <a:gd name="T88" fmla="*/ 1179 w 3539"/>
                <a:gd name="T89" fmla="*/ 3806 h 5188"/>
                <a:gd name="T90" fmla="*/ 2487 w 3539"/>
                <a:gd name="T91" fmla="*/ 3806 h 5188"/>
                <a:gd name="T92" fmla="*/ 2487 w 3539"/>
                <a:gd name="T93" fmla="*/ 4002 h 5188"/>
                <a:gd name="T94" fmla="*/ 1648 w 3539"/>
                <a:gd name="T95" fmla="*/ 4002 h 5188"/>
                <a:gd name="T96" fmla="*/ 1573 w 3539"/>
                <a:gd name="T97" fmla="*/ 4077 h 5188"/>
                <a:gd name="T98" fmla="*/ 1648 w 3539"/>
                <a:gd name="T99" fmla="*/ 4152 h 5188"/>
                <a:gd name="T100" fmla="*/ 2487 w 3539"/>
                <a:gd name="T101" fmla="*/ 4152 h 5188"/>
                <a:gd name="T102" fmla="*/ 2487 w 3539"/>
                <a:gd name="T103" fmla="*/ 4358 h 5188"/>
                <a:gd name="T104" fmla="*/ 2296 w 3539"/>
                <a:gd name="T105" fmla="*/ 4358 h 5188"/>
                <a:gd name="T106" fmla="*/ 2221 w 3539"/>
                <a:gd name="T107" fmla="*/ 4433 h 5188"/>
                <a:gd name="T108" fmla="*/ 2296 w 3539"/>
                <a:gd name="T109" fmla="*/ 4508 h 5188"/>
                <a:gd name="T110" fmla="*/ 2487 w 3539"/>
                <a:gd name="T111" fmla="*/ 4508 h 5188"/>
                <a:gd name="T112" fmla="*/ 2487 w 3539"/>
                <a:gd name="T113" fmla="*/ 4540 h 5188"/>
                <a:gd name="T114" fmla="*/ 2312 w 3539"/>
                <a:gd name="T115" fmla="*/ 4714 h 5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39" h="5188">
                  <a:moveTo>
                    <a:pt x="686" y="2944"/>
                  </a:moveTo>
                  <a:cubicBezTo>
                    <a:pt x="905" y="3147"/>
                    <a:pt x="1030" y="3433"/>
                    <a:pt x="1029" y="3731"/>
                  </a:cubicBezTo>
                  <a:lnTo>
                    <a:pt x="1029" y="4540"/>
                  </a:lnTo>
                  <a:cubicBezTo>
                    <a:pt x="1029" y="4719"/>
                    <a:pt x="1174" y="4864"/>
                    <a:pt x="1353" y="4864"/>
                  </a:cubicBezTo>
                  <a:lnTo>
                    <a:pt x="1758" y="4864"/>
                  </a:lnTo>
                  <a:lnTo>
                    <a:pt x="1758" y="5113"/>
                  </a:lnTo>
                  <a:cubicBezTo>
                    <a:pt x="1758" y="5154"/>
                    <a:pt x="1791" y="5188"/>
                    <a:pt x="1833" y="5188"/>
                  </a:cubicBezTo>
                  <a:cubicBezTo>
                    <a:pt x="1874" y="5188"/>
                    <a:pt x="1908" y="5154"/>
                    <a:pt x="1908" y="5113"/>
                  </a:cubicBezTo>
                  <a:lnTo>
                    <a:pt x="1908" y="4864"/>
                  </a:lnTo>
                  <a:lnTo>
                    <a:pt x="2312" y="4864"/>
                  </a:lnTo>
                  <a:cubicBezTo>
                    <a:pt x="2491" y="4864"/>
                    <a:pt x="2636" y="4719"/>
                    <a:pt x="2637" y="4540"/>
                  </a:cubicBezTo>
                  <a:lnTo>
                    <a:pt x="2637" y="3730"/>
                  </a:lnTo>
                  <a:cubicBezTo>
                    <a:pt x="2639" y="3428"/>
                    <a:pt x="2766" y="3141"/>
                    <a:pt x="2988" y="2936"/>
                  </a:cubicBezTo>
                  <a:cubicBezTo>
                    <a:pt x="3343" y="2604"/>
                    <a:pt x="3539" y="2136"/>
                    <a:pt x="3527" y="1651"/>
                  </a:cubicBezTo>
                  <a:cubicBezTo>
                    <a:pt x="3518" y="1290"/>
                    <a:pt x="3393" y="941"/>
                    <a:pt x="3171" y="657"/>
                  </a:cubicBezTo>
                  <a:cubicBezTo>
                    <a:pt x="3109" y="578"/>
                    <a:pt x="2991" y="670"/>
                    <a:pt x="3052" y="749"/>
                  </a:cubicBezTo>
                  <a:cubicBezTo>
                    <a:pt x="3255" y="1008"/>
                    <a:pt x="3369" y="1325"/>
                    <a:pt x="3377" y="1654"/>
                  </a:cubicBezTo>
                  <a:cubicBezTo>
                    <a:pt x="3388" y="2097"/>
                    <a:pt x="3209" y="2524"/>
                    <a:pt x="2886" y="2826"/>
                  </a:cubicBezTo>
                  <a:cubicBezTo>
                    <a:pt x="2652" y="3042"/>
                    <a:pt x="2510" y="3339"/>
                    <a:pt x="2489" y="3656"/>
                  </a:cubicBezTo>
                  <a:lnTo>
                    <a:pt x="1176" y="3656"/>
                  </a:lnTo>
                  <a:cubicBezTo>
                    <a:pt x="1158" y="3342"/>
                    <a:pt x="1019" y="3047"/>
                    <a:pt x="788" y="2833"/>
                  </a:cubicBezTo>
                  <a:cubicBezTo>
                    <a:pt x="319" y="2403"/>
                    <a:pt x="162" y="1728"/>
                    <a:pt x="393" y="1135"/>
                  </a:cubicBezTo>
                  <a:cubicBezTo>
                    <a:pt x="624" y="541"/>
                    <a:pt x="1196" y="151"/>
                    <a:pt x="1833" y="150"/>
                  </a:cubicBezTo>
                  <a:lnTo>
                    <a:pt x="1847" y="150"/>
                  </a:lnTo>
                  <a:cubicBezTo>
                    <a:pt x="2176" y="153"/>
                    <a:pt x="2495" y="261"/>
                    <a:pt x="2757" y="459"/>
                  </a:cubicBezTo>
                  <a:cubicBezTo>
                    <a:pt x="2790" y="484"/>
                    <a:pt x="2837" y="477"/>
                    <a:pt x="2862" y="444"/>
                  </a:cubicBezTo>
                  <a:cubicBezTo>
                    <a:pt x="2887" y="411"/>
                    <a:pt x="2880" y="364"/>
                    <a:pt x="2847" y="339"/>
                  </a:cubicBezTo>
                  <a:cubicBezTo>
                    <a:pt x="2559" y="122"/>
                    <a:pt x="2209" y="3"/>
                    <a:pt x="1848" y="1"/>
                  </a:cubicBezTo>
                  <a:cubicBezTo>
                    <a:pt x="1843" y="0"/>
                    <a:pt x="1838" y="0"/>
                    <a:pt x="1833" y="0"/>
                  </a:cubicBezTo>
                  <a:cubicBezTo>
                    <a:pt x="1134" y="0"/>
                    <a:pt x="507" y="429"/>
                    <a:pt x="253" y="1080"/>
                  </a:cubicBezTo>
                  <a:cubicBezTo>
                    <a:pt x="0" y="1731"/>
                    <a:pt x="172" y="2471"/>
                    <a:pt x="686" y="2944"/>
                  </a:cubicBezTo>
                  <a:close/>
                  <a:moveTo>
                    <a:pt x="2312" y="4714"/>
                  </a:moveTo>
                  <a:lnTo>
                    <a:pt x="1353" y="4714"/>
                  </a:lnTo>
                  <a:cubicBezTo>
                    <a:pt x="1257" y="4714"/>
                    <a:pt x="1179" y="4636"/>
                    <a:pt x="1179" y="4540"/>
                  </a:cubicBezTo>
                  <a:lnTo>
                    <a:pt x="1179" y="4508"/>
                  </a:lnTo>
                  <a:lnTo>
                    <a:pt x="2038" y="4508"/>
                  </a:lnTo>
                  <a:cubicBezTo>
                    <a:pt x="2080" y="4508"/>
                    <a:pt x="2113" y="4474"/>
                    <a:pt x="2113" y="4433"/>
                  </a:cubicBezTo>
                  <a:cubicBezTo>
                    <a:pt x="2113" y="4391"/>
                    <a:pt x="2080" y="4358"/>
                    <a:pt x="2038" y="4358"/>
                  </a:cubicBezTo>
                  <a:lnTo>
                    <a:pt x="1179" y="4358"/>
                  </a:lnTo>
                  <a:lnTo>
                    <a:pt x="1179" y="4152"/>
                  </a:lnTo>
                  <a:lnTo>
                    <a:pt x="1390" y="4152"/>
                  </a:lnTo>
                  <a:cubicBezTo>
                    <a:pt x="1432" y="4152"/>
                    <a:pt x="1465" y="4118"/>
                    <a:pt x="1465" y="4077"/>
                  </a:cubicBezTo>
                  <a:cubicBezTo>
                    <a:pt x="1465" y="4035"/>
                    <a:pt x="1432" y="4002"/>
                    <a:pt x="1390" y="4002"/>
                  </a:cubicBezTo>
                  <a:lnTo>
                    <a:pt x="1179" y="4002"/>
                  </a:lnTo>
                  <a:lnTo>
                    <a:pt x="1179" y="3806"/>
                  </a:lnTo>
                  <a:lnTo>
                    <a:pt x="2487" y="3806"/>
                  </a:lnTo>
                  <a:lnTo>
                    <a:pt x="2487" y="4002"/>
                  </a:lnTo>
                  <a:lnTo>
                    <a:pt x="1648" y="4002"/>
                  </a:lnTo>
                  <a:cubicBezTo>
                    <a:pt x="1607" y="4002"/>
                    <a:pt x="1573" y="4035"/>
                    <a:pt x="1573" y="4077"/>
                  </a:cubicBezTo>
                  <a:cubicBezTo>
                    <a:pt x="1573" y="4118"/>
                    <a:pt x="1607" y="4152"/>
                    <a:pt x="1648" y="4152"/>
                  </a:cubicBezTo>
                  <a:lnTo>
                    <a:pt x="2487" y="4152"/>
                  </a:lnTo>
                  <a:lnTo>
                    <a:pt x="2487" y="4358"/>
                  </a:lnTo>
                  <a:lnTo>
                    <a:pt x="2296" y="4358"/>
                  </a:lnTo>
                  <a:cubicBezTo>
                    <a:pt x="2255" y="4358"/>
                    <a:pt x="2221" y="4391"/>
                    <a:pt x="2221" y="4433"/>
                  </a:cubicBezTo>
                  <a:cubicBezTo>
                    <a:pt x="2221" y="4474"/>
                    <a:pt x="2255" y="4508"/>
                    <a:pt x="2296" y="4508"/>
                  </a:cubicBezTo>
                  <a:lnTo>
                    <a:pt x="2487" y="4508"/>
                  </a:lnTo>
                  <a:lnTo>
                    <a:pt x="2487" y="4540"/>
                  </a:lnTo>
                  <a:cubicBezTo>
                    <a:pt x="2487" y="4636"/>
                    <a:pt x="2409" y="4714"/>
                    <a:pt x="2312" y="471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574">
              <a:extLst>
                <a:ext uri="{FF2B5EF4-FFF2-40B4-BE49-F238E27FC236}">
                  <a16:creationId xmlns:a16="http://schemas.microsoft.com/office/drawing/2014/main" id="{4AD26B96-12E4-4AFB-91D0-13F7744FA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4" y="2357"/>
              <a:ext cx="8" cy="36"/>
            </a:xfrm>
            <a:custGeom>
              <a:avLst/>
              <a:gdLst>
                <a:gd name="T0" fmla="*/ 75 w 150"/>
                <a:gd name="T1" fmla="*/ 649 h 649"/>
                <a:gd name="T2" fmla="*/ 150 w 150"/>
                <a:gd name="T3" fmla="*/ 574 h 649"/>
                <a:gd name="T4" fmla="*/ 150 w 150"/>
                <a:gd name="T5" fmla="*/ 75 h 649"/>
                <a:gd name="T6" fmla="*/ 75 w 150"/>
                <a:gd name="T7" fmla="*/ 0 h 649"/>
                <a:gd name="T8" fmla="*/ 0 w 150"/>
                <a:gd name="T9" fmla="*/ 75 h 649"/>
                <a:gd name="T10" fmla="*/ 0 w 150"/>
                <a:gd name="T11" fmla="*/ 574 h 649"/>
                <a:gd name="T12" fmla="*/ 75 w 150"/>
                <a:gd name="T13" fmla="*/ 649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649">
                  <a:moveTo>
                    <a:pt x="75" y="649"/>
                  </a:moveTo>
                  <a:cubicBezTo>
                    <a:pt x="116" y="649"/>
                    <a:pt x="150" y="615"/>
                    <a:pt x="150" y="574"/>
                  </a:cubicBezTo>
                  <a:lnTo>
                    <a:pt x="150" y="75"/>
                  </a:lnTo>
                  <a:cubicBezTo>
                    <a:pt x="150" y="34"/>
                    <a:pt x="116" y="0"/>
                    <a:pt x="75" y="0"/>
                  </a:cubicBezTo>
                  <a:cubicBezTo>
                    <a:pt x="33" y="0"/>
                    <a:pt x="0" y="34"/>
                    <a:pt x="0" y="75"/>
                  </a:cubicBezTo>
                  <a:lnTo>
                    <a:pt x="0" y="574"/>
                  </a:lnTo>
                  <a:cubicBezTo>
                    <a:pt x="0" y="615"/>
                    <a:pt x="33" y="649"/>
                    <a:pt x="75" y="64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575">
              <a:extLst>
                <a:ext uri="{FF2B5EF4-FFF2-40B4-BE49-F238E27FC236}">
                  <a16:creationId xmlns:a16="http://schemas.microsoft.com/office/drawing/2014/main" id="{068A8262-FF6A-46CF-BE98-FC47915A9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3" y="2486"/>
              <a:ext cx="35" cy="9"/>
            </a:xfrm>
            <a:custGeom>
              <a:avLst/>
              <a:gdLst>
                <a:gd name="T0" fmla="*/ 75 w 649"/>
                <a:gd name="T1" fmla="*/ 0 h 150"/>
                <a:gd name="T2" fmla="*/ 0 w 649"/>
                <a:gd name="T3" fmla="*/ 75 h 150"/>
                <a:gd name="T4" fmla="*/ 75 w 649"/>
                <a:gd name="T5" fmla="*/ 150 h 150"/>
                <a:gd name="T6" fmla="*/ 574 w 649"/>
                <a:gd name="T7" fmla="*/ 150 h 150"/>
                <a:gd name="T8" fmla="*/ 649 w 649"/>
                <a:gd name="T9" fmla="*/ 75 h 150"/>
                <a:gd name="T10" fmla="*/ 574 w 649"/>
                <a:gd name="T11" fmla="*/ 0 h 150"/>
                <a:gd name="T12" fmla="*/ 75 w 649"/>
                <a:gd name="T1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9" h="150">
                  <a:moveTo>
                    <a:pt x="75" y="0"/>
                  </a:moveTo>
                  <a:cubicBezTo>
                    <a:pt x="34" y="0"/>
                    <a:pt x="0" y="34"/>
                    <a:pt x="0" y="75"/>
                  </a:cubicBezTo>
                  <a:cubicBezTo>
                    <a:pt x="0" y="117"/>
                    <a:pt x="34" y="150"/>
                    <a:pt x="75" y="150"/>
                  </a:cubicBezTo>
                  <a:lnTo>
                    <a:pt x="574" y="150"/>
                  </a:lnTo>
                  <a:cubicBezTo>
                    <a:pt x="615" y="150"/>
                    <a:pt x="649" y="117"/>
                    <a:pt x="649" y="75"/>
                  </a:cubicBezTo>
                  <a:cubicBezTo>
                    <a:pt x="649" y="34"/>
                    <a:pt x="615" y="0"/>
                    <a:pt x="574" y="0"/>
                  </a:cubicBezTo>
                  <a:lnTo>
                    <a:pt x="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576">
              <a:extLst>
                <a:ext uri="{FF2B5EF4-FFF2-40B4-BE49-F238E27FC236}">
                  <a16:creationId xmlns:a16="http://schemas.microsoft.com/office/drawing/2014/main" id="{F97FBC9E-1004-4963-AE6D-2445D9CAC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" y="2486"/>
              <a:ext cx="35" cy="9"/>
            </a:xfrm>
            <a:custGeom>
              <a:avLst/>
              <a:gdLst>
                <a:gd name="T0" fmla="*/ 75 w 648"/>
                <a:gd name="T1" fmla="*/ 150 h 150"/>
                <a:gd name="T2" fmla="*/ 573 w 648"/>
                <a:gd name="T3" fmla="*/ 150 h 150"/>
                <a:gd name="T4" fmla="*/ 648 w 648"/>
                <a:gd name="T5" fmla="*/ 75 h 150"/>
                <a:gd name="T6" fmla="*/ 573 w 648"/>
                <a:gd name="T7" fmla="*/ 0 h 150"/>
                <a:gd name="T8" fmla="*/ 75 w 648"/>
                <a:gd name="T9" fmla="*/ 0 h 150"/>
                <a:gd name="T10" fmla="*/ 0 w 648"/>
                <a:gd name="T11" fmla="*/ 75 h 150"/>
                <a:gd name="T12" fmla="*/ 75 w 648"/>
                <a:gd name="T13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8" h="150">
                  <a:moveTo>
                    <a:pt x="75" y="150"/>
                  </a:moveTo>
                  <a:lnTo>
                    <a:pt x="573" y="150"/>
                  </a:lnTo>
                  <a:cubicBezTo>
                    <a:pt x="614" y="150"/>
                    <a:pt x="648" y="117"/>
                    <a:pt x="648" y="75"/>
                  </a:cubicBezTo>
                  <a:cubicBezTo>
                    <a:pt x="648" y="34"/>
                    <a:pt x="614" y="0"/>
                    <a:pt x="573" y="0"/>
                  </a:cubicBezTo>
                  <a:lnTo>
                    <a:pt x="75" y="0"/>
                  </a:lnTo>
                  <a:cubicBezTo>
                    <a:pt x="33" y="0"/>
                    <a:pt x="0" y="34"/>
                    <a:pt x="0" y="75"/>
                  </a:cubicBezTo>
                  <a:cubicBezTo>
                    <a:pt x="0" y="117"/>
                    <a:pt x="33" y="150"/>
                    <a:pt x="75" y="15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577">
              <a:extLst>
                <a:ext uri="{FF2B5EF4-FFF2-40B4-BE49-F238E27FC236}">
                  <a16:creationId xmlns:a16="http://schemas.microsoft.com/office/drawing/2014/main" id="{25EE80CB-6490-4483-B5D5-AA021DFE52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3" y="2389"/>
              <a:ext cx="35" cy="34"/>
            </a:xfrm>
            <a:custGeom>
              <a:avLst/>
              <a:gdLst>
                <a:gd name="T0" fmla="*/ 459 w 636"/>
                <a:gd name="T1" fmla="*/ 566 h 637"/>
                <a:gd name="T2" fmla="*/ 565 w 636"/>
                <a:gd name="T3" fmla="*/ 460 h 637"/>
                <a:gd name="T4" fmla="*/ 176 w 636"/>
                <a:gd name="T5" fmla="*/ 71 h 637"/>
                <a:gd name="T6" fmla="*/ 70 w 636"/>
                <a:gd name="T7" fmla="*/ 177 h 637"/>
                <a:gd name="T8" fmla="*/ 459 w 636"/>
                <a:gd name="T9" fmla="*/ 566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6" h="637">
                  <a:moveTo>
                    <a:pt x="459" y="566"/>
                  </a:moveTo>
                  <a:cubicBezTo>
                    <a:pt x="530" y="637"/>
                    <a:pt x="636" y="530"/>
                    <a:pt x="565" y="460"/>
                  </a:cubicBezTo>
                  <a:lnTo>
                    <a:pt x="176" y="71"/>
                  </a:lnTo>
                  <a:cubicBezTo>
                    <a:pt x="106" y="0"/>
                    <a:pt x="0" y="106"/>
                    <a:pt x="70" y="177"/>
                  </a:cubicBezTo>
                  <a:lnTo>
                    <a:pt x="459" y="56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8" name="object 15">
            <a:extLst>
              <a:ext uri="{FF2B5EF4-FFF2-40B4-BE49-F238E27FC236}">
                <a16:creationId xmlns:a16="http://schemas.microsoft.com/office/drawing/2014/main" id="{8B09B1E4-966C-426A-94DC-A979425BE58A}"/>
              </a:ext>
            </a:extLst>
          </p:cNvPr>
          <p:cNvSpPr txBox="1"/>
          <p:nvPr/>
        </p:nvSpPr>
        <p:spPr>
          <a:xfrm>
            <a:off x="1271992" y="3790743"/>
            <a:ext cx="10482648" cy="656230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  <a:spcAft>
                <a:spcPts val="1800"/>
              </a:spcAft>
            </a:pP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Ўзбекистон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еспубликаси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Президентининг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«Давлат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олиявий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азорати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изимини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янада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комиллаштириш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чора-тадбирлари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ўғрисида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"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ги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2021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йил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27 август ПФ 6300-сонли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Фармони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влат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рганларининг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ички </a:t>
            </a:r>
            <a:r>
              <a:rPr lang="uz-Cyrl-UZ" sz="1400" spc="-4" dirty="0">
                <a:solidFill>
                  <a:schemeClr val="tx2"/>
                </a:solidFill>
                <a:cs typeface="Arial" panose="020B0604020202020204" pitchFamily="34" charset="0"/>
              </a:rPr>
              <a:t>аудит</a:t>
            </a:r>
            <a:r>
              <a:rPr lang="en-US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изматларига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, шу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умладан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ички </a:t>
            </a:r>
            <a:r>
              <a:rPr lang="uz-Cyrl-UZ" sz="1400" spc="-4" dirty="0">
                <a:solidFill>
                  <a:schemeClr val="tx2"/>
                </a:solidFill>
                <a:cs typeface="Arial" panose="020B0604020202020204" pitchFamily="34" charset="0"/>
              </a:rPr>
              <a:t>аудит</a:t>
            </a:r>
            <a:r>
              <a:rPr lang="en-US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фаолиятини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"Давлат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удити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"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стурида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ўйхатдан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ўтказишга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ўйиладиган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лабларни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елгилайди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.</a:t>
            </a:r>
          </a:p>
        </p:txBody>
      </p:sp>
      <p:sp>
        <p:nvSpPr>
          <p:cNvPr id="89" name="object 12">
            <a:extLst>
              <a:ext uri="{FF2B5EF4-FFF2-40B4-BE49-F238E27FC236}">
                <a16:creationId xmlns:a16="http://schemas.microsoft.com/office/drawing/2014/main" id="{070FC380-8021-4879-8783-BF0A9C8FC638}"/>
              </a:ext>
            </a:extLst>
          </p:cNvPr>
          <p:cNvSpPr/>
          <p:nvPr/>
        </p:nvSpPr>
        <p:spPr>
          <a:xfrm>
            <a:off x="456832" y="3742564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97" name="Group 180">
            <a:extLst>
              <a:ext uri="{FF2B5EF4-FFF2-40B4-BE49-F238E27FC236}">
                <a16:creationId xmlns:a16="http://schemas.microsoft.com/office/drawing/2014/main" id="{AF572518-3511-4A56-8681-71E0FA27156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1831" y="3812045"/>
            <a:ext cx="441366" cy="546863"/>
            <a:chOff x="2296" y="232"/>
            <a:chExt cx="3100" cy="3841"/>
          </a:xfrm>
          <a:solidFill>
            <a:schemeClr val="bg2">
              <a:lumMod val="25000"/>
            </a:schemeClr>
          </a:solidFill>
        </p:grpSpPr>
        <p:sp>
          <p:nvSpPr>
            <p:cNvPr id="98" name="Freeform 181">
              <a:extLst>
                <a:ext uri="{FF2B5EF4-FFF2-40B4-BE49-F238E27FC236}">
                  <a16:creationId xmlns:a16="http://schemas.microsoft.com/office/drawing/2014/main" id="{2B71C30D-C5F7-41D9-8614-7E07AC873A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6" y="232"/>
              <a:ext cx="2689" cy="3841"/>
            </a:xfrm>
            <a:custGeom>
              <a:avLst/>
              <a:gdLst>
                <a:gd name="T0" fmla="*/ 5333 w 5600"/>
                <a:gd name="T1" fmla="*/ 7733 h 8000"/>
                <a:gd name="T2" fmla="*/ 267 w 5600"/>
                <a:gd name="T3" fmla="*/ 7733 h 8000"/>
                <a:gd name="T4" fmla="*/ 267 w 5600"/>
                <a:gd name="T5" fmla="*/ 1600 h 8000"/>
                <a:gd name="T6" fmla="*/ 1600 w 5600"/>
                <a:gd name="T7" fmla="*/ 1600 h 8000"/>
                <a:gd name="T8" fmla="*/ 1600 w 5600"/>
                <a:gd name="T9" fmla="*/ 267 h 8000"/>
                <a:gd name="T10" fmla="*/ 5333 w 5600"/>
                <a:gd name="T11" fmla="*/ 267 h 8000"/>
                <a:gd name="T12" fmla="*/ 5333 w 5600"/>
                <a:gd name="T13" fmla="*/ 1600 h 8000"/>
                <a:gd name="T14" fmla="*/ 5600 w 5600"/>
                <a:gd name="T15" fmla="*/ 1600 h 8000"/>
                <a:gd name="T16" fmla="*/ 5600 w 5600"/>
                <a:gd name="T17" fmla="*/ 0 h 8000"/>
                <a:gd name="T18" fmla="*/ 1411 w 5600"/>
                <a:gd name="T19" fmla="*/ 0 h 8000"/>
                <a:gd name="T20" fmla="*/ 0 w 5600"/>
                <a:gd name="T21" fmla="*/ 1411 h 8000"/>
                <a:gd name="T22" fmla="*/ 0 w 5600"/>
                <a:gd name="T23" fmla="*/ 8000 h 8000"/>
                <a:gd name="T24" fmla="*/ 5600 w 5600"/>
                <a:gd name="T25" fmla="*/ 8000 h 8000"/>
                <a:gd name="T26" fmla="*/ 5600 w 5600"/>
                <a:gd name="T27" fmla="*/ 4133 h 8000"/>
                <a:gd name="T28" fmla="*/ 5333 w 5600"/>
                <a:gd name="T29" fmla="*/ 4133 h 8000"/>
                <a:gd name="T30" fmla="*/ 5333 w 5600"/>
                <a:gd name="T31" fmla="*/ 7733 h 8000"/>
                <a:gd name="T32" fmla="*/ 455 w 5600"/>
                <a:gd name="T33" fmla="*/ 1333 h 8000"/>
                <a:gd name="T34" fmla="*/ 1333 w 5600"/>
                <a:gd name="T35" fmla="*/ 455 h 8000"/>
                <a:gd name="T36" fmla="*/ 1333 w 5600"/>
                <a:gd name="T37" fmla="*/ 1333 h 8000"/>
                <a:gd name="T38" fmla="*/ 455 w 5600"/>
                <a:gd name="T39" fmla="*/ 1333 h 8000"/>
                <a:gd name="T40" fmla="*/ 455 w 5600"/>
                <a:gd name="T41" fmla="*/ 1333 h 8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600" h="8000">
                  <a:moveTo>
                    <a:pt x="5333" y="7733"/>
                  </a:moveTo>
                  <a:lnTo>
                    <a:pt x="267" y="7733"/>
                  </a:lnTo>
                  <a:lnTo>
                    <a:pt x="267" y="1600"/>
                  </a:lnTo>
                  <a:lnTo>
                    <a:pt x="1600" y="1600"/>
                  </a:lnTo>
                  <a:lnTo>
                    <a:pt x="1600" y="267"/>
                  </a:lnTo>
                  <a:lnTo>
                    <a:pt x="5333" y="267"/>
                  </a:lnTo>
                  <a:lnTo>
                    <a:pt x="5333" y="1600"/>
                  </a:lnTo>
                  <a:lnTo>
                    <a:pt x="5600" y="1600"/>
                  </a:lnTo>
                  <a:lnTo>
                    <a:pt x="5600" y="0"/>
                  </a:lnTo>
                  <a:lnTo>
                    <a:pt x="1411" y="0"/>
                  </a:lnTo>
                  <a:lnTo>
                    <a:pt x="0" y="1411"/>
                  </a:lnTo>
                  <a:lnTo>
                    <a:pt x="0" y="8000"/>
                  </a:lnTo>
                  <a:lnTo>
                    <a:pt x="5600" y="8000"/>
                  </a:lnTo>
                  <a:lnTo>
                    <a:pt x="5600" y="4133"/>
                  </a:lnTo>
                  <a:lnTo>
                    <a:pt x="5333" y="4133"/>
                  </a:lnTo>
                  <a:lnTo>
                    <a:pt x="5333" y="7733"/>
                  </a:lnTo>
                  <a:close/>
                  <a:moveTo>
                    <a:pt x="455" y="1333"/>
                  </a:moveTo>
                  <a:lnTo>
                    <a:pt x="1333" y="455"/>
                  </a:lnTo>
                  <a:lnTo>
                    <a:pt x="1333" y="1333"/>
                  </a:lnTo>
                  <a:lnTo>
                    <a:pt x="455" y="1333"/>
                  </a:lnTo>
                  <a:close/>
                  <a:moveTo>
                    <a:pt x="455" y="1333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182">
              <a:extLst>
                <a:ext uri="{FF2B5EF4-FFF2-40B4-BE49-F238E27FC236}">
                  <a16:creationId xmlns:a16="http://schemas.microsoft.com/office/drawing/2014/main" id="{D1BBD48A-F546-4F91-84EB-2C701662D7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7" y="969"/>
              <a:ext cx="1619" cy="2560"/>
            </a:xfrm>
            <a:custGeom>
              <a:avLst/>
              <a:gdLst>
                <a:gd name="T0" fmla="*/ 3115 w 3372"/>
                <a:gd name="T1" fmla="*/ 68 h 5331"/>
                <a:gd name="T2" fmla="*/ 2811 w 3372"/>
                <a:gd name="T3" fmla="*/ 28 h 5331"/>
                <a:gd name="T4" fmla="*/ 2568 w 3372"/>
                <a:gd name="T5" fmla="*/ 215 h 5331"/>
                <a:gd name="T6" fmla="*/ 2177 w 3372"/>
                <a:gd name="T7" fmla="*/ 892 h 5331"/>
                <a:gd name="T8" fmla="*/ 1888 w 3372"/>
                <a:gd name="T9" fmla="*/ 725 h 5331"/>
                <a:gd name="T10" fmla="*/ 1355 w 3372"/>
                <a:gd name="T11" fmla="*/ 1649 h 5331"/>
                <a:gd name="T12" fmla="*/ 1586 w 3372"/>
                <a:gd name="T13" fmla="*/ 1782 h 5331"/>
                <a:gd name="T14" fmla="*/ 1986 w 3372"/>
                <a:gd name="T15" fmla="*/ 1089 h 5331"/>
                <a:gd name="T16" fmla="*/ 2044 w 3372"/>
                <a:gd name="T17" fmla="*/ 1122 h 5331"/>
                <a:gd name="T18" fmla="*/ 168 w 3372"/>
                <a:gd name="T19" fmla="*/ 4371 h 5331"/>
                <a:gd name="T20" fmla="*/ 212 w 3372"/>
                <a:gd name="T21" fmla="*/ 4829 h 5331"/>
                <a:gd name="T22" fmla="*/ 0 w 3372"/>
                <a:gd name="T23" fmla="*/ 5197 h 5331"/>
                <a:gd name="T24" fmla="*/ 230 w 3372"/>
                <a:gd name="T25" fmla="*/ 5331 h 5331"/>
                <a:gd name="T26" fmla="*/ 444 w 3372"/>
                <a:gd name="T27" fmla="*/ 4962 h 5331"/>
                <a:gd name="T28" fmla="*/ 515 w 3372"/>
                <a:gd name="T29" fmla="*/ 4971 h 5331"/>
                <a:gd name="T30" fmla="*/ 861 w 3372"/>
                <a:gd name="T31" fmla="*/ 4771 h 5331"/>
                <a:gd name="T32" fmla="*/ 3261 w 3372"/>
                <a:gd name="T33" fmla="*/ 614 h 5331"/>
                <a:gd name="T34" fmla="*/ 3115 w 3372"/>
                <a:gd name="T35" fmla="*/ 68 h 5331"/>
                <a:gd name="T36" fmla="*/ 2733 w 3372"/>
                <a:gd name="T37" fmla="*/ 463 h 5331"/>
                <a:gd name="T38" fmla="*/ 2800 w 3372"/>
                <a:gd name="T39" fmla="*/ 348 h 5331"/>
                <a:gd name="T40" fmla="*/ 2981 w 3372"/>
                <a:gd name="T41" fmla="*/ 300 h 5331"/>
                <a:gd name="T42" fmla="*/ 3030 w 3372"/>
                <a:gd name="T43" fmla="*/ 481 h 5331"/>
                <a:gd name="T44" fmla="*/ 2964 w 3372"/>
                <a:gd name="T45" fmla="*/ 596 h 5331"/>
                <a:gd name="T46" fmla="*/ 2733 w 3372"/>
                <a:gd name="T47" fmla="*/ 463 h 5331"/>
                <a:gd name="T48" fmla="*/ 2830 w 3372"/>
                <a:gd name="T49" fmla="*/ 827 h 5331"/>
                <a:gd name="T50" fmla="*/ 630 w 3372"/>
                <a:gd name="T51" fmla="*/ 4637 h 5331"/>
                <a:gd name="T52" fmla="*/ 449 w 3372"/>
                <a:gd name="T53" fmla="*/ 4685 h 5331"/>
                <a:gd name="T54" fmla="*/ 400 w 3372"/>
                <a:gd name="T55" fmla="*/ 4504 h 5331"/>
                <a:gd name="T56" fmla="*/ 2600 w 3372"/>
                <a:gd name="T57" fmla="*/ 693 h 5331"/>
                <a:gd name="T58" fmla="*/ 2830 w 3372"/>
                <a:gd name="T59" fmla="*/ 827 h 5331"/>
                <a:gd name="T60" fmla="*/ 2830 w 3372"/>
                <a:gd name="T61" fmla="*/ 827 h 5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372" h="5331">
                  <a:moveTo>
                    <a:pt x="3115" y="68"/>
                  </a:moveTo>
                  <a:cubicBezTo>
                    <a:pt x="3023" y="15"/>
                    <a:pt x="2914" y="0"/>
                    <a:pt x="2811" y="28"/>
                  </a:cubicBezTo>
                  <a:cubicBezTo>
                    <a:pt x="2709" y="55"/>
                    <a:pt x="2621" y="123"/>
                    <a:pt x="2568" y="215"/>
                  </a:cubicBezTo>
                  <a:lnTo>
                    <a:pt x="2177" y="892"/>
                  </a:lnTo>
                  <a:lnTo>
                    <a:pt x="1888" y="725"/>
                  </a:lnTo>
                  <a:lnTo>
                    <a:pt x="1355" y="1649"/>
                  </a:lnTo>
                  <a:lnTo>
                    <a:pt x="1586" y="1782"/>
                  </a:lnTo>
                  <a:lnTo>
                    <a:pt x="1986" y="1089"/>
                  </a:lnTo>
                  <a:lnTo>
                    <a:pt x="2044" y="1122"/>
                  </a:lnTo>
                  <a:lnTo>
                    <a:pt x="168" y="4371"/>
                  </a:lnTo>
                  <a:cubicBezTo>
                    <a:pt x="85" y="4517"/>
                    <a:pt x="102" y="4701"/>
                    <a:pt x="212" y="4829"/>
                  </a:cubicBezTo>
                  <a:lnTo>
                    <a:pt x="0" y="5197"/>
                  </a:lnTo>
                  <a:lnTo>
                    <a:pt x="230" y="5331"/>
                  </a:lnTo>
                  <a:lnTo>
                    <a:pt x="444" y="4962"/>
                  </a:lnTo>
                  <a:cubicBezTo>
                    <a:pt x="467" y="4967"/>
                    <a:pt x="491" y="4970"/>
                    <a:pt x="515" y="4971"/>
                  </a:cubicBezTo>
                  <a:cubicBezTo>
                    <a:pt x="658" y="4971"/>
                    <a:pt x="790" y="4895"/>
                    <a:pt x="861" y="4771"/>
                  </a:cubicBezTo>
                  <a:lnTo>
                    <a:pt x="3261" y="614"/>
                  </a:lnTo>
                  <a:cubicBezTo>
                    <a:pt x="3372" y="423"/>
                    <a:pt x="3306" y="178"/>
                    <a:pt x="3115" y="68"/>
                  </a:cubicBezTo>
                  <a:close/>
                  <a:moveTo>
                    <a:pt x="2733" y="463"/>
                  </a:moveTo>
                  <a:lnTo>
                    <a:pt x="2800" y="348"/>
                  </a:lnTo>
                  <a:cubicBezTo>
                    <a:pt x="2837" y="284"/>
                    <a:pt x="2918" y="263"/>
                    <a:pt x="2981" y="300"/>
                  </a:cubicBezTo>
                  <a:cubicBezTo>
                    <a:pt x="3045" y="336"/>
                    <a:pt x="3067" y="417"/>
                    <a:pt x="3030" y="481"/>
                  </a:cubicBezTo>
                  <a:lnTo>
                    <a:pt x="2964" y="596"/>
                  </a:lnTo>
                  <a:lnTo>
                    <a:pt x="2733" y="463"/>
                  </a:lnTo>
                  <a:close/>
                  <a:moveTo>
                    <a:pt x="2830" y="827"/>
                  </a:moveTo>
                  <a:lnTo>
                    <a:pt x="630" y="4637"/>
                  </a:lnTo>
                  <a:cubicBezTo>
                    <a:pt x="593" y="4701"/>
                    <a:pt x="512" y="4722"/>
                    <a:pt x="449" y="4685"/>
                  </a:cubicBezTo>
                  <a:cubicBezTo>
                    <a:pt x="385" y="4649"/>
                    <a:pt x="363" y="4568"/>
                    <a:pt x="400" y="4504"/>
                  </a:cubicBezTo>
                  <a:lnTo>
                    <a:pt x="2600" y="693"/>
                  </a:lnTo>
                  <a:lnTo>
                    <a:pt x="2830" y="827"/>
                  </a:lnTo>
                  <a:close/>
                  <a:moveTo>
                    <a:pt x="2830" y="827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183">
              <a:extLst>
                <a:ext uri="{FF2B5EF4-FFF2-40B4-BE49-F238E27FC236}">
                  <a16:creationId xmlns:a16="http://schemas.microsoft.com/office/drawing/2014/main" id="{42A97627-FB7F-4DD3-932B-FE4C88054B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8" y="3433"/>
              <a:ext cx="896" cy="128"/>
            </a:xfrm>
            <a:custGeom>
              <a:avLst/>
              <a:gdLst>
                <a:gd name="T0" fmla="*/ 0 w 1866"/>
                <a:gd name="T1" fmla="*/ 0 h 266"/>
                <a:gd name="T2" fmla="*/ 1866 w 1866"/>
                <a:gd name="T3" fmla="*/ 0 h 266"/>
                <a:gd name="T4" fmla="*/ 1866 w 1866"/>
                <a:gd name="T5" fmla="*/ 266 h 266"/>
                <a:gd name="T6" fmla="*/ 0 w 1866"/>
                <a:gd name="T7" fmla="*/ 266 h 266"/>
                <a:gd name="T8" fmla="*/ 0 w 1866"/>
                <a:gd name="T9" fmla="*/ 0 h 266"/>
                <a:gd name="T10" fmla="*/ 0 w 1866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66" h="266">
                  <a:moveTo>
                    <a:pt x="0" y="0"/>
                  </a:moveTo>
                  <a:lnTo>
                    <a:pt x="1866" y="0"/>
                  </a:lnTo>
                  <a:lnTo>
                    <a:pt x="1866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184">
              <a:extLst>
                <a:ext uri="{FF2B5EF4-FFF2-40B4-BE49-F238E27FC236}">
                  <a16:creationId xmlns:a16="http://schemas.microsoft.com/office/drawing/2014/main" id="{F6D3F301-C06B-412D-9E99-541CA0E9DE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8" y="2921"/>
              <a:ext cx="961" cy="128"/>
            </a:xfrm>
            <a:custGeom>
              <a:avLst/>
              <a:gdLst>
                <a:gd name="T0" fmla="*/ 0 w 2000"/>
                <a:gd name="T1" fmla="*/ 0 h 267"/>
                <a:gd name="T2" fmla="*/ 2000 w 2000"/>
                <a:gd name="T3" fmla="*/ 0 h 267"/>
                <a:gd name="T4" fmla="*/ 2000 w 2000"/>
                <a:gd name="T5" fmla="*/ 267 h 267"/>
                <a:gd name="T6" fmla="*/ 0 w 2000"/>
                <a:gd name="T7" fmla="*/ 267 h 267"/>
                <a:gd name="T8" fmla="*/ 0 w 2000"/>
                <a:gd name="T9" fmla="*/ 0 h 267"/>
                <a:gd name="T10" fmla="*/ 0 w 2000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00" h="267">
                  <a:moveTo>
                    <a:pt x="0" y="0"/>
                  </a:moveTo>
                  <a:lnTo>
                    <a:pt x="2000" y="0"/>
                  </a:lnTo>
                  <a:lnTo>
                    <a:pt x="2000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185">
              <a:extLst>
                <a:ext uri="{FF2B5EF4-FFF2-40B4-BE49-F238E27FC236}">
                  <a16:creationId xmlns:a16="http://schemas.microsoft.com/office/drawing/2014/main" id="{B3EF87E7-13AA-48D2-8038-4C9E036652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8" y="2345"/>
              <a:ext cx="1280" cy="128"/>
            </a:xfrm>
            <a:custGeom>
              <a:avLst/>
              <a:gdLst>
                <a:gd name="T0" fmla="*/ 0 w 2666"/>
                <a:gd name="T1" fmla="*/ 0 h 267"/>
                <a:gd name="T2" fmla="*/ 2666 w 2666"/>
                <a:gd name="T3" fmla="*/ 0 h 267"/>
                <a:gd name="T4" fmla="*/ 2666 w 2666"/>
                <a:gd name="T5" fmla="*/ 267 h 267"/>
                <a:gd name="T6" fmla="*/ 0 w 2666"/>
                <a:gd name="T7" fmla="*/ 267 h 267"/>
                <a:gd name="T8" fmla="*/ 0 w 2666"/>
                <a:gd name="T9" fmla="*/ 0 h 267"/>
                <a:gd name="T10" fmla="*/ 0 w 2666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6" h="267">
                  <a:moveTo>
                    <a:pt x="0" y="0"/>
                  </a:moveTo>
                  <a:lnTo>
                    <a:pt x="2666" y="0"/>
                  </a:lnTo>
                  <a:lnTo>
                    <a:pt x="2666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186">
              <a:extLst>
                <a:ext uri="{FF2B5EF4-FFF2-40B4-BE49-F238E27FC236}">
                  <a16:creationId xmlns:a16="http://schemas.microsoft.com/office/drawing/2014/main" id="{40DDE909-AE28-45F0-8F8B-4630C801F8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8" y="1832"/>
              <a:ext cx="1537" cy="129"/>
            </a:xfrm>
            <a:custGeom>
              <a:avLst/>
              <a:gdLst>
                <a:gd name="T0" fmla="*/ 0 w 3200"/>
                <a:gd name="T1" fmla="*/ 0 h 267"/>
                <a:gd name="T2" fmla="*/ 3200 w 3200"/>
                <a:gd name="T3" fmla="*/ 0 h 267"/>
                <a:gd name="T4" fmla="*/ 3200 w 3200"/>
                <a:gd name="T5" fmla="*/ 267 h 267"/>
                <a:gd name="T6" fmla="*/ 0 w 3200"/>
                <a:gd name="T7" fmla="*/ 267 h 267"/>
                <a:gd name="T8" fmla="*/ 0 w 3200"/>
                <a:gd name="T9" fmla="*/ 0 h 267"/>
                <a:gd name="T10" fmla="*/ 0 w 3200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00" h="267">
                  <a:moveTo>
                    <a:pt x="0" y="0"/>
                  </a:moveTo>
                  <a:lnTo>
                    <a:pt x="3200" y="0"/>
                  </a:lnTo>
                  <a:lnTo>
                    <a:pt x="3200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187">
              <a:extLst>
                <a:ext uri="{FF2B5EF4-FFF2-40B4-BE49-F238E27FC236}">
                  <a16:creationId xmlns:a16="http://schemas.microsoft.com/office/drawing/2014/main" id="{BC391732-8C6E-44FD-8E6B-6B54FE783B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8" y="1384"/>
              <a:ext cx="1665" cy="129"/>
            </a:xfrm>
            <a:custGeom>
              <a:avLst/>
              <a:gdLst>
                <a:gd name="T0" fmla="*/ 0 w 3466"/>
                <a:gd name="T1" fmla="*/ 0 h 267"/>
                <a:gd name="T2" fmla="*/ 3466 w 3466"/>
                <a:gd name="T3" fmla="*/ 0 h 267"/>
                <a:gd name="T4" fmla="*/ 3466 w 3466"/>
                <a:gd name="T5" fmla="*/ 267 h 267"/>
                <a:gd name="T6" fmla="*/ 0 w 3466"/>
                <a:gd name="T7" fmla="*/ 267 h 267"/>
                <a:gd name="T8" fmla="*/ 0 w 3466"/>
                <a:gd name="T9" fmla="*/ 0 h 267"/>
                <a:gd name="T10" fmla="*/ 0 w 3466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66" h="267">
                  <a:moveTo>
                    <a:pt x="0" y="0"/>
                  </a:moveTo>
                  <a:lnTo>
                    <a:pt x="3466" y="0"/>
                  </a:lnTo>
                  <a:lnTo>
                    <a:pt x="3466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9E7C1A0B-E24A-40BE-BFF9-4AC2F2A712C8}"/>
              </a:ext>
            </a:extLst>
          </p:cNvPr>
          <p:cNvCxnSpPr>
            <a:cxnSpLocks/>
          </p:cNvCxnSpPr>
          <p:nvPr/>
        </p:nvCxnSpPr>
        <p:spPr>
          <a:xfrm>
            <a:off x="429112" y="5404345"/>
            <a:ext cx="11319976" cy="0"/>
          </a:xfrm>
          <a:prstGeom prst="line">
            <a:avLst/>
          </a:prstGeom>
          <a:ln w="25400">
            <a:solidFill>
              <a:srgbClr val="1BD7D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tangle 105">
            <a:extLst>
              <a:ext uri="{FF2B5EF4-FFF2-40B4-BE49-F238E27FC236}">
                <a16:creationId xmlns:a16="http://schemas.microsoft.com/office/drawing/2014/main" id="{4F7690BC-4172-4C4F-BB11-9DBB023AC029}"/>
              </a:ext>
            </a:extLst>
          </p:cNvPr>
          <p:cNvSpPr/>
          <p:nvPr/>
        </p:nvSpPr>
        <p:spPr>
          <a:xfrm>
            <a:off x="429112" y="4828797"/>
            <a:ext cx="7127388" cy="523220"/>
          </a:xfrm>
          <a:prstGeom prst="rect">
            <a:avLst/>
          </a:prstGeom>
        </p:spPr>
        <p:txBody>
          <a:bodyPr wrap="square" lIns="0" anchor="b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Комплаенс -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бўлинмалар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давлат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органининг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ички </a:t>
            </a:r>
            <a:r>
              <a:rPr lang="uz-Cyrl-UZ" sz="1400" b="1" dirty="0">
                <a:solidFill>
                  <a:schemeClr val="bg2">
                    <a:lumMod val="25000"/>
                  </a:schemeClr>
                </a:solidFill>
              </a:rPr>
              <a:t>аудит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хизматлар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билан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қуйидаг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йўналишларда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ҳамкорлик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қилиш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керак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: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99B5E8D3-0EB6-4EF4-9BFC-969D80F9C426}"/>
              </a:ext>
            </a:extLst>
          </p:cNvPr>
          <p:cNvSpPr/>
          <p:nvPr/>
        </p:nvSpPr>
        <p:spPr>
          <a:xfrm>
            <a:off x="443080" y="5442766"/>
            <a:ext cx="11319976" cy="866623"/>
          </a:xfrm>
          <a:prstGeom prst="rect">
            <a:avLst/>
          </a:prstGeom>
        </p:spPr>
        <p:txBody>
          <a:bodyPr wrap="square" lIns="0" numCol="1" spcCol="72000">
            <a:noAutofit/>
          </a:bodyPr>
          <a:lstStyle/>
          <a:p>
            <a:pPr marL="266700" indent="-266700" fontAlgn="base">
              <a:spcBef>
                <a:spcPct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ҳлил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наётга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нксиялари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ррупцияга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ид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уқуқбузарлик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ўғриси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хборот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маш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66700" indent="-266700" fontAlgn="base">
              <a:spcBef>
                <a:spcPct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ҳлил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наётга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нкция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у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бул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арал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орат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оралари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шлаб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қиш</a:t>
            </a:r>
            <a:endParaRPr lang="ru-RU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fontAlgn="base">
              <a:spcBef>
                <a:spcPct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рупцияга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ш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салалар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аро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слаҳат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рдам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ўрсатиш</a:t>
            </a:r>
            <a:endParaRPr lang="ru-RU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022764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F274FD9-1F19-42FA-BC94-3D554C7C46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Ҳулоса</a:t>
            </a:r>
            <a:endParaRPr lang="en-US" dirty="0"/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F0A4D97E-F80E-486F-97A7-D45049240E42}"/>
              </a:ext>
            </a:extLst>
          </p:cNvPr>
          <p:cNvGrpSpPr/>
          <p:nvPr/>
        </p:nvGrpSpPr>
        <p:grpSpPr>
          <a:xfrm>
            <a:off x="443080" y="1282692"/>
            <a:ext cx="8258158" cy="434976"/>
            <a:chOff x="3784798" y="1289127"/>
            <a:chExt cx="7964290" cy="463166"/>
          </a:xfrm>
        </p:grpSpPr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6BCC4621-26A0-4271-9D06-8ABB4177C490}"/>
                </a:ext>
              </a:extLst>
            </p:cNvPr>
            <p:cNvSpPr/>
            <p:nvPr/>
          </p:nvSpPr>
          <p:spPr>
            <a:xfrm>
              <a:off x="3921193" y="1371686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8D5C783D-98F0-455F-9935-0D7E7B6E94C8}"/>
                </a:ext>
              </a:extLst>
            </p:cNvPr>
            <p:cNvSpPr/>
            <p:nvPr/>
          </p:nvSpPr>
          <p:spPr>
            <a:xfrm>
              <a:off x="3784798" y="1289127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5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ррупцияга </a:t>
              </a:r>
              <a:r>
                <a:rPr lang="ru-RU" sz="15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арши</a:t>
              </a:r>
              <a:r>
                <a:rPr lang="ru-RU" sz="15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5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урашиш</a:t>
              </a:r>
              <a:r>
                <a:rPr lang="ru-RU" sz="15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5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изимини</a:t>
              </a:r>
              <a:r>
                <a:rPr lang="ru-RU" sz="15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uz-Cyrl-UZ" sz="15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мониторинг</a:t>
              </a:r>
              <a:r>
                <a:rPr lang="en-US" sz="15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5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илиш</a:t>
              </a:r>
              <a:r>
                <a:rPr lang="ru-RU" sz="15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5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5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5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назорат</a:t>
              </a:r>
              <a:r>
                <a:rPr lang="ru-RU" sz="15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5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илишнинг</a:t>
              </a:r>
              <a:r>
                <a:rPr lang="ru-RU" sz="15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5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мақсади</a:t>
              </a:r>
              <a:r>
                <a:rPr lang="ru-RU" sz="15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5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5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5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натижалари</a:t>
              </a:r>
              <a:r>
                <a:rPr lang="ru-RU" sz="15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:</a:t>
              </a:r>
            </a:p>
          </p:txBody>
        </p:sp>
      </p:grpSp>
      <p:sp>
        <p:nvSpPr>
          <p:cNvPr id="68" name="object 15">
            <a:extLst>
              <a:ext uri="{FF2B5EF4-FFF2-40B4-BE49-F238E27FC236}">
                <a16:creationId xmlns:a16="http://schemas.microsoft.com/office/drawing/2014/main" id="{D4AC374A-B25A-40D1-8B28-36999EB3DE33}"/>
              </a:ext>
            </a:extLst>
          </p:cNvPr>
          <p:cNvSpPr txBox="1"/>
          <p:nvPr/>
        </p:nvSpPr>
        <p:spPr>
          <a:xfrm>
            <a:off x="892821" y="1852468"/>
            <a:ext cx="7989440" cy="3692958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  <a:spcAft>
                <a:spcPts val="1800"/>
              </a:spcAft>
            </a:pP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Давлат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рган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фаолияти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оррупқияг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урашиш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лаблар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ртиб-таомилларг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увофиқлиг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ражасини</a:t>
            </a:r>
            <a:r>
              <a:rPr lang="ru-RU" sz="16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баҳолаш</a:t>
            </a:r>
            <a:endParaRPr lang="ru-RU" sz="1600" b="1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10319">
              <a:spcBef>
                <a:spcPts val="77"/>
              </a:spcBef>
              <a:spcAft>
                <a:spcPts val="1800"/>
              </a:spcAft>
            </a:pP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Коррупция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ошқ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уқуқбузарликлар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профилактикас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, коррупцияга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урашиш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чора-тадбирлари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етарлилиг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коррупцияга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урашиш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ртиб-таомиллари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амарадорлигин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учайтириш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аҳолаш</a:t>
            </a:r>
            <a:endParaRPr lang="ru-RU"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10319">
              <a:spcBef>
                <a:spcPts val="77"/>
              </a:spcBef>
              <a:spcAft>
                <a:spcPts val="1800"/>
              </a:spcAft>
            </a:pP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узилиш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абабларин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ниқлаш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амчиликларн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артараф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этиш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рқал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b="1" spc="-4" dirty="0">
                <a:solidFill>
                  <a:schemeClr val="tx2"/>
                </a:solidFill>
                <a:cs typeface="Arial" panose="020B0604020202020204" pitchFamily="34" charset="0"/>
              </a:rPr>
              <a:t>коррупцияга </a:t>
            </a:r>
            <a:r>
              <a:rPr lang="ru-RU" sz="16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6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курашиш</a:t>
            </a:r>
            <a:r>
              <a:rPr lang="ru-RU" sz="16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тизимини</a:t>
            </a:r>
            <a:r>
              <a:rPr lang="ru-RU" sz="16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комиллаштириш</a:t>
            </a:r>
            <a:endParaRPr lang="ru-RU" sz="1600" b="1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10319">
              <a:spcBef>
                <a:spcPts val="77"/>
              </a:spcBef>
              <a:spcAft>
                <a:spcPts val="1800"/>
              </a:spcAft>
            </a:pP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Коррупция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авфин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амайтиришг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атилган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влат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ргани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ртиб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-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оидалариг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риоя</a:t>
            </a:r>
            <a:r>
              <a:rPr lang="ru-RU" sz="16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қилмасликни</a:t>
            </a:r>
            <a:r>
              <a:rPr lang="ru-RU" sz="16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аниқлаш</a:t>
            </a:r>
            <a:endParaRPr lang="ru-RU" sz="1600" b="1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10319">
              <a:spcBef>
                <a:spcPts val="77"/>
              </a:spcBef>
              <a:spcAft>
                <a:spcPts val="1800"/>
              </a:spcAft>
            </a:pP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Коррупцияга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урашиш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изими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олатин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uz-Cyrl-UZ" sz="1600" spc="-4" dirty="0">
                <a:solidFill>
                  <a:schemeClr val="tx2"/>
                </a:solidFill>
                <a:cs typeface="Arial" panose="020B0604020202020204" pitchFamily="34" charset="0"/>
              </a:rPr>
              <a:t>мониторинг</a:t>
            </a:r>
            <a:r>
              <a:rPr lang="en-US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илиш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атижалар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ўғрисид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раҳбариятни</a:t>
            </a:r>
            <a:r>
              <a:rPr lang="ru-RU" sz="16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хабардор</a:t>
            </a:r>
            <a:r>
              <a:rPr lang="ru-RU" sz="16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қилиш</a:t>
            </a:r>
            <a:r>
              <a:rPr lang="ru-RU" sz="16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исобот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ериш</a:t>
            </a:r>
            <a:endParaRPr lang="ru-RU"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grpSp>
        <p:nvGrpSpPr>
          <p:cNvPr id="69" name="Group 1589">
            <a:extLst>
              <a:ext uri="{FF2B5EF4-FFF2-40B4-BE49-F238E27FC236}">
                <a16:creationId xmlns:a16="http://schemas.microsoft.com/office/drawing/2014/main" id="{6B77E518-2872-4BEB-A8E0-57B7DB27414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150" y="1862806"/>
            <a:ext cx="378530" cy="380706"/>
            <a:chOff x="2384" y="844"/>
            <a:chExt cx="174" cy="175"/>
          </a:xfrm>
          <a:solidFill>
            <a:srgbClr val="1BD7D3"/>
          </a:solidFill>
        </p:grpSpPr>
        <p:sp>
          <p:nvSpPr>
            <p:cNvPr id="70" name="Freeform 1590">
              <a:extLst>
                <a:ext uri="{FF2B5EF4-FFF2-40B4-BE49-F238E27FC236}">
                  <a16:creationId xmlns:a16="http://schemas.microsoft.com/office/drawing/2014/main" id="{32DD3370-CDF6-4105-AAD1-B3D6D79C55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591">
              <a:extLst>
                <a:ext uri="{FF2B5EF4-FFF2-40B4-BE49-F238E27FC236}">
                  <a16:creationId xmlns:a16="http://schemas.microsoft.com/office/drawing/2014/main" id="{8FD388EB-F730-478B-867F-6B2E2AD416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592">
              <a:extLst>
                <a:ext uri="{FF2B5EF4-FFF2-40B4-BE49-F238E27FC236}">
                  <a16:creationId xmlns:a16="http://schemas.microsoft.com/office/drawing/2014/main" id="{7760868B-4FC6-401B-BD76-663F9B3036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3" name="Group 1589">
            <a:extLst>
              <a:ext uri="{FF2B5EF4-FFF2-40B4-BE49-F238E27FC236}">
                <a16:creationId xmlns:a16="http://schemas.microsoft.com/office/drawing/2014/main" id="{27A041F2-1CB7-4A75-9C92-E65D0184A95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150" y="2599406"/>
            <a:ext cx="378530" cy="380706"/>
            <a:chOff x="2384" y="844"/>
            <a:chExt cx="174" cy="175"/>
          </a:xfrm>
          <a:solidFill>
            <a:srgbClr val="1BD7D3"/>
          </a:solidFill>
        </p:grpSpPr>
        <p:sp>
          <p:nvSpPr>
            <p:cNvPr id="74" name="Freeform 1590">
              <a:extLst>
                <a:ext uri="{FF2B5EF4-FFF2-40B4-BE49-F238E27FC236}">
                  <a16:creationId xmlns:a16="http://schemas.microsoft.com/office/drawing/2014/main" id="{A3D661F2-CFE4-4C9F-8BAB-ACB3472DFF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1591">
              <a:extLst>
                <a:ext uri="{FF2B5EF4-FFF2-40B4-BE49-F238E27FC236}">
                  <a16:creationId xmlns:a16="http://schemas.microsoft.com/office/drawing/2014/main" id="{57DFFE78-4D9F-4763-B3C5-58E0DD5487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592">
              <a:extLst>
                <a:ext uri="{FF2B5EF4-FFF2-40B4-BE49-F238E27FC236}">
                  <a16:creationId xmlns:a16="http://schemas.microsoft.com/office/drawing/2014/main" id="{40F2826A-1277-4991-A956-D784A689D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7" name="Group 1589">
            <a:extLst>
              <a:ext uri="{FF2B5EF4-FFF2-40B4-BE49-F238E27FC236}">
                <a16:creationId xmlns:a16="http://schemas.microsoft.com/office/drawing/2014/main" id="{299AE63D-D1C6-416A-BD78-5BC658A526B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150" y="3600437"/>
            <a:ext cx="378530" cy="380706"/>
            <a:chOff x="2384" y="844"/>
            <a:chExt cx="174" cy="175"/>
          </a:xfrm>
          <a:solidFill>
            <a:srgbClr val="1BD7D3"/>
          </a:solidFill>
        </p:grpSpPr>
        <p:sp>
          <p:nvSpPr>
            <p:cNvPr id="78" name="Freeform 1590">
              <a:extLst>
                <a:ext uri="{FF2B5EF4-FFF2-40B4-BE49-F238E27FC236}">
                  <a16:creationId xmlns:a16="http://schemas.microsoft.com/office/drawing/2014/main" id="{7F01DCEB-209D-41F8-B0B8-E0868E58EA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1591">
              <a:extLst>
                <a:ext uri="{FF2B5EF4-FFF2-40B4-BE49-F238E27FC236}">
                  <a16:creationId xmlns:a16="http://schemas.microsoft.com/office/drawing/2014/main" id="{342D760B-AB77-46A6-A796-E2246C9380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592">
              <a:extLst>
                <a:ext uri="{FF2B5EF4-FFF2-40B4-BE49-F238E27FC236}">
                  <a16:creationId xmlns:a16="http://schemas.microsoft.com/office/drawing/2014/main" id="{1C689DB6-31B2-4A01-ABE1-E59121DCA7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1" name="Group 1589">
            <a:extLst>
              <a:ext uri="{FF2B5EF4-FFF2-40B4-BE49-F238E27FC236}">
                <a16:creationId xmlns:a16="http://schemas.microsoft.com/office/drawing/2014/main" id="{738BFA2C-91A6-48E1-B4E7-A9DD3FFF304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150" y="4324337"/>
            <a:ext cx="378530" cy="380706"/>
            <a:chOff x="2384" y="844"/>
            <a:chExt cx="174" cy="175"/>
          </a:xfrm>
          <a:solidFill>
            <a:srgbClr val="1BD7D3"/>
          </a:solidFill>
        </p:grpSpPr>
        <p:sp>
          <p:nvSpPr>
            <p:cNvPr id="82" name="Freeform 1590">
              <a:extLst>
                <a:ext uri="{FF2B5EF4-FFF2-40B4-BE49-F238E27FC236}">
                  <a16:creationId xmlns:a16="http://schemas.microsoft.com/office/drawing/2014/main" id="{BD1E6F87-56DA-4DC8-9FE6-DC3DFDA194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591">
              <a:extLst>
                <a:ext uri="{FF2B5EF4-FFF2-40B4-BE49-F238E27FC236}">
                  <a16:creationId xmlns:a16="http://schemas.microsoft.com/office/drawing/2014/main" id="{E0BA995D-B88D-4C52-B7E7-1342C1DF70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1592">
              <a:extLst>
                <a:ext uri="{FF2B5EF4-FFF2-40B4-BE49-F238E27FC236}">
                  <a16:creationId xmlns:a16="http://schemas.microsoft.com/office/drawing/2014/main" id="{E6A29194-BFE0-45D5-B56B-56FC30A42D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5" name="Group 1589">
            <a:extLst>
              <a:ext uri="{FF2B5EF4-FFF2-40B4-BE49-F238E27FC236}">
                <a16:creationId xmlns:a16="http://schemas.microsoft.com/office/drawing/2014/main" id="{A3210A4C-80E7-4198-9D99-C170C659D7A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150" y="5016134"/>
            <a:ext cx="378530" cy="380706"/>
            <a:chOff x="2384" y="844"/>
            <a:chExt cx="174" cy="175"/>
          </a:xfrm>
          <a:solidFill>
            <a:srgbClr val="1BD7D3"/>
          </a:solidFill>
        </p:grpSpPr>
        <p:sp>
          <p:nvSpPr>
            <p:cNvPr id="86" name="Freeform 1590">
              <a:extLst>
                <a:ext uri="{FF2B5EF4-FFF2-40B4-BE49-F238E27FC236}">
                  <a16:creationId xmlns:a16="http://schemas.microsoft.com/office/drawing/2014/main" id="{A6B6F06B-5043-4EDF-92A9-F95F6DB156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1591">
              <a:extLst>
                <a:ext uri="{FF2B5EF4-FFF2-40B4-BE49-F238E27FC236}">
                  <a16:creationId xmlns:a16="http://schemas.microsoft.com/office/drawing/2014/main" id="{6740E910-3E5F-44EF-AD62-967AB6D96B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1592">
              <a:extLst>
                <a:ext uri="{FF2B5EF4-FFF2-40B4-BE49-F238E27FC236}">
                  <a16:creationId xmlns:a16="http://schemas.microsoft.com/office/drawing/2014/main" id="{B4D6FF9A-2F47-40DE-A655-E3910BEBE0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994614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52C99026-A627-4CBE-A70C-70EAA055C3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52C99026-A627-4CBE-A70C-70EAA055C3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ject 39">
            <a:extLst>
              <a:ext uri="{FF2B5EF4-FFF2-40B4-BE49-F238E27FC236}">
                <a16:creationId xmlns:a16="http://schemas.microsoft.com/office/drawing/2014/main" id="{40D22E5C-E3F1-4550-8FBB-29858D779188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Амалий </a:t>
            </a:r>
            <a:r>
              <a:rPr lang="ru-RU" sz="2400" dirty="0" err="1">
                <a:latin typeface="Arial" panose="020B0604020202020204" pitchFamily="34" charset="0"/>
                <a:cs typeface="Arial" panose="020B0604020202020204" pitchFamily="34" charset="0"/>
              </a:rPr>
              <a:t>вазифа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E7DD3E5-1493-4ED5-9404-9B69EF10413E}"/>
              </a:ext>
            </a:extLst>
          </p:cNvPr>
          <p:cNvGrpSpPr/>
          <p:nvPr/>
        </p:nvGrpSpPr>
        <p:grpSpPr>
          <a:xfrm>
            <a:off x="-1" y="1282700"/>
            <a:ext cx="10185401" cy="1834100"/>
            <a:chOff x="-1" y="1282700"/>
            <a:chExt cx="9575801" cy="1292200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0F98E024-D7E9-4E80-B7EC-6C7C5A4D8A90}"/>
                </a:ext>
              </a:extLst>
            </p:cNvPr>
            <p:cNvGrpSpPr/>
            <p:nvPr/>
          </p:nvGrpSpPr>
          <p:grpSpPr>
            <a:xfrm>
              <a:off x="-1" y="1282700"/>
              <a:ext cx="9575801" cy="1292200"/>
              <a:chOff x="-1" y="1138806"/>
              <a:chExt cx="9575801" cy="1463040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4FF9C368-9E14-46CC-9AEC-88BD4AFA9D85}"/>
                  </a:ext>
                </a:extLst>
              </p:cNvPr>
              <p:cNvSpPr/>
              <p:nvPr/>
            </p:nvSpPr>
            <p:spPr>
              <a:xfrm>
                <a:off x="-1" y="1138806"/>
                <a:ext cx="802433" cy="1463040"/>
              </a:xfrm>
              <a:prstGeom prst="rect">
                <a:avLst/>
              </a:prstGeom>
              <a:solidFill>
                <a:srgbClr val="CDF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en-US" sz="900" dirty="0" err="1">
                  <a:solidFill>
                    <a:schemeClr val="bg1"/>
                  </a:solidFill>
                </a:endParaRPr>
              </a:p>
            </p:txBody>
          </p:sp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2795A1B7-FC02-4C41-BDFA-D33B9D375BD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lum bright="70000" contrast="-70000"/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artisticBlur radius="3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27" t="25090" r="277" b="26127"/>
              <a:stretch/>
            </p:blipFill>
            <p:spPr>
              <a:xfrm>
                <a:off x="0" y="1138806"/>
                <a:ext cx="9575800" cy="1458253"/>
              </a:xfrm>
              <a:prstGeom prst="roundRect">
                <a:avLst>
                  <a:gd name="adj" fmla="val 50000"/>
                </a:avLst>
              </a:prstGeom>
            </p:spPr>
          </p:pic>
        </p:grp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E6E1A01-2517-40D3-B528-D01EC66114D0}"/>
                </a:ext>
              </a:extLst>
            </p:cNvPr>
            <p:cNvSpPr txBox="1"/>
            <p:nvPr/>
          </p:nvSpPr>
          <p:spPr>
            <a:xfrm>
              <a:off x="416561" y="1364362"/>
              <a:ext cx="8562339" cy="1124648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4-блокда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коррупциявий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хавф-хатарларн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баҳолаш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мавзусин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ўрганиш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натижалар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асосид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тузилган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коррупция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хатарлар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харитасиг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эътибор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қаратиб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,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шакл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бўйич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"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харидлар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"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в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"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лицензиялаш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/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рухсат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бериш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фаолият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"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жараёнлар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uz-Cyrl-UZ" sz="1600" b="1" dirty="0">
                  <a:solidFill>
                    <a:schemeClr val="bg2">
                      <a:lumMod val="25000"/>
                    </a:schemeClr>
                  </a:solidFill>
                </a:rPr>
                <a:t>мониторинги</a:t>
              </a:r>
              <a:r>
                <a:rPr lang="en-US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режасин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тузинг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.  </a:t>
              </a:r>
              <a:b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</a:br>
              <a:b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</a:b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Тарқатмаг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қаранг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.</a:t>
              </a:r>
              <a:endParaRPr lang="ru-RU" sz="1600" dirty="0">
                <a:solidFill>
                  <a:schemeClr val="tx2"/>
                </a:solidFill>
              </a:endParaRPr>
            </a:p>
          </p:txBody>
        </p:sp>
      </p:grpSp>
      <p:pic>
        <p:nvPicPr>
          <p:cNvPr id="789" name="Picture 788">
            <a:extLst>
              <a:ext uri="{FF2B5EF4-FFF2-40B4-BE49-F238E27FC236}">
                <a16:creationId xmlns:a16="http://schemas.microsoft.com/office/drawing/2014/main" id="{1D4B40D4-2CD7-41FE-9A5A-178B55655B3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280492" y="1282700"/>
            <a:ext cx="1468428" cy="1842462"/>
          </a:xfrm>
          <a:prstGeom prst="rect">
            <a:avLst/>
          </a:prstGeom>
        </p:spPr>
      </p:pic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5A02115C-05A2-4148-A5EB-409C5A6633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4669888"/>
              </p:ext>
            </p:extLst>
          </p:nvPr>
        </p:nvGraphicFramePr>
        <p:xfrm>
          <a:off x="447700" y="3298972"/>
          <a:ext cx="11285646" cy="174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6766">
                  <a:extLst>
                    <a:ext uri="{9D8B030D-6E8A-4147-A177-3AD203B41FA5}">
                      <a16:colId xmlns:a16="http://schemas.microsoft.com/office/drawing/2014/main" val="2740428152"/>
                    </a:ext>
                  </a:extLst>
                </a:gridCol>
                <a:gridCol w="2138880">
                  <a:extLst>
                    <a:ext uri="{9D8B030D-6E8A-4147-A177-3AD203B41FA5}">
                      <a16:colId xmlns:a16="http://schemas.microsoft.com/office/drawing/2014/main" val="641663776"/>
                    </a:ext>
                  </a:extLst>
                </a:gridCol>
                <a:gridCol w="2736000">
                  <a:extLst>
                    <a:ext uri="{9D8B030D-6E8A-4147-A177-3AD203B41FA5}">
                      <a16:colId xmlns:a16="http://schemas.microsoft.com/office/drawing/2014/main" val="1264930617"/>
                    </a:ext>
                  </a:extLst>
                </a:gridCol>
                <a:gridCol w="2448000">
                  <a:extLst>
                    <a:ext uri="{9D8B030D-6E8A-4147-A177-3AD203B41FA5}">
                      <a16:colId xmlns:a16="http://schemas.microsoft.com/office/drawing/2014/main" val="339556473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1373625952"/>
                    </a:ext>
                  </a:extLst>
                </a:gridCol>
                <a:gridCol w="2412000">
                  <a:extLst>
                    <a:ext uri="{9D8B030D-6E8A-4147-A177-3AD203B41FA5}">
                      <a16:colId xmlns:a16="http://schemas.microsoft.com/office/drawing/2014/main" val="52109988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en-US" sz="1200" dirty="0">
                        <a:solidFill>
                          <a:schemeClr val="bg2">
                            <a:lumMod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влат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ганининг</a:t>
                      </a: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ҳлил</a:t>
                      </a: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илинаётган</a:t>
                      </a: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ункциялари</a:t>
                      </a:r>
                      <a:endParaRPr lang="en-US" sz="1200" b="1" dirty="0">
                        <a:solidFill>
                          <a:schemeClr val="bg2">
                            <a:lumMod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ниторинг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мети</a:t>
                      </a:r>
                      <a:endParaRPr lang="ru-RU" sz="1200" b="1" dirty="0">
                        <a:solidFill>
                          <a:schemeClr val="bg2">
                            <a:lumMod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нлаб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лиш</a:t>
                      </a: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ун</a:t>
                      </a: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рур</a:t>
                      </a: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ўлган</a:t>
                      </a: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ълумотлар</a:t>
                      </a:r>
                      <a:endParaRPr lang="ru-RU" sz="1200" b="1" dirty="0">
                        <a:solidFill>
                          <a:schemeClr val="bg2">
                            <a:lumMod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кширув</a:t>
                      </a: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ври</a:t>
                      </a:r>
                      <a:endParaRPr lang="ru-RU" sz="1200" b="1" dirty="0">
                        <a:solidFill>
                          <a:schemeClr val="bg2">
                            <a:lumMod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кшириш</a:t>
                      </a: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ули</a:t>
                      </a:r>
                      <a:endParaRPr lang="ru-RU" sz="1200" b="1" dirty="0">
                        <a:solidFill>
                          <a:schemeClr val="bg2">
                            <a:lumMod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9134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аридлар</a:t>
                      </a:r>
                      <a:endParaRPr lang="en-US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+mj-lt"/>
                        <a:buNone/>
                      </a:pPr>
                      <a:endParaRPr lang="ru-RU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endParaRPr lang="en-US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endParaRPr lang="ru-RU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1993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цензияла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хсат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р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олияти</a:t>
                      </a:r>
                      <a:endParaRPr lang="en-US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+mj-lt"/>
                        <a:buNone/>
                      </a:pPr>
                      <a:endParaRPr lang="ru-RU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endParaRPr lang="en-US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endParaRPr lang="ru-RU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43483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48915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3128339-123A-4332-A3A8-57FCDEC622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7138072"/>
              </p:ext>
            </p:extLst>
          </p:nvPr>
        </p:nvGraphicFramePr>
        <p:xfrm>
          <a:off x="295300" y="619125"/>
          <a:ext cx="11285646" cy="6149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6766">
                  <a:extLst>
                    <a:ext uri="{9D8B030D-6E8A-4147-A177-3AD203B41FA5}">
                      <a16:colId xmlns:a16="http://schemas.microsoft.com/office/drawing/2014/main" val="2740428152"/>
                    </a:ext>
                  </a:extLst>
                </a:gridCol>
                <a:gridCol w="2138880">
                  <a:extLst>
                    <a:ext uri="{9D8B030D-6E8A-4147-A177-3AD203B41FA5}">
                      <a16:colId xmlns:a16="http://schemas.microsoft.com/office/drawing/2014/main" val="641663776"/>
                    </a:ext>
                  </a:extLst>
                </a:gridCol>
                <a:gridCol w="2736000">
                  <a:extLst>
                    <a:ext uri="{9D8B030D-6E8A-4147-A177-3AD203B41FA5}">
                      <a16:colId xmlns:a16="http://schemas.microsoft.com/office/drawing/2014/main" val="1264930617"/>
                    </a:ext>
                  </a:extLst>
                </a:gridCol>
                <a:gridCol w="2448000">
                  <a:extLst>
                    <a:ext uri="{9D8B030D-6E8A-4147-A177-3AD203B41FA5}">
                      <a16:colId xmlns:a16="http://schemas.microsoft.com/office/drawing/2014/main" val="339556473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1373625952"/>
                    </a:ext>
                  </a:extLst>
                </a:gridCol>
                <a:gridCol w="2412000">
                  <a:extLst>
                    <a:ext uri="{9D8B030D-6E8A-4147-A177-3AD203B41FA5}">
                      <a16:colId xmlns:a16="http://schemas.microsoft.com/office/drawing/2014/main" val="52109988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en-US" sz="1200" dirty="0">
                        <a:solidFill>
                          <a:schemeClr val="bg2">
                            <a:lumMod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влат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ганининг</a:t>
                      </a: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ҳлил</a:t>
                      </a: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илинаётган</a:t>
                      </a: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ункциялари</a:t>
                      </a:r>
                      <a:endParaRPr lang="en-US" sz="1200" b="1" dirty="0">
                        <a:solidFill>
                          <a:schemeClr val="bg2">
                            <a:lumMod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ниторинг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мети</a:t>
                      </a:r>
                      <a:endParaRPr lang="ru-RU" sz="1200" b="1" dirty="0">
                        <a:solidFill>
                          <a:schemeClr val="bg2">
                            <a:lumMod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нлаб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лиш</a:t>
                      </a: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ун</a:t>
                      </a: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рур</a:t>
                      </a: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ўлган</a:t>
                      </a: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ълумотлар</a:t>
                      </a:r>
                      <a:endParaRPr lang="ru-RU" sz="1200" b="1" dirty="0">
                        <a:solidFill>
                          <a:schemeClr val="bg2">
                            <a:lumMod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ҳлил</a:t>
                      </a: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илинаётган</a:t>
                      </a: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вр</a:t>
                      </a:r>
                      <a:endParaRPr lang="ru-RU" sz="1200" b="1" dirty="0">
                        <a:solidFill>
                          <a:schemeClr val="bg2">
                            <a:lumMod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кшириш</a:t>
                      </a:r>
                      <a:r>
                        <a:rPr lang="ru-RU" sz="12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ули</a:t>
                      </a:r>
                      <a:endParaRPr lang="ru-RU" sz="1200" b="1" dirty="0">
                        <a:solidFill>
                          <a:schemeClr val="bg2">
                            <a:lumMod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9134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аридлар</a:t>
                      </a:r>
                      <a:endParaRPr lang="en-US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рматив-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уқуқий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ужжат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чки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ужжатларг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увофиқлиг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  <a:p>
                      <a:pPr marL="177800" indent="-1778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Ўз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«Давлат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аридлар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ўғрисида»г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21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йил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2 апрель 684</a:t>
                      </a:r>
                      <a:r>
                        <a:rPr lang="en-US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н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нуни</a:t>
                      </a:r>
                      <a:endParaRPr lang="ru-RU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7800" indent="-1778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трагентларн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кшир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ўйич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егламент</a:t>
                      </a:r>
                    </a:p>
                    <a:p>
                      <a:pPr marL="177800" indent="-1778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арид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ил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ртиб-таомилларин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ўтказ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идалари</a:t>
                      </a:r>
                      <a:endParaRPr lang="ru-RU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ртнома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естри</a:t>
                      </a:r>
                      <a:endParaRPr lang="ru-RU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7800" indent="-1778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арид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естр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Давлат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аридлар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хсус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хборот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рталид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юклаб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лиш</a:t>
                      </a:r>
                      <a:endParaRPr lang="ru-RU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7800" indent="-1778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ўлов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пшириқномалар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естри</a:t>
                      </a:r>
                      <a:endParaRPr lang="en-US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йил</a:t>
                      </a:r>
                      <a:endParaRPr lang="en-US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ҳбат</a:t>
                      </a:r>
                      <a:endParaRPr lang="ru-RU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7800" indent="-1778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исоб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ълумотларин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ҳлил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ил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нов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анзакцияларин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нлаб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лиш</a:t>
                      </a:r>
                      <a:endParaRPr lang="ru-RU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7800" indent="-1778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нланг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анзакция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у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ирламч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сдиқловч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ужжатларн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ҳлил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илиш</a:t>
                      </a:r>
                      <a:endParaRPr lang="ru-RU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1993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цензияла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хсат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р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олияти</a:t>
                      </a:r>
                      <a:endParaRPr lang="en-US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рматив-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уқуқий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ужжат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чки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ужжатларг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увофиқлиги</a:t>
                      </a:r>
                      <a:r>
                        <a:rPr lang="ru-RU" sz="1200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:</a:t>
                      </a:r>
                    </a:p>
                    <a:p>
                      <a:pPr marL="177800" indent="-1778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kern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ЎзР</a:t>
                      </a:r>
                      <a:r>
                        <a:rPr lang="ru-RU" sz="1200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«</a:t>
                      </a:r>
                      <a:r>
                        <a:rPr lang="ru-RU" sz="1200" kern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Лицензиялаш</a:t>
                      </a:r>
                      <a:r>
                        <a:rPr lang="ru-RU" sz="1200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200" kern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уҳсат</a:t>
                      </a:r>
                      <a:r>
                        <a:rPr lang="ru-RU" sz="1200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риш</a:t>
                      </a:r>
                      <a:r>
                        <a:rPr lang="ru-RU" sz="1200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а</a:t>
                      </a:r>
                      <a:r>
                        <a:rPr lang="ru-RU" sz="1200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ҳабардор</a:t>
                      </a:r>
                      <a:r>
                        <a:rPr lang="ru-RU" sz="1200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илиш</a:t>
                      </a:r>
                      <a:r>
                        <a:rPr lang="ru-RU" sz="1200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ртиб</a:t>
                      </a:r>
                      <a:r>
                        <a:rPr lang="ru-RU" sz="1200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</a:t>
                      </a:r>
                      <a:r>
                        <a:rPr lang="ru-RU" sz="1200" kern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омиллари</a:t>
                      </a:r>
                      <a:r>
                        <a:rPr lang="ru-RU" sz="1200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ўғрисида»ги</a:t>
                      </a:r>
                      <a:r>
                        <a:rPr lang="ru-RU" sz="1200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021 </a:t>
                      </a:r>
                      <a:r>
                        <a:rPr lang="ru-RU" sz="1200" kern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йил</a:t>
                      </a:r>
                      <a:r>
                        <a:rPr lang="ru-RU" sz="1200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14 июль 701</a:t>
                      </a: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r>
                        <a:rPr lang="uz-Cyrl-UZ" sz="1200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он</a:t>
                      </a:r>
                      <a:r>
                        <a:rPr lang="ru-RU" sz="1200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онуни</a:t>
                      </a:r>
                      <a:endParaRPr lang="ru-RU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ҳлил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илинаётг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в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у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рилг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цензия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хсатнома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ўйхати</a:t>
                      </a:r>
                      <a:endParaRPr lang="ru-RU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7800" indent="-1778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ҳлил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илинаётг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в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у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лицензия /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хсатном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л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у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қдим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тилг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иза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ўйхати</a:t>
                      </a:r>
                      <a:endParaRPr lang="en-US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йил</a:t>
                      </a:r>
                      <a:endParaRPr lang="en-US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ҳбат</a:t>
                      </a:r>
                      <a:endParaRPr lang="ru-RU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7800" indent="-1778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uz-Cyrl-UZ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об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ълумотларин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ҳлил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ил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ҳлил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илинаётг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в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у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рилг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цензияларн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нла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цензия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рилмаг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изаларн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нла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177800" indent="-1778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нланг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цензия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хсатнома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ўйич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ужжат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ҳлил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шу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умлад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чки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улоса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рор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унингдек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изачиларг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қдим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тилг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ужжат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72000" marR="72000" marT="108000" marB="10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4348345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57D580D-586F-49F9-A849-EA433929B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455" y="184150"/>
            <a:ext cx="11317089" cy="434975"/>
          </a:xfrm>
        </p:spPr>
        <p:txBody>
          <a:bodyPr/>
          <a:lstStyle/>
          <a:p>
            <a:r>
              <a:rPr lang="ru-RU" dirty="0"/>
              <a:t>Амалий </a:t>
            </a:r>
            <a:r>
              <a:rPr lang="ru-RU" dirty="0" err="1"/>
              <a:t>вазиф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24599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BCB6E7-0715-4606-9F34-E4EDF91DAB9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err="1"/>
              <a:t>Саволлар</a:t>
            </a:r>
            <a:r>
              <a:rPr lang="ru-RU" dirty="0"/>
              <a:t>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167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CA3DED-7FD5-45C9-A128-78BAA75FB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</a:t>
            </a:r>
            <a:r>
              <a:rPr lang="ru-RU" dirty="0"/>
              <a:t> </a:t>
            </a:r>
            <a:r>
              <a:rPr lang="ru-RU" dirty="0" err="1"/>
              <a:t>тизимини</a:t>
            </a:r>
            <a:r>
              <a:rPr lang="ru-RU" dirty="0"/>
              <a:t> </a:t>
            </a:r>
            <a:r>
              <a:rPr lang="uz-Cyrl-UZ" dirty="0"/>
              <a:t>мониторинг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назорат</a:t>
            </a:r>
            <a:r>
              <a:rPr lang="ru-RU" dirty="0"/>
              <a:t> </a:t>
            </a:r>
            <a:r>
              <a:rPr lang="ru-RU" dirty="0" err="1"/>
              <a:t>қилиш</a:t>
            </a:r>
            <a:r>
              <a:rPr lang="ru-RU" dirty="0"/>
              <a:t> ҳуқуқбузарликларни </a:t>
            </a:r>
            <a:r>
              <a:rPr lang="ru-RU" dirty="0" err="1"/>
              <a:t>аниқлаш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олдини</a:t>
            </a:r>
            <a:r>
              <a:rPr lang="ru-RU" dirty="0"/>
              <a:t> </a:t>
            </a:r>
            <a:r>
              <a:rPr lang="ru-RU" dirty="0" err="1"/>
              <a:t>олиш</a:t>
            </a:r>
            <a:r>
              <a:rPr lang="ru-RU" dirty="0"/>
              <a:t> </a:t>
            </a:r>
            <a:r>
              <a:rPr lang="ru-RU" dirty="0" err="1"/>
              <a:t>воситасидир</a:t>
            </a:r>
            <a:r>
              <a:rPr lang="ru-RU" dirty="0"/>
              <a:t> (1/2)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74D736-A83B-488D-8025-BFFCD8C37D28}"/>
              </a:ext>
            </a:extLst>
          </p:cNvPr>
          <p:cNvSpPr/>
          <p:nvPr/>
        </p:nvSpPr>
        <p:spPr>
          <a:xfrm>
            <a:off x="225001" y="6606932"/>
            <a:ext cx="687562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000" i="1" dirty="0">
                <a:solidFill>
                  <a:schemeClr val="bg1">
                    <a:lumMod val="50000"/>
                  </a:schemeClr>
                </a:solidFill>
              </a:rPr>
              <a:t>Источник: </a:t>
            </a:r>
            <a:r>
              <a:rPr lang="en-US" sz="1000" i="1" dirty="0">
                <a:solidFill>
                  <a:schemeClr val="bg1">
                    <a:lumMod val="50000"/>
                  </a:schemeClr>
                </a:solidFill>
              </a:rPr>
              <a:t>Occupational Fraud 2022: A Report to the Nations, 2022, ACFE </a:t>
            </a:r>
            <a:endParaRPr lang="ru-RU" sz="1000" i="1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79" name="Chart 78">
            <a:extLst>
              <a:ext uri="{FF2B5EF4-FFF2-40B4-BE49-F238E27FC236}">
                <a16:creationId xmlns:a16="http://schemas.microsoft.com/office/drawing/2014/main" id="{8C181B5D-7200-40AD-B8BC-C7CF4A8A77C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91801947"/>
              </p:ext>
            </p:extLst>
          </p:nvPr>
        </p:nvGraphicFramePr>
        <p:xfrm>
          <a:off x="404225" y="3564612"/>
          <a:ext cx="6581484" cy="2709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CCC87C8-3881-4087-A5F0-D7899BA7BD50}"/>
              </a:ext>
            </a:extLst>
          </p:cNvPr>
          <p:cNvSpPr/>
          <p:nvPr/>
        </p:nvSpPr>
        <p:spPr>
          <a:xfrm>
            <a:off x="438150" y="2902092"/>
            <a:ext cx="5225967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base"/>
            <a:r>
              <a:rPr lang="ru-RU" b="1" dirty="0">
                <a:solidFill>
                  <a:srgbClr val="004BD2"/>
                </a:solidFill>
              </a:rPr>
              <a:t>ҳуқуқбузарликларни </a:t>
            </a:r>
            <a:r>
              <a:rPr lang="ru-RU" b="1" dirty="0" err="1">
                <a:solidFill>
                  <a:srgbClr val="004BD2"/>
                </a:solidFill>
              </a:rPr>
              <a:t>аниқлашнинг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мумий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суллари</a:t>
            </a:r>
            <a:endParaRPr lang="ru-RU" b="1" dirty="0">
              <a:solidFill>
                <a:srgbClr val="004BD2"/>
              </a:solidFill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EBA72A3A-5BC0-414D-A9F0-5249CFDE5CBC}"/>
              </a:ext>
            </a:extLst>
          </p:cNvPr>
          <p:cNvSpPr/>
          <p:nvPr/>
        </p:nvSpPr>
        <p:spPr>
          <a:xfrm>
            <a:off x="7272321" y="4492175"/>
            <a:ext cx="4468740" cy="399086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 err="1">
                <a:solidFill>
                  <a:schemeClr val="tx2"/>
                </a:solidFill>
              </a:rPr>
              <a:t>Давомийлик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ойларда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endParaRPr lang="en-US" sz="1200" b="1" dirty="0">
              <a:solidFill>
                <a:schemeClr val="tx2"/>
              </a:solidFill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B56EA7F7-332E-4E9F-A340-679F40FC48C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074" t="12638"/>
          <a:stretch/>
        </p:blipFill>
        <p:spPr>
          <a:xfrm>
            <a:off x="8961809" y="2949120"/>
            <a:ext cx="2730077" cy="1510152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21AA40BF-F508-4129-9E4A-40A4B437A1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3863"/>
          <a:stretch/>
        </p:blipFill>
        <p:spPr>
          <a:xfrm>
            <a:off x="8973946" y="4951241"/>
            <a:ext cx="2779903" cy="1356274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37684CFB-A739-42B9-AA2D-CB59E0575961}"/>
              </a:ext>
            </a:extLst>
          </p:cNvPr>
          <p:cNvSpPr txBox="1"/>
          <p:nvPr/>
        </p:nvSpPr>
        <p:spPr>
          <a:xfrm>
            <a:off x="9060468" y="4545952"/>
            <a:ext cx="36184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&lt;</a:t>
            </a:r>
            <a:r>
              <a:rPr lang="ru-RU" sz="800" dirty="0">
                <a:solidFill>
                  <a:schemeClr val="tx2"/>
                </a:solidFill>
              </a:rPr>
              <a:t>6</a:t>
            </a:r>
            <a:endParaRPr lang="en-US" sz="800" dirty="0">
              <a:solidFill>
                <a:schemeClr val="tx2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D6FD42B-51DB-4ADF-BFD4-08083E5FB90A}"/>
              </a:ext>
            </a:extLst>
          </p:cNvPr>
          <p:cNvSpPr txBox="1"/>
          <p:nvPr/>
        </p:nvSpPr>
        <p:spPr>
          <a:xfrm>
            <a:off x="9341841" y="4545476"/>
            <a:ext cx="4912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>
                <a:solidFill>
                  <a:schemeClr val="tx2"/>
                </a:solidFill>
              </a:rPr>
              <a:t>7-12</a:t>
            </a:r>
            <a:endParaRPr lang="en-US" sz="800" dirty="0">
              <a:solidFill>
                <a:schemeClr val="tx2"/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6306E48-0963-4F01-8CFB-44BE787FB809}"/>
              </a:ext>
            </a:extLst>
          </p:cNvPr>
          <p:cNvSpPr txBox="1"/>
          <p:nvPr/>
        </p:nvSpPr>
        <p:spPr>
          <a:xfrm>
            <a:off x="9621080" y="4548855"/>
            <a:ext cx="4737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>
                <a:solidFill>
                  <a:schemeClr val="tx2"/>
                </a:solidFill>
              </a:rPr>
              <a:t>13-18</a:t>
            </a:r>
            <a:endParaRPr lang="en-US" sz="800" dirty="0">
              <a:solidFill>
                <a:schemeClr val="tx2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74997F1-D3CD-4901-A74E-9861176B2969}"/>
              </a:ext>
            </a:extLst>
          </p:cNvPr>
          <p:cNvSpPr txBox="1"/>
          <p:nvPr/>
        </p:nvSpPr>
        <p:spPr>
          <a:xfrm>
            <a:off x="9963175" y="4552155"/>
            <a:ext cx="4480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>
                <a:solidFill>
                  <a:schemeClr val="tx2"/>
                </a:solidFill>
              </a:rPr>
              <a:t>19-24</a:t>
            </a:r>
            <a:endParaRPr lang="en-US" sz="800" dirty="0">
              <a:solidFill>
                <a:schemeClr val="tx2"/>
              </a:solidFill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EEA45CD-1CAC-4A53-9D23-62F5F40AA327}"/>
              </a:ext>
            </a:extLst>
          </p:cNvPr>
          <p:cNvSpPr txBox="1"/>
          <p:nvPr/>
        </p:nvSpPr>
        <p:spPr>
          <a:xfrm>
            <a:off x="10287474" y="4552155"/>
            <a:ext cx="4607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>
                <a:solidFill>
                  <a:schemeClr val="tx2"/>
                </a:solidFill>
              </a:rPr>
              <a:t>25-36</a:t>
            </a:r>
            <a:endParaRPr lang="en-US" sz="800" dirty="0">
              <a:solidFill>
                <a:schemeClr val="tx2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2D191B8-2E75-4FB5-AC28-94F33C863CF4}"/>
              </a:ext>
            </a:extLst>
          </p:cNvPr>
          <p:cNvSpPr txBox="1"/>
          <p:nvPr/>
        </p:nvSpPr>
        <p:spPr>
          <a:xfrm>
            <a:off x="10604342" y="4552772"/>
            <a:ext cx="50723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>
                <a:solidFill>
                  <a:schemeClr val="tx2"/>
                </a:solidFill>
              </a:rPr>
              <a:t>37-48</a:t>
            </a:r>
            <a:endParaRPr lang="en-US" sz="800" dirty="0">
              <a:solidFill>
                <a:schemeClr val="tx2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56BB564-2849-497B-A967-7BBE1C1EE4B8}"/>
              </a:ext>
            </a:extLst>
          </p:cNvPr>
          <p:cNvSpPr txBox="1"/>
          <p:nvPr/>
        </p:nvSpPr>
        <p:spPr>
          <a:xfrm>
            <a:off x="10947633" y="4548855"/>
            <a:ext cx="44786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>
                <a:solidFill>
                  <a:schemeClr val="tx2"/>
                </a:solidFill>
              </a:rPr>
              <a:t>49-60</a:t>
            </a:r>
            <a:endParaRPr lang="en-US" sz="800" dirty="0">
              <a:solidFill>
                <a:schemeClr val="tx2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0A18A29-A374-48A0-91B1-EF7C5AA79987}"/>
              </a:ext>
            </a:extLst>
          </p:cNvPr>
          <p:cNvSpPr txBox="1"/>
          <p:nvPr/>
        </p:nvSpPr>
        <p:spPr>
          <a:xfrm>
            <a:off x="11297576" y="4548855"/>
            <a:ext cx="36184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&gt;60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1EFEE0D-5170-45B1-AC8C-8180F2899B9F}"/>
              </a:ext>
            </a:extLst>
          </p:cNvPr>
          <p:cNvSpPr txBox="1"/>
          <p:nvPr/>
        </p:nvSpPr>
        <p:spPr>
          <a:xfrm>
            <a:off x="7272321" y="5785298"/>
            <a:ext cx="16339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err="1">
                <a:solidFill>
                  <a:schemeClr val="tx2"/>
                </a:solidFill>
              </a:rPr>
              <a:t>Ҳолат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фоизи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515DFCE-21B1-4900-A361-F6B084F0BDE1}"/>
              </a:ext>
            </a:extLst>
          </p:cNvPr>
          <p:cNvSpPr txBox="1"/>
          <p:nvPr/>
        </p:nvSpPr>
        <p:spPr>
          <a:xfrm>
            <a:off x="7273467" y="3658581"/>
            <a:ext cx="18533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z-Cyrl-UZ" sz="1400" dirty="0">
                <a:solidFill>
                  <a:schemeClr val="tx2"/>
                </a:solidFill>
              </a:rPr>
              <a:t>Ўртача етказилган зарар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8DC44B0-081C-481E-A8F3-87381DDDD7C7}"/>
              </a:ext>
            </a:extLst>
          </p:cNvPr>
          <p:cNvSpPr/>
          <p:nvPr/>
        </p:nvSpPr>
        <p:spPr>
          <a:xfrm>
            <a:off x="7342642" y="1661451"/>
            <a:ext cx="439842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Ҳуқуқбузарликларнинг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давомийлиг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ашкилот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чу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ўртач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йўқотиш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л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ндай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оғлиқ</a:t>
            </a:r>
            <a:r>
              <a:rPr lang="ru-RU" b="1" dirty="0">
                <a:solidFill>
                  <a:srgbClr val="004BD2"/>
                </a:solidFill>
              </a:rPr>
              <a:t>?</a:t>
            </a:r>
            <a:endParaRPr lang="en-US" b="1" dirty="0">
              <a:solidFill>
                <a:srgbClr val="004BD2"/>
              </a:solidFill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929324FD-0AB9-46C1-BF6B-553E8030FC4E}"/>
              </a:ext>
            </a:extLst>
          </p:cNvPr>
          <p:cNvCxnSpPr>
            <a:cxnSpLocks/>
          </p:cNvCxnSpPr>
          <p:nvPr/>
        </p:nvCxnSpPr>
        <p:spPr>
          <a:xfrm>
            <a:off x="7330787" y="2643167"/>
            <a:ext cx="4422129" cy="0"/>
          </a:xfrm>
          <a:prstGeom prst="line">
            <a:avLst/>
          </a:prstGeom>
          <a:ln>
            <a:solidFill>
              <a:srgbClr val="2DDFD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oup 483">
            <a:extLst>
              <a:ext uri="{FF2B5EF4-FFF2-40B4-BE49-F238E27FC236}">
                <a16:creationId xmlns:a16="http://schemas.microsoft.com/office/drawing/2014/main" id="{B88381C2-6A53-4CC9-B3C2-D342D198E1F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42642" y="2884796"/>
            <a:ext cx="643794" cy="559454"/>
            <a:chOff x="2506" y="1994"/>
            <a:chExt cx="229" cy="199"/>
          </a:xfrm>
          <a:solidFill>
            <a:srgbClr val="004BD2"/>
          </a:solidFill>
        </p:grpSpPr>
        <p:sp>
          <p:nvSpPr>
            <p:cNvPr id="60" name="Freeform 484">
              <a:extLst>
                <a:ext uri="{FF2B5EF4-FFF2-40B4-BE49-F238E27FC236}">
                  <a16:creationId xmlns:a16="http://schemas.microsoft.com/office/drawing/2014/main" id="{565A1520-A573-435C-B0D9-5C58FBD1EC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6" y="1994"/>
              <a:ext cx="229" cy="199"/>
            </a:xfrm>
            <a:custGeom>
              <a:avLst/>
              <a:gdLst>
                <a:gd name="T0" fmla="*/ 7333 w 8000"/>
                <a:gd name="T1" fmla="*/ 3297 h 6934"/>
                <a:gd name="T2" fmla="*/ 7600 w 8000"/>
                <a:gd name="T3" fmla="*/ 3067 h 6934"/>
                <a:gd name="T4" fmla="*/ 7467 w 8000"/>
                <a:gd name="T5" fmla="*/ 1067 h 6934"/>
                <a:gd name="T6" fmla="*/ 5333 w 8000"/>
                <a:gd name="T7" fmla="*/ 134 h 6934"/>
                <a:gd name="T8" fmla="*/ 2800 w 8000"/>
                <a:gd name="T9" fmla="*/ 0 h 6934"/>
                <a:gd name="T10" fmla="*/ 2667 w 8000"/>
                <a:gd name="T11" fmla="*/ 1067 h 6934"/>
                <a:gd name="T12" fmla="*/ 400 w 8000"/>
                <a:gd name="T13" fmla="*/ 1200 h 6934"/>
                <a:gd name="T14" fmla="*/ 467 w 8000"/>
                <a:gd name="T15" fmla="*/ 3183 h 6934"/>
                <a:gd name="T16" fmla="*/ 667 w 8000"/>
                <a:gd name="T17" fmla="*/ 3867 h 6934"/>
                <a:gd name="T18" fmla="*/ 667 w 8000"/>
                <a:gd name="T19" fmla="*/ 5200 h 6934"/>
                <a:gd name="T20" fmla="*/ 1067 w 8000"/>
                <a:gd name="T21" fmla="*/ 6934 h 6934"/>
                <a:gd name="T22" fmla="*/ 7333 w 8000"/>
                <a:gd name="T23" fmla="*/ 6534 h 6934"/>
                <a:gd name="T24" fmla="*/ 8000 w 8000"/>
                <a:gd name="T25" fmla="*/ 4534 h 6934"/>
                <a:gd name="T26" fmla="*/ 5067 w 8000"/>
                <a:gd name="T27" fmla="*/ 267 h 6934"/>
                <a:gd name="T28" fmla="*/ 2933 w 8000"/>
                <a:gd name="T29" fmla="*/ 534 h 6934"/>
                <a:gd name="T30" fmla="*/ 5067 w 8000"/>
                <a:gd name="T31" fmla="*/ 267 h 6934"/>
                <a:gd name="T32" fmla="*/ 5067 w 8000"/>
                <a:gd name="T33" fmla="*/ 800 h 6934"/>
                <a:gd name="T34" fmla="*/ 2933 w 8000"/>
                <a:gd name="T35" fmla="*/ 1067 h 6934"/>
                <a:gd name="T36" fmla="*/ 667 w 8000"/>
                <a:gd name="T37" fmla="*/ 1334 h 6934"/>
                <a:gd name="T38" fmla="*/ 7333 w 8000"/>
                <a:gd name="T39" fmla="*/ 2990 h 6934"/>
                <a:gd name="T40" fmla="*/ 6000 w 8000"/>
                <a:gd name="T41" fmla="*/ 3467 h 6934"/>
                <a:gd name="T42" fmla="*/ 5867 w 8000"/>
                <a:gd name="T43" fmla="*/ 3067 h 6934"/>
                <a:gd name="T44" fmla="*/ 5200 w 8000"/>
                <a:gd name="T45" fmla="*/ 3200 h 6934"/>
                <a:gd name="T46" fmla="*/ 2800 w 8000"/>
                <a:gd name="T47" fmla="*/ 3467 h 6934"/>
                <a:gd name="T48" fmla="*/ 2667 w 8000"/>
                <a:gd name="T49" fmla="*/ 3067 h 6934"/>
                <a:gd name="T50" fmla="*/ 2000 w 8000"/>
                <a:gd name="T51" fmla="*/ 3200 h 6934"/>
                <a:gd name="T52" fmla="*/ 1502 w 8000"/>
                <a:gd name="T53" fmla="*/ 3467 h 6934"/>
                <a:gd name="T54" fmla="*/ 667 w 8000"/>
                <a:gd name="T55" fmla="*/ 1334 h 6934"/>
                <a:gd name="T56" fmla="*/ 5733 w 8000"/>
                <a:gd name="T57" fmla="*/ 3867 h 6934"/>
                <a:gd name="T58" fmla="*/ 5467 w 8000"/>
                <a:gd name="T59" fmla="*/ 3334 h 6934"/>
                <a:gd name="T60" fmla="*/ 2533 w 8000"/>
                <a:gd name="T61" fmla="*/ 3334 h 6934"/>
                <a:gd name="T62" fmla="*/ 2267 w 8000"/>
                <a:gd name="T63" fmla="*/ 3867 h 6934"/>
                <a:gd name="T64" fmla="*/ 2533 w 8000"/>
                <a:gd name="T65" fmla="*/ 3334 h 6934"/>
                <a:gd name="T66" fmla="*/ 1467 w 8000"/>
                <a:gd name="T67" fmla="*/ 3734 h 6934"/>
                <a:gd name="T68" fmla="*/ 2000 w 8000"/>
                <a:gd name="T69" fmla="*/ 4000 h 6934"/>
                <a:gd name="T70" fmla="*/ 2667 w 8000"/>
                <a:gd name="T71" fmla="*/ 4134 h 6934"/>
                <a:gd name="T72" fmla="*/ 2800 w 8000"/>
                <a:gd name="T73" fmla="*/ 3734 h 6934"/>
                <a:gd name="T74" fmla="*/ 5200 w 8000"/>
                <a:gd name="T75" fmla="*/ 4000 h 6934"/>
                <a:gd name="T76" fmla="*/ 5867 w 8000"/>
                <a:gd name="T77" fmla="*/ 4134 h 6934"/>
                <a:gd name="T78" fmla="*/ 6000 w 8000"/>
                <a:gd name="T79" fmla="*/ 3734 h 6934"/>
                <a:gd name="T80" fmla="*/ 6600 w 8000"/>
                <a:gd name="T81" fmla="*/ 3716 h 6934"/>
                <a:gd name="T82" fmla="*/ 7067 w 8000"/>
                <a:gd name="T83" fmla="*/ 4934 h 6934"/>
                <a:gd name="T84" fmla="*/ 4000 w 8000"/>
                <a:gd name="T85" fmla="*/ 3871 h 6934"/>
                <a:gd name="T86" fmla="*/ 933 w 8000"/>
                <a:gd name="T87" fmla="*/ 4934 h 6934"/>
                <a:gd name="T88" fmla="*/ 1400 w 8000"/>
                <a:gd name="T89" fmla="*/ 3716 h 6934"/>
                <a:gd name="T90" fmla="*/ 4000 w 8000"/>
                <a:gd name="T91" fmla="*/ 6000 h 6934"/>
                <a:gd name="T92" fmla="*/ 4000 w 8000"/>
                <a:gd name="T93" fmla="*/ 4134 h 6934"/>
                <a:gd name="T94" fmla="*/ 267 w 8000"/>
                <a:gd name="T95" fmla="*/ 4534 h 6934"/>
                <a:gd name="T96" fmla="*/ 667 w 8000"/>
                <a:gd name="T97" fmla="*/ 4134 h 6934"/>
                <a:gd name="T98" fmla="*/ 267 w 8000"/>
                <a:gd name="T99" fmla="*/ 4534 h 6934"/>
                <a:gd name="T100" fmla="*/ 6933 w 8000"/>
                <a:gd name="T101" fmla="*/ 6667 h 6934"/>
                <a:gd name="T102" fmla="*/ 933 w 8000"/>
                <a:gd name="T103" fmla="*/ 6534 h 6934"/>
                <a:gd name="T104" fmla="*/ 2808 w 8000"/>
                <a:gd name="T105" fmla="*/ 5200 h 6934"/>
                <a:gd name="T106" fmla="*/ 5192 w 8000"/>
                <a:gd name="T107" fmla="*/ 5200 h 6934"/>
                <a:gd name="T108" fmla="*/ 7067 w 8000"/>
                <a:gd name="T109" fmla="*/ 6534 h 6934"/>
                <a:gd name="T110" fmla="*/ 7333 w 8000"/>
                <a:gd name="T111" fmla="*/ 4934 h 6934"/>
                <a:gd name="T112" fmla="*/ 7703 w 8000"/>
                <a:gd name="T113" fmla="*/ 4380 h 6934"/>
                <a:gd name="T114" fmla="*/ 7617 w 8000"/>
                <a:gd name="T115" fmla="*/ 4816 h 6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000" h="6934">
                  <a:moveTo>
                    <a:pt x="7333" y="3867"/>
                  </a:moveTo>
                  <a:lnTo>
                    <a:pt x="7333" y="3297"/>
                  </a:lnTo>
                  <a:lnTo>
                    <a:pt x="7533" y="3183"/>
                  </a:lnTo>
                  <a:cubicBezTo>
                    <a:pt x="7574" y="3159"/>
                    <a:pt x="7600" y="3115"/>
                    <a:pt x="7600" y="3067"/>
                  </a:cubicBezTo>
                  <a:lnTo>
                    <a:pt x="7600" y="1200"/>
                  </a:lnTo>
                  <a:cubicBezTo>
                    <a:pt x="7600" y="1127"/>
                    <a:pt x="7540" y="1067"/>
                    <a:pt x="7467" y="1067"/>
                  </a:cubicBezTo>
                  <a:lnTo>
                    <a:pt x="5333" y="1067"/>
                  </a:lnTo>
                  <a:lnTo>
                    <a:pt x="5333" y="134"/>
                  </a:lnTo>
                  <a:cubicBezTo>
                    <a:pt x="5333" y="60"/>
                    <a:pt x="5274" y="0"/>
                    <a:pt x="5200" y="0"/>
                  </a:cubicBezTo>
                  <a:lnTo>
                    <a:pt x="2800" y="0"/>
                  </a:lnTo>
                  <a:cubicBezTo>
                    <a:pt x="2726" y="0"/>
                    <a:pt x="2667" y="60"/>
                    <a:pt x="2667" y="134"/>
                  </a:cubicBezTo>
                  <a:lnTo>
                    <a:pt x="2667" y="1067"/>
                  </a:lnTo>
                  <a:lnTo>
                    <a:pt x="533" y="1067"/>
                  </a:lnTo>
                  <a:cubicBezTo>
                    <a:pt x="460" y="1067"/>
                    <a:pt x="400" y="1127"/>
                    <a:pt x="400" y="1200"/>
                  </a:cubicBezTo>
                  <a:lnTo>
                    <a:pt x="400" y="3067"/>
                  </a:lnTo>
                  <a:cubicBezTo>
                    <a:pt x="400" y="3115"/>
                    <a:pt x="425" y="3159"/>
                    <a:pt x="467" y="3183"/>
                  </a:cubicBezTo>
                  <a:lnTo>
                    <a:pt x="667" y="3297"/>
                  </a:lnTo>
                  <a:lnTo>
                    <a:pt x="667" y="3867"/>
                  </a:lnTo>
                  <a:cubicBezTo>
                    <a:pt x="299" y="3867"/>
                    <a:pt x="0" y="4166"/>
                    <a:pt x="0" y="4534"/>
                  </a:cubicBezTo>
                  <a:cubicBezTo>
                    <a:pt x="0" y="4902"/>
                    <a:pt x="299" y="5200"/>
                    <a:pt x="667" y="5200"/>
                  </a:cubicBezTo>
                  <a:lnTo>
                    <a:pt x="667" y="6534"/>
                  </a:lnTo>
                  <a:cubicBezTo>
                    <a:pt x="667" y="6755"/>
                    <a:pt x="846" y="6934"/>
                    <a:pt x="1067" y="6934"/>
                  </a:cubicBezTo>
                  <a:lnTo>
                    <a:pt x="6933" y="6934"/>
                  </a:lnTo>
                  <a:cubicBezTo>
                    <a:pt x="7154" y="6934"/>
                    <a:pt x="7333" y="6755"/>
                    <a:pt x="7333" y="6534"/>
                  </a:cubicBezTo>
                  <a:lnTo>
                    <a:pt x="7333" y="5200"/>
                  </a:lnTo>
                  <a:cubicBezTo>
                    <a:pt x="7701" y="5200"/>
                    <a:pt x="8000" y="4902"/>
                    <a:pt x="8000" y="4534"/>
                  </a:cubicBezTo>
                  <a:cubicBezTo>
                    <a:pt x="8000" y="4166"/>
                    <a:pt x="7701" y="3867"/>
                    <a:pt x="7333" y="3867"/>
                  </a:cubicBezTo>
                  <a:close/>
                  <a:moveTo>
                    <a:pt x="5067" y="267"/>
                  </a:moveTo>
                  <a:lnTo>
                    <a:pt x="5067" y="534"/>
                  </a:lnTo>
                  <a:lnTo>
                    <a:pt x="2933" y="534"/>
                  </a:lnTo>
                  <a:lnTo>
                    <a:pt x="2933" y="267"/>
                  </a:lnTo>
                  <a:lnTo>
                    <a:pt x="5067" y="267"/>
                  </a:lnTo>
                  <a:close/>
                  <a:moveTo>
                    <a:pt x="2933" y="800"/>
                  </a:moveTo>
                  <a:lnTo>
                    <a:pt x="5067" y="800"/>
                  </a:lnTo>
                  <a:lnTo>
                    <a:pt x="5067" y="1067"/>
                  </a:lnTo>
                  <a:lnTo>
                    <a:pt x="2933" y="1067"/>
                  </a:lnTo>
                  <a:lnTo>
                    <a:pt x="2933" y="800"/>
                  </a:lnTo>
                  <a:close/>
                  <a:moveTo>
                    <a:pt x="667" y="1334"/>
                  </a:moveTo>
                  <a:lnTo>
                    <a:pt x="7333" y="1334"/>
                  </a:lnTo>
                  <a:lnTo>
                    <a:pt x="7333" y="2990"/>
                  </a:lnTo>
                  <a:lnTo>
                    <a:pt x="6498" y="3467"/>
                  </a:lnTo>
                  <a:lnTo>
                    <a:pt x="6000" y="3467"/>
                  </a:lnTo>
                  <a:lnTo>
                    <a:pt x="6000" y="3200"/>
                  </a:lnTo>
                  <a:cubicBezTo>
                    <a:pt x="6000" y="3127"/>
                    <a:pt x="5940" y="3067"/>
                    <a:pt x="5867" y="3067"/>
                  </a:cubicBezTo>
                  <a:lnTo>
                    <a:pt x="5333" y="3067"/>
                  </a:lnTo>
                  <a:cubicBezTo>
                    <a:pt x="5260" y="3067"/>
                    <a:pt x="5200" y="3127"/>
                    <a:pt x="5200" y="3200"/>
                  </a:cubicBezTo>
                  <a:lnTo>
                    <a:pt x="5200" y="3467"/>
                  </a:lnTo>
                  <a:lnTo>
                    <a:pt x="2800" y="3467"/>
                  </a:lnTo>
                  <a:lnTo>
                    <a:pt x="2800" y="3200"/>
                  </a:lnTo>
                  <a:cubicBezTo>
                    <a:pt x="2800" y="3127"/>
                    <a:pt x="2740" y="3067"/>
                    <a:pt x="2667" y="3067"/>
                  </a:cubicBezTo>
                  <a:lnTo>
                    <a:pt x="2133" y="3067"/>
                  </a:lnTo>
                  <a:cubicBezTo>
                    <a:pt x="2060" y="3067"/>
                    <a:pt x="2000" y="3127"/>
                    <a:pt x="2000" y="3200"/>
                  </a:cubicBezTo>
                  <a:lnTo>
                    <a:pt x="2000" y="3467"/>
                  </a:lnTo>
                  <a:lnTo>
                    <a:pt x="1502" y="3467"/>
                  </a:lnTo>
                  <a:lnTo>
                    <a:pt x="667" y="2990"/>
                  </a:lnTo>
                  <a:lnTo>
                    <a:pt x="667" y="1334"/>
                  </a:lnTo>
                  <a:close/>
                  <a:moveTo>
                    <a:pt x="5733" y="3334"/>
                  </a:moveTo>
                  <a:lnTo>
                    <a:pt x="5733" y="3867"/>
                  </a:lnTo>
                  <a:lnTo>
                    <a:pt x="5467" y="3867"/>
                  </a:lnTo>
                  <a:lnTo>
                    <a:pt x="5467" y="3334"/>
                  </a:lnTo>
                  <a:lnTo>
                    <a:pt x="5733" y="3334"/>
                  </a:lnTo>
                  <a:close/>
                  <a:moveTo>
                    <a:pt x="2533" y="3334"/>
                  </a:moveTo>
                  <a:lnTo>
                    <a:pt x="2533" y="3867"/>
                  </a:lnTo>
                  <a:lnTo>
                    <a:pt x="2267" y="3867"/>
                  </a:lnTo>
                  <a:lnTo>
                    <a:pt x="2267" y="3334"/>
                  </a:lnTo>
                  <a:lnTo>
                    <a:pt x="2533" y="3334"/>
                  </a:lnTo>
                  <a:close/>
                  <a:moveTo>
                    <a:pt x="1400" y="3716"/>
                  </a:moveTo>
                  <a:cubicBezTo>
                    <a:pt x="1420" y="3728"/>
                    <a:pt x="1443" y="3734"/>
                    <a:pt x="1467" y="3734"/>
                  </a:cubicBezTo>
                  <a:lnTo>
                    <a:pt x="2000" y="3734"/>
                  </a:lnTo>
                  <a:lnTo>
                    <a:pt x="2000" y="4000"/>
                  </a:lnTo>
                  <a:cubicBezTo>
                    <a:pt x="2000" y="4074"/>
                    <a:pt x="2060" y="4134"/>
                    <a:pt x="2133" y="4134"/>
                  </a:cubicBezTo>
                  <a:lnTo>
                    <a:pt x="2667" y="4134"/>
                  </a:lnTo>
                  <a:cubicBezTo>
                    <a:pt x="2740" y="4134"/>
                    <a:pt x="2800" y="4074"/>
                    <a:pt x="2800" y="4000"/>
                  </a:cubicBezTo>
                  <a:lnTo>
                    <a:pt x="2800" y="3734"/>
                  </a:lnTo>
                  <a:lnTo>
                    <a:pt x="5200" y="3734"/>
                  </a:lnTo>
                  <a:lnTo>
                    <a:pt x="5200" y="4000"/>
                  </a:lnTo>
                  <a:cubicBezTo>
                    <a:pt x="5200" y="4074"/>
                    <a:pt x="5260" y="4134"/>
                    <a:pt x="5333" y="4134"/>
                  </a:cubicBezTo>
                  <a:lnTo>
                    <a:pt x="5867" y="4134"/>
                  </a:lnTo>
                  <a:cubicBezTo>
                    <a:pt x="5940" y="4134"/>
                    <a:pt x="6000" y="4074"/>
                    <a:pt x="6000" y="4000"/>
                  </a:cubicBezTo>
                  <a:lnTo>
                    <a:pt x="6000" y="3734"/>
                  </a:lnTo>
                  <a:lnTo>
                    <a:pt x="6533" y="3734"/>
                  </a:lnTo>
                  <a:cubicBezTo>
                    <a:pt x="6557" y="3734"/>
                    <a:pt x="6580" y="3728"/>
                    <a:pt x="6600" y="3716"/>
                  </a:cubicBezTo>
                  <a:lnTo>
                    <a:pt x="7067" y="3449"/>
                  </a:lnTo>
                  <a:lnTo>
                    <a:pt x="7067" y="4934"/>
                  </a:lnTo>
                  <a:lnTo>
                    <a:pt x="5192" y="4934"/>
                  </a:lnTo>
                  <a:cubicBezTo>
                    <a:pt x="5122" y="4328"/>
                    <a:pt x="4610" y="3871"/>
                    <a:pt x="4000" y="3871"/>
                  </a:cubicBezTo>
                  <a:cubicBezTo>
                    <a:pt x="3390" y="3871"/>
                    <a:pt x="2878" y="4328"/>
                    <a:pt x="2808" y="4934"/>
                  </a:cubicBezTo>
                  <a:lnTo>
                    <a:pt x="933" y="4934"/>
                  </a:lnTo>
                  <a:lnTo>
                    <a:pt x="933" y="3449"/>
                  </a:lnTo>
                  <a:lnTo>
                    <a:pt x="1400" y="3716"/>
                  </a:lnTo>
                  <a:close/>
                  <a:moveTo>
                    <a:pt x="4933" y="5067"/>
                  </a:moveTo>
                  <a:cubicBezTo>
                    <a:pt x="4933" y="5582"/>
                    <a:pt x="4515" y="6000"/>
                    <a:pt x="4000" y="6000"/>
                  </a:cubicBezTo>
                  <a:cubicBezTo>
                    <a:pt x="3485" y="6000"/>
                    <a:pt x="3067" y="5582"/>
                    <a:pt x="3067" y="5067"/>
                  </a:cubicBezTo>
                  <a:cubicBezTo>
                    <a:pt x="3067" y="4552"/>
                    <a:pt x="3485" y="4134"/>
                    <a:pt x="4000" y="4134"/>
                  </a:cubicBezTo>
                  <a:cubicBezTo>
                    <a:pt x="4515" y="4134"/>
                    <a:pt x="4933" y="4552"/>
                    <a:pt x="4933" y="5067"/>
                  </a:cubicBezTo>
                  <a:close/>
                  <a:moveTo>
                    <a:pt x="267" y="4534"/>
                  </a:moveTo>
                  <a:cubicBezTo>
                    <a:pt x="266" y="4428"/>
                    <a:pt x="309" y="4326"/>
                    <a:pt x="384" y="4251"/>
                  </a:cubicBezTo>
                  <a:cubicBezTo>
                    <a:pt x="459" y="4176"/>
                    <a:pt x="561" y="4133"/>
                    <a:pt x="667" y="4134"/>
                  </a:cubicBezTo>
                  <a:lnTo>
                    <a:pt x="667" y="4934"/>
                  </a:lnTo>
                  <a:cubicBezTo>
                    <a:pt x="446" y="4934"/>
                    <a:pt x="267" y="4755"/>
                    <a:pt x="267" y="4534"/>
                  </a:cubicBezTo>
                  <a:close/>
                  <a:moveTo>
                    <a:pt x="7067" y="6534"/>
                  </a:moveTo>
                  <a:cubicBezTo>
                    <a:pt x="7067" y="6607"/>
                    <a:pt x="7007" y="6667"/>
                    <a:pt x="6933" y="6667"/>
                  </a:cubicBezTo>
                  <a:lnTo>
                    <a:pt x="1067" y="6667"/>
                  </a:lnTo>
                  <a:cubicBezTo>
                    <a:pt x="993" y="6667"/>
                    <a:pt x="933" y="6607"/>
                    <a:pt x="933" y="6534"/>
                  </a:cubicBezTo>
                  <a:lnTo>
                    <a:pt x="933" y="5200"/>
                  </a:lnTo>
                  <a:lnTo>
                    <a:pt x="2808" y="5200"/>
                  </a:lnTo>
                  <a:cubicBezTo>
                    <a:pt x="2878" y="5806"/>
                    <a:pt x="3390" y="6263"/>
                    <a:pt x="4000" y="6263"/>
                  </a:cubicBezTo>
                  <a:cubicBezTo>
                    <a:pt x="4610" y="6263"/>
                    <a:pt x="5122" y="5806"/>
                    <a:pt x="5192" y="5200"/>
                  </a:cubicBezTo>
                  <a:lnTo>
                    <a:pt x="7067" y="5200"/>
                  </a:lnTo>
                  <a:lnTo>
                    <a:pt x="7067" y="6534"/>
                  </a:lnTo>
                  <a:close/>
                  <a:moveTo>
                    <a:pt x="7617" y="4816"/>
                  </a:moveTo>
                  <a:cubicBezTo>
                    <a:pt x="7542" y="4891"/>
                    <a:pt x="7440" y="4934"/>
                    <a:pt x="7333" y="4934"/>
                  </a:cubicBezTo>
                  <a:lnTo>
                    <a:pt x="7333" y="4134"/>
                  </a:lnTo>
                  <a:cubicBezTo>
                    <a:pt x="7495" y="4133"/>
                    <a:pt x="7641" y="4231"/>
                    <a:pt x="7703" y="4380"/>
                  </a:cubicBezTo>
                  <a:cubicBezTo>
                    <a:pt x="7765" y="4529"/>
                    <a:pt x="7731" y="4702"/>
                    <a:pt x="7617" y="4816"/>
                  </a:cubicBezTo>
                  <a:close/>
                  <a:moveTo>
                    <a:pt x="7617" y="481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485">
              <a:extLst>
                <a:ext uri="{FF2B5EF4-FFF2-40B4-BE49-F238E27FC236}">
                  <a16:creationId xmlns:a16="http://schemas.microsoft.com/office/drawing/2014/main" id="{124F8AC3-FAAD-4946-8E97-5DFE8AEF50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8" y="2116"/>
              <a:ext cx="25" cy="46"/>
            </a:xfrm>
            <a:custGeom>
              <a:avLst/>
              <a:gdLst>
                <a:gd name="T0" fmla="*/ 427 w 854"/>
                <a:gd name="T1" fmla="*/ 400 h 1600"/>
                <a:gd name="T2" fmla="*/ 560 w 854"/>
                <a:gd name="T3" fmla="*/ 533 h 1600"/>
                <a:gd name="T4" fmla="*/ 827 w 854"/>
                <a:gd name="T5" fmla="*/ 533 h 1600"/>
                <a:gd name="T6" fmla="*/ 560 w 854"/>
                <a:gd name="T7" fmla="*/ 158 h 1600"/>
                <a:gd name="T8" fmla="*/ 560 w 854"/>
                <a:gd name="T9" fmla="*/ 0 h 1600"/>
                <a:gd name="T10" fmla="*/ 294 w 854"/>
                <a:gd name="T11" fmla="*/ 0 h 1600"/>
                <a:gd name="T12" fmla="*/ 294 w 854"/>
                <a:gd name="T13" fmla="*/ 158 h 1600"/>
                <a:gd name="T14" fmla="*/ 33 w 854"/>
                <a:gd name="T15" fmla="*/ 602 h 1600"/>
                <a:gd name="T16" fmla="*/ 427 w 854"/>
                <a:gd name="T17" fmla="*/ 933 h 1600"/>
                <a:gd name="T18" fmla="*/ 560 w 854"/>
                <a:gd name="T19" fmla="*/ 1067 h 1600"/>
                <a:gd name="T20" fmla="*/ 427 w 854"/>
                <a:gd name="T21" fmla="*/ 1200 h 1600"/>
                <a:gd name="T22" fmla="*/ 294 w 854"/>
                <a:gd name="T23" fmla="*/ 1067 h 1600"/>
                <a:gd name="T24" fmla="*/ 27 w 854"/>
                <a:gd name="T25" fmla="*/ 1067 h 1600"/>
                <a:gd name="T26" fmla="*/ 294 w 854"/>
                <a:gd name="T27" fmla="*/ 1442 h 1600"/>
                <a:gd name="T28" fmla="*/ 294 w 854"/>
                <a:gd name="T29" fmla="*/ 1600 h 1600"/>
                <a:gd name="T30" fmla="*/ 560 w 854"/>
                <a:gd name="T31" fmla="*/ 1600 h 1600"/>
                <a:gd name="T32" fmla="*/ 560 w 854"/>
                <a:gd name="T33" fmla="*/ 1442 h 1600"/>
                <a:gd name="T34" fmla="*/ 821 w 854"/>
                <a:gd name="T35" fmla="*/ 998 h 1600"/>
                <a:gd name="T36" fmla="*/ 427 w 854"/>
                <a:gd name="T37" fmla="*/ 667 h 1600"/>
                <a:gd name="T38" fmla="*/ 294 w 854"/>
                <a:gd name="T39" fmla="*/ 533 h 1600"/>
                <a:gd name="T40" fmla="*/ 427 w 854"/>
                <a:gd name="T41" fmla="*/ 400 h 1600"/>
                <a:gd name="T42" fmla="*/ 427 w 854"/>
                <a:gd name="T43" fmla="*/ 400 h 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54" h="1600">
                  <a:moveTo>
                    <a:pt x="427" y="400"/>
                  </a:moveTo>
                  <a:cubicBezTo>
                    <a:pt x="501" y="400"/>
                    <a:pt x="560" y="460"/>
                    <a:pt x="560" y="533"/>
                  </a:cubicBezTo>
                  <a:lnTo>
                    <a:pt x="827" y="533"/>
                  </a:lnTo>
                  <a:cubicBezTo>
                    <a:pt x="826" y="364"/>
                    <a:pt x="720" y="214"/>
                    <a:pt x="560" y="158"/>
                  </a:cubicBezTo>
                  <a:lnTo>
                    <a:pt x="560" y="0"/>
                  </a:lnTo>
                  <a:lnTo>
                    <a:pt x="294" y="0"/>
                  </a:lnTo>
                  <a:lnTo>
                    <a:pt x="294" y="158"/>
                  </a:lnTo>
                  <a:cubicBezTo>
                    <a:pt x="110" y="223"/>
                    <a:pt x="0" y="410"/>
                    <a:pt x="33" y="602"/>
                  </a:cubicBezTo>
                  <a:cubicBezTo>
                    <a:pt x="66" y="794"/>
                    <a:pt x="232" y="934"/>
                    <a:pt x="427" y="933"/>
                  </a:cubicBezTo>
                  <a:cubicBezTo>
                    <a:pt x="501" y="933"/>
                    <a:pt x="560" y="993"/>
                    <a:pt x="560" y="1067"/>
                  </a:cubicBezTo>
                  <a:cubicBezTo>
                    <a:pt x="560" y="1140"/>
                    <a:pt x="501" y="1200"/>
                    <a:pt x="427" y="1200"/>
                  </a:cubicBezTo>
                  <a:cubicBezTo>
                    <a:pt x="353" y="1200"/>
                    <a:pt x="294" y="1140"/>
                    <a:pt x="294" y="1067"/>
                  </a:cubicBezTo>
                  <a:lnTo>
                    <a:pt x="27" y="1067"/>
                  </a:lnTo>
                  <a:cubicBezTo>
                    <a:pt x="28" y="1236"/>
                    <a:pt x="134" y="1386"/>
                    <a:pt x="294" y="1442"/>
                  </a:cubicBezTo>
                  <a:lnTo>
                    <a:pt x="294" y="1600"/>
                  </a:lnTo>
                  <a:lnTo>
                    <a:pt x="560" y="1600"/>
                  </a:lnTo>
                  <a:lnTo>
                    <a:pt x="560" y="1442"/>
                  </a:lnTo>
                  <a:cubicBezTo>
                    <a:pt x="744" y="1377"/>
                    <a:pt x="854" y="1190"/>
                    <a:pt x="821" y="998"/>
                  </a:cubicBezTo>
                  <a:cubicBezTo>
                    <a:pt x="788" y="806"/>
                    <a:pt x="622" y="666"/>
                    <a:pt x="427" y="667"/>
                  </a:cubicBezTo>
                  <a:cubicBezTo>
                    <a:pt x="353" y="667"/>
                    <a:pt x="294" y="607"/>
                    <a:pt x="294" y="533"/>
                  </a:cubicBezTo>
                  <a:cubicBezTo>
                    <a:pt x="294" y="460"/>
                    <a:pt x="353" y="400"/>
                    <a:pt x="427" y="400"/>
                  </a:cubicBezTo>
                  <a:close/>
                  <a:moveTo>
                    <a:pt x="427" y="40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486">
              <a:extLst>
                <a:ext uri="{FF2B5EF4-FFF2-40B4-BE49-F238E27FC236}">
                  <a16:creationId xmlns:a16="http://schemas.microsoft.com/office/drawing/2014/main" id="{8A42EF87-E940-4726-9BAC-C35D65AF26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7" y="2040"/>
              <a:ext cx="7" cy="8"/>
            </a:xfrm>
            <a:custGeom>
              <a:avLst/>
              <a:gdLst>
                <a:gd name="T0" fmla="*/ 0 w 266"/>
                <a:gd name="T1" fmla="*/ 0 h 267"/>
                <a:gd name="T2" fmla="*/ 266 w 266"/>
                <a:gd name="T3" fmla="*/ 0 h 267"/>
                <a:gd name="T4" fmla="*/ 266 w 266"/>
                <a:gd name="T5" fmla="*/ 267 h 267"/>
                <a:gd name="T6" fmla="*/ 0 w 266"/>
                <a:gd name="T7" fmla="*/ 267 h 267"/>
                <a:gd name="T8" fmla="*/ 0 w 266"/>
                <a:gd name="T9" fmla="*/ 0 h 267"/>
                <a:gd name="T10" fmla="*/ 0 w 266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67">
                  <a:moveTo>
                    <a:pt x="0" y="0"/>
                  </a:moveTo>
                  <a:lnTo>
                    <a:pt x="266" y="0"/>
                  </a:lnTo>
                  <a:lnTo>
                    <a:pt x="266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487">
              <a:extLst>
                <a:ext uri="{FF2B5EF4-FFF2-40B4-BE49-F238E27FC236}">
                  <a16:creationId xmlns:a16="http://schemas.microsoft.com/office/drawing/2014/main" id="{13D00058-ADA1-45F6-8425-75FC2FA73E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32" y="2040"/>
              <a:ext cx="8" cy="8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Freeform 488">
              <a:extLst>
                <a:ext uri="{FF2B5EF4-FFF2-40B4-BE49-F238E27FC236}">
                  <a16:creationId xmlns:a16="http://schemas.microsoft.com/office/drawing/2014/main" id="{9A2702B7-DBAD-4438-9018-BA55B964B1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" y="2040"/>
              <a:ext cx="8" cy="8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489">
              <a:extLst>
                <a:ext uri="{FF2B5EF4-FFF2-40B4-BE49-F238E27FC236}">
                  <a16:creationId xmlns:a16="http://schemas.microsoft.com/office/drawing/2014/main" id="{F8CC65EE-822C-47AF-B1A4-57824EB3FF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3" y="2040"/>
              <a:ext cx="19" cy="19"/>
            </a:xfrm>
            <a:custGeom>
              <a:avLst/>
              <a:gdLst>
                <a:gd name="T0" fmla="*/ 667 w 667"/>
                <a:gd name="T1" fmla="*/ 0 h 667"/>
                <a:gd name="T2" fmla="*/ 134 w 667"/>
                <a:gd name="T3" fmla="*/ 0 h 667"/>
                <a:gd name="T4" fmla="*/ 0 w 667"/>
                <a:gd name="T5" fmla="*/ 134 h 667"/>
                <a:gd name="T6" fmla="*/ 0 w 667"/>
                <a:gd name="T7" fmla="*/ 667 h 667"/>
                <a:gd name="T8" fmla="*/ 267 w 667"/>
                <a:gd name="T9" fmla="*/ 667 h 667"/>
                <a:gd name="T10" fmla="*/ 267 w 667"/>
                <a:gd name="T11" fmla="*/ 267 h 667"/>
                <a:gd name="T12" fmla="*/ 667 w 667"/>
                <a:gd name="T13" fmla="*/ 267 h 667"/>
                <a:gd name="T14" fmla="*/ 667 w 667"/>
                <a:gd name="T15" fmla="*/ 0 h 667"/>
                <a:gd name="T16" fmla="*/ 667 w 667"/>
                <a:gd name="T1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7" h="667">
                  <a:moveTo>
                    <a:pt x="667" y="0"/>
                  </a:moveTo>
                  <a:lnTo>
                    <a:pt x="134" y="0"/>
                  </a:lnTo>
                  <a:cubicBezTo>
                    <a:pt x="60" y="0"/>
                    <a:pt x="0" y="60"/>
                    <a:pt x="0" y="134"/>
                  </a:cubicBezTo>
                  <a:lnTo>
                    <a:pt x="0" y="667"/>
                  </a:lnTo>
                  <a:lnTo>
                    <a:pt x="267" y="667"/>
                  </a:lnTo>
                  <a:lnTo>
                    <a:pt x="267" y="267"/>
                  </a:lnTo>
                  <a:lnTo>
                    <a:pt x="667" y="267"/>
                  </a:lnTo>
                  <a:lnTo>
                    <a:pt x="667" y="0"/>
                  </a:lnTo>
                  <a:close/>
                  <a:moveTo>
                    <a:pt x="667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Freeform 490">
              <a:extLst>
                <a:ext uri="{FF2B5EF4-FFF2-40B4-BE49-F238E27FC236}">
                  <a16:creationId xmlns:a16="http://schemas.microsoft.com/office/drawing/2014/main" id="{8EC62834-D3F9-440E-B5E6-3B3464A2F5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9" y="2040"/>
              <a:ext cx="19" cy="19"/>
            </a:xfrm>
            <a:custGeom>
              <a:avLst/>
              <a:gdLst>
                <a:gd name="T0" fmla="*/ 400 w 667"/>
                <a:gd name="T1" fmla="*/ 667 h 667"/>
                <a:gd name="T2" fmla="*/ 667 w 667"/>
                <a:gd name="T3" fmla="*/ 667 h 667"/>
                <a:gd name="T4" fmla="*/ 667 w 667"/>
                <a:gd name="T5" fmla="*/ 134 h 667"/>
                <a:gd name="T6" fmla="*/ 533 w 667"/>
                <a:gd name="T7" fmla="*/ 0 h 667"/>
                <a:gd name="T8" fmla="*/ 0 w 667"/>
                <a:gd name="T9" fmla="*/ 0 h 667"/>
                <a:gd name="T10" fmla="*/ 0 w 667"/>
                <a:gd name="T11" fmla="*/ 267 h 667"/>
                <a:gd name="T12" fmla="*/ 400 w 667"/>
                <a:gd name="T13" fmla="*/ 267 h 667"/>
                <a:gd name="T14" fmla="*/ 400 w 667"/>
                <a:gd name="T15" fmla="*/ 667 h 667"/>
                <a:gd name="T16" fmla="*/ 400 w 667"/>
                <a:gd name="T1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7" h="667">
                  <a:moveTo>
                    <a:pt x="400" y="667"/>
                  </a:moveTo>
                  <a:lnTo>
                    <a:pt x="667" y="667"/>
                  </a:lnTo>
                  <a:lnTo>
                    <a:pt x="667" y="134"/>
                  </a:lnTo>
                  <a:cubicBezTo>
                    <a:pt x="667" y="60"/>
                    <a:pt x="607" y="0"/>
                    <a:pt x="533" y="0"/>
                  </a:cubicBezTo>
                  <a:lnTo>
                    <a:pt x="0" y="0"/>
                  </a:lnTo>
                  <a:lnTo>
                    <a:pt x="0" y="267"/>
                  </a:lnTo>
                  <a:lnTo>
                    <a:pt x="400" y="267"/>
                  </a:lnTo>
                  <a:lnTo>
                    <a:pt x="400" y="667"/>
                  </a:lnTo>
                  <a:close/>
                  <a:moveTo>
                    <a:pt x="400" y="667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56FD1E66-9A00-4795-8651-59E1B4685312}"/>
              </a:ext>
            </a:extLst>
          </p:cNvPr>
          <p:cNvGrpSpPr/>
          <p:nvPr/>
        </p:nvGrpSpPr>
        <p:grpSpPr>
          <a:xfrm>
            <a:off x="7364202" y="5029617"/>
            <a:ext cx="665333" cy="664075"/>
            <a:chOff x="6348413" y="2509838"/>
            <a:chExt cx="839787" cy="838200"/>
          </a:xfrm>
          <a:solidFill>
            <a:srgbClr val="2DDFDB"/>
          </a:solidFill>
        </p:grpSpPr>
        <p:sp>
          <p:nvSpPr>
            <p:cNvPr id="68" name="Freeform 258">
              <a:extLst>
                <a:ext uri="{FF2B5EF4-FFF2-40B4-BE49-F238E27FC236}">
                  <a16:creationId xmlns:a16="http://schemas.microsoft.com/office/drawing/2014/main" id="{1047C675-0C19-4785-A7A6-7D534A8A4A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8413" y="2509838"/>
              <a:ext cx="839787" cy="838200"/>
            </a:xfrm>
            <a:custGeom>
              <a:avLst/>
              <a:gdLst>
                <a:gd name="T0" fmla="*/ 3775 w 6400"/>
                <a:gd name="T1" fmla="*/ 0 h 6400"/>
                <a:gd name="T2" fmla="*/ 1150 w 6400"/>
                <a:gd name="T3" fmla="*/ 2625 h 6400"/>
                <a:gd name="T4" fmla="*/ 1600 w 6400"/>
                <a:gd name="T5" fmla="*/ 4093 h 6400"/>
                <a:gd name="T6" fmla="*/ 146 w 6400"/>
                <a:gd name="T7" fmla="*/ 5547 h 6400"/>
                <a:gd name="T8" fmla="*/ 0 w 6400"/>
                <a:gd name="T9" fmla="*/ 5900 h 6400"/>
                <a:gd name="T10" fmla="*/ 146 w 6400"/>
                <a:gd name="T11" fmla="*/ 6254 h 6400"/>
                <a:gd name="T12" fmla="*/ 500 w 6400"/>
                <a:gd name="T13" fmla="*/ 6400 h 6400"/>
                <a:gd name="T14" fmla="*/ 853 w 6400"/>
                <a:gd name="T15" fmla="*/ 6254 h 6400"/>
                <a:gd name="T16" fmla="*/ 2307 w 6400"/>
                <a:gd name="T17" fmla="*/ 4800 h 6400"/>
                <a:gd name="T18" fmla="*/ 3775 w 6400"/>
                <a:gd name="T19" fmla="*/ 5250 h 6400"/>
                <a:gd name="T20" fmla="*/ 6400 w 6400"/>
                <a:gd name="T21" fmla="*/ 2625 h 6400"/>
                <a:gd name="T22" fmla="*/ 3775 w 6400"/>
                <a:gd name="T23" fmla="*/ 0 h 6400"/>
                <a:gd name="T24" fmla="*/ 676 w 6400"/>
                <a:gd name="T25" fmla="*/ 6077 h 6400"/>
                <a:gd name="T26" fmla="*/ 500 w 6400"/>
                <a:gd name="T27" fmla="*/ 6150 h 6400"/>
                <a:gd name="T28" fmla="*/ 323 w 6400"/>
                <a:gd name="T29" fmla="*/ 6077 h 6400"/>
                <a:gd name="T30" fmla="*/ 250 w 6400"/>
                <a:gd name="T31" fmla="*/ 5900 h 6400"/>
                <a:gd name="T32" fmla="*/ 323 w 6400"/>
                <a:gd name="T33" fmla="*/ 5724 h 6400"/>
                <a:gd name="T34" fmla="*/ 1396 w 6400"/>
                <a:gd name="T35" fmla="*/ 4651 h 6400"/>
                <a:gd name="T36" fmla="*/ 1749 w 6400"/>
                <a:gd name="T37" fmla="*/ 5004 h 6400"/>
                <a:gd name="T38" fmla="*/ 676 w 6400"/>
                <a:gd name="T39" fmla="*/ 6077 h 6400"/>
                <a:gd name="T40" fmla="*/ 1927 w 6400"/>
                <a:gd name="T41" fmla="*/ 4827 h 6400"/>
                <a:gd name="T42" fmla="*/ 1573 w 6400"/>
                <a:gd name="T43" fmla="*/ 4473 h 6400"/>
                <a:gd name="T44" fmla="*/ 1751 w 6400"/>
                <a:gd name="T45" fmla="*/ 4296 h 6400"/>
                <a:gd name="T46" fmla="*/ 2104 w 6400"/>
                <a:gd name="T47" fmla="*/ 4649 h 6400"/>
                <a:gd name="T48" fmla="*/ 1927 w 6400"/>
                <a:gd name="T49" fmla="*/ 4827 h 6400"/>
                <a:gd name="T50" fmla="*/ 3775 w 6400"/>
                <a:gd name="T51" fmla="*/ 5000 h 6400"/>
                <a:gd name="T52" fmla="*/ 1400 w 6400"/>
                <a:gd name="T53" fmla="*/ 2625 h 6400"/>
                <a:gd name="T54" fmla="*/ 3775 w 6400"/>
                <a:gd name="T55" fmla="*/ 250 h 6400"/>
                <a:gd name="T56" fmla="*/ 6150 w 6400"/>
                <a:gd name="T57" fmla="*/ 2625 h 6400"/>
                <a:gd name="T58" fmla="*/ 3775 w 6400"/>
                <a:gd name="T59" fmla="*/ 5000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400" h="6400">
                  <a:moveTo>
                    <a:pt x="3775" y="0"/>
                  </a:moveTo>
                  <a:cubicBezTo>
                    <a:pt x="2328" y="0"/>
                    <a:pt x="1150" y="1178"/>
                    <a:pt x="1150" y="2625"/>
                  </a:cubicBezTo>
                  <a:cubicBezTo>
                    <a:pt x="1150" y="3168"/>
                    <a:pt x="1316" y="3674"/>
                    <a:pt x="1600" y="4093"/>
                  </a:cubicBezTo>
                  <a:lnTo>
                    <a:pt x="146" y="5547"/>
                  </a:lnTo>
                  <a:cubicBezTo>
                    <a:pt x="52" y="5641"/>
                    <a:pt x="0" y="5767"/>
                    <a:pt x="0" y="5900"/>
                  </a:cubicBezTo>
                  <a:cubicBezTo>
                    <a:pt x="0" y="6034"/>
                    <a:pt x="52" y="6160"/>
                    <a:pt x="146" y="6254"/>
                  </a:cubicBezTo>
                  <a:cubicBezTo>
                    <a:pt x="240" y="6348"/>
                    <a:pt x="366" y="6400"/>
                    <a:pt x="500" y="6400"/>
                  </a:cubicBezTo>
                  <a:cubicBezTo>
                    <a:pt x="633" y="6400"/>
                    <a:pt x="759" y="6348"/>
                    <a:pt x="853" y="6254"/>
                  </a:cubicBezTo>
                  <a:lnTo>
                    <a:pt x="2307" y="4800"/>
                  </a:lnTo>
                  <a:cubicBezTo>
                    <a:pt x="2726" y="5084"/>
                    <a:pt x="3232" y="5250"/>
                    <a:pt x="3775" y="5250"/>
                  </a:cubicBezTo>
                  <a:cubicBezTo>
                    <a:pt x="5222" y="5250"/>
                    <a:pt x="6400" y="4072"/>
                    <a:pt x="6400" y="2625"/>
                  </a:cubicBezTo>
                  <a:cubicBezTo>
                    <a:pt x="6400" y="1178"/>
                    <a:pt x="5222" y="0"/>
                    <a:pt x="3775" y="0"/>
                  </a:cubicBezTo>
                  <a:close/>
                  <a:moveTo>
                    <a:pt x="676" y="6077"/>
                  </a:moveTo>
                  <a:cubicBezTo>
                    <a:pt x="629" y="6124"/>
                    <a:pt x="567" y="6150"/>
                    <a:pt x="500" y="6150"/>
                  </a:cubicBezTo>
                  <a:cubicBezTo>
                    <a:pt x="432" y="6150"/>
                    <a:pt x="370" y="6124"/>
                    <a:pt x="323" y="6077"/>
                  </a:cubicBezTo>
                  <a:cubicBezTo>
                    <a:pt x="276" y="6030"/>
                    <a:pt x="250" y="5968"/>
                    <a:pt x="250" y="5900"/>
                  </a:cubicBezTo>
                  <a:cubicBezTo>
                    <a:pt x="250" y="5833"/>
                    <a:pt x="276" y="5771"/>
                    <a:pt x="323" y="5724"/>
                  </a:cubicBezTo>
                  <a:lnTo>
                    <a:pt x="1396" y="4651"/>
                  </a:lnTo>
                  <a:cubicBezTo>
                    <a:pt x="1504" y="4778"/>
                    <a:pt x="1622" y="4896"/>
                    <a:pt x="1749" y="5004"/>
                  </a:cubicBezTo>
                  <a:lnTo>
                    <a:pt x="676" y="6077"/>
                  </a:lnTo>
                  <a:close/>
                  <a:moveTo>
                    <a:pt x="1927" y="4827"/>
                  </a:moveTo>
                  <a:cubicBezTo>
                    <a:pt x="1799" y="4720"/>
                    <a:pt x="1681" y="4601"/>
                    <a:pt x="1573" y="4473"/>
                  </a:cubicBezTo>
                  <a:lnTo>
                    <a:pt x="1751" y="4296"/>
                  </a:lnTo>
                  <a:cubicBezTo>
                    <a:pt x="1857" y="4425"/>
                    <a:pt x="1975" y="4543"/>
                    <a:pt x="2104" y="4649"/>
                  </a:cubicBezTo>
                  <a:lnTo>
                    <a:pt x="1927" y="4827"/>
                  </a:lnTo>
                  <a:close/>
                  <a:moveTo>
                    <a:pt x="3775" y="5000"/>
                  </a:moveTo>
                  <a:cubicBezTo>
                    <a:pt x="2465" y="5000"/>
                    <a:pt x="1400" y="3935"/>
                    <a:pt x="1400" y="2625"/>
                  </a:cubicBezTo>
                  <a:cubicBezTo>
                    <a:pt x="1400" y="1315"/>
                    <a:pt x="2465" y="250"/>
                    <a:pt x="3775" y="250"/>
                  </a:cubicBezTo>
                  <a:cubicBezTo>
                    <a:pt x="5085" y="250"/>
                    <a:pt x="6150" y="1315"/>
                    <a:pt x="6150" y="2625"/>
                  </a:cubicBezTo>
                  <a:cubicBezTo>
                    <a:pt x="6150" y="3935"/>
                    <a:pt x="5085" y="5000"/>
                    <a:pt x="3775" y="500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259">
              <a:extLst>
                <a:ext uri="{FF2B5EF4-FFF2-40B4-BE49-F238E27FC236}">
                  <a16:creationId xmlns:a16="http://schemas.microsoft.com/office/drawing/2014/main" id="{2B1797FB-0426-451B-9EB6-85159CB85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8288" y="2600326"/>
              <a:ext cx="109537" cy="95250"/>
            </a:xfrm>
            <a:custGeom>
              <a:avLst/>
              <a:gdLst>
                <a:gd name="T0" fmla="*/ 790 w 825"/>
                <a:gd name="T1" fmla="*/ 80 h 721"/>
                <a:gd name="T2" fmla="*/ 619 w 825"/>
                <a:gd name="T3" fmla="*/ 35 h 721"/>
                <a:gd name="T4" fmla="*/ 44 w 825"/>
                <a:gd name="T5" fmla="*/ 515 h 721"/>
                <a:gd name="T6" fmla="*/ 59 w 825"/>
                <a:gd name="T7" fmla="*/ 691 h 721"/>
                <a:gd name="T8" fmla="*/ 140 w 825"/>
                <a:gd name="T9" fmla="*/ 721 h 721"/>
                <a:gd name="T10" fmla="*/ 235 w 825"/>
                <a:gd name="T11" fmla="*/ 676 h 721"/>
                <a:gd name="T12" fmla="*/ 744 w 825"/>
                <a:gd name="T13" fmla="*/ 251 h 721"/>
                <a:gd name="T14" fmla="*/ 790 w 825"/>
                <a:gd name="T15" fmla="*/ 80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5" h="721">
                  <a:moveTo>
                    <a:pt x="790" y="80"/>
                  </a:moveTo>
                  <a:cubicBezTo>
                    <a:pt x="756" y="21"/>
                    <a:pt x="679" y="0"/>
                    <a:pt x="619" y="35"/>
                  </a:cubicBezTo>
                  <a:cubicBezTo>
                    <a:pt x="401" y="161"/>
                    <a:pt x="207" y="322"/>
                    <a:pt x="44" y="515"/>
                  </a:cubicBezTo>
                  <a:cubicBezTo>
                    <a:pt x="0" y="567"/>
                    <a:pt x="6" y="646"/>
                    <a:pt x="59" y="691"/>
                  </a:cubicBezTo>
                  <a:cubicBezTo>
                    <a:pt x="82" y="711"/>
                    <a:pt x="111" y="721"/>
                    <a:pt x="140" y="721"/>
                  </a:cubicBezTo>
                  <a:cubicBezTo>
                    <a:pt x="175" y="721"/>
                    <a:pt x="210" y="705"/>
                    <a:pt x="235" y="676"/>
                  </a:cubicBezTo>
                  <a:cubicBezTo>
                    <a:pt x="379" y="506"/>
                    <a:pt x="551" y="363"/>
                    <a:pt x="744" y="251"/>
                  </a:cubicBezTo>
                  <a:cubicBezTo>
                    <a:pt x="804" y="217"/>
                    <a:pt x="825" y="140"/>
                    <a:pt x="790" y="8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260">
              <a:extLst>
                <a:ext uri="{FF2B5EF4-FFF2-40B4-BE49-F238E27FC236}">
                  <a16:creationId xmlns:a16="http://schemas.microsoft.com/office/drawing/2014/main" id="{3A1B89A3-3A15-4A97-A075-60F61BB8F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1300" y="2700338"/>
              <a:ext cx="36512" cy="34925"/>
            </a:xfrm>
            <a:custGeom>
              <a:avLst/>
              <a:gdLst>
                <a:gd name="T0" fmla="*/ 207 w 287"/>
                <a:gd name="T1" fmla="*/ 34 h 270"/>
                <a:gd name="T2" fmla="*/ 36 w 287"/>
                <a:gd name="T3" fmla="*/ 80 h 270"/>
                <a:gd name="T4" fmla="*/ 35 w 287"/>
                <a:gd name="T5" fmla="*/ 82 h 270"/>
                <a:gd name="T6" fmla="*/ 80 w 287"/>
                <a:gd name="T7" fmla="*/ 253 h 270"/>
                <a:gd name="T8" fmla="*/ 143 w 287"/>
                <a:gd name="T9" fmla="*/ 270 h 270"/>
                <a:gd name="T10" fmla="*/ 251 w 287"/>
                <a:gd name="T11" fmla="*/ 208 h 270"/>
                <a:gd name="T12" fmla="*/ 252 w 287"/>
                <a:gd name="T13" fmla="*/ 205 h 270"/>
                <a:gd name="T14" fmla="*/ 207 w 287"/>
                <a:gd name="T15" fmla="*/ 34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7" h="270">
                  <a:moveTo>
                    <a:pt x="207" y="34"/>
                  </a:moveTo>
                  <a:cubicBezTo>
                    <a:pt x="147" y="0"/>
                    <a:pt x="71" y="20"/>
                    <a:pt x="36" y="80"/>
                  </a:cubicBezTo>
                  <a:lnTo>
                    <a:pt x="35" y="82"/>
                  </a:lnTo>
                  <a:cubicBezTo>
                    <a:pt x="0" y="142"/>
                    <a:pt x="20" y="218"/>
                    <a:pt x="80" y="253"/>
                  </a:cubicBezTo>
                  <a:cubicBezTo>
                    <a:pt x="100" y="264"/>
                    <a:pt x="121" y="270"/>
                    <a:pt x="143" y="270"/>
                  </a:cubicBezTo>
                  <a:cubicBezTo>
                    <a:pt x="186" y="270"/>
                    <a:pt x="228" y="247"/>
                    <a:pt x="251" y="208"/>
                  </a:cubicBezTo>
                  <a:lnTo>
                    <a:pt x="252" y="205"/>
                  </a:lnTo>
                  <a:cubicBezTo>
                    <a:pt x="287" y="145"/>
                    <a:pt x="267" y="69"/>
                    <a:pt x="207" y="34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Freeform 261">
              <a:extLst>
                <a:ext uri="{FF2B5EF4-FFF2-40B4-BE49-F238E27FC236}">
                  <a16:creationId xmlns:a16="http://schemas.microsoft.com/office/drawing/2014/main" id="{96D77E03-C624-49CD-82EE-E681CD4BFA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4500" y="2935288"/>
              <a:ext cx="98425" cy="98425"/>
            </a:xfrm>
            <a:custGeom>
              <a:avLst/>
              <a:gdLst>
                <a:gd name="T0" fmla="*/ 375 w 750"/>
                <a:gd name="T1" fmla="*/ 0 h 750"/>
                <a:gd name="T2" fmla="*/ 0 w 750"/>
                <a:gd name="T3" fmla="*/ 375 h 750"/>
                <a:gd name="T4" fmla="*/ 375 w 750"/>
                <a:gd name="T5" fmla="*/ 750 h 750"/>
                <a:gd name="T6" fmla="*/ 750 w 750"/>
                <a:gd name="T7" fmla="*/ 375 h 750"/>
                <a:gd name="T8" fmla="*/ 375 w 750"/>
                <a:gd name="T9" fmla="*/ 0 h 750"/>
                <a:gd name="T10" fmla="*/ 375 w 750"/>
                <a:gd name="T11" fmla="*/ 500 h 750"/>
                <a:gd name="T12" fmla="*/ 250 w 750"/>
                <a:gd name="T13" fmla="*/ 375 h 750"/>
                <a:gd name="T14" fmla="*/ 375 w 750"/>
                <a:gd name="T15" fmla="*/ 250 h 750"/>
                <a:gd name="T16" fmla="*/ 500 w 750"/>
                <a:gd name="T17" fmla="*/ 375 h 750"/>
                <a:gd name="T18" fmla="*/ 375 w 750"/>
                <a:gd name="T19" fmla="*/ 500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0" h="750">
                  <a:moveTo>
                    <a:pt x="375" y="0"/>
                  </a:moveTo>
                  <a:cubicBezTo>
                    <a:pt x="168" y="0"/>
                    <a:pt x="0" y="168"/>
                    <a:pt x="0" y="375"/>
                  </a:cubicBezTo>
                  <a:cubicBezTo>
                    <a:pt x="0" y="582"/>
                    <a:pt x="168" y="750"/>
                    <a:pt x="375" y="750"/>
                  </a:cubicBezTo>
                  <a:cubicBezTo>
                    <a:pt x="582" y="750"/>
                    <a:pt x="750" y="582"/>
                    <a:pt x="750" y="375"/>
                  </a:cubicBezTo>
                  <a:cubicBezTo>
                    <a:pt x="750" y="168"/>
                    <a:pt x="582" y="0"/>
                    <a:pt x="375" y="0"/>
                  </a:cubicBezTo>
                  <a:close/>
                  <a:moveTo>
                    <a:pt x="375" y="500"/>
                  </a:moveTo>
                  <a:cubicBezTo>
                    <a:pt x="306" y="500"/>
                    <a:pt x="250" y="444"/>
                    <a:pt x="250" y="375"/>
                  </a:cubicBezTo>
                  <a:cubicBezTo>
                    <a:pt x="250" y="306"/>
                    <a:pt x="306" y="250"/>
                    <a:pt x="375" y="250"/>
                  </a:cubicBezTo>
                  <a:cubicBezTo>
                    <a:pt x="444" y="250"/>
                    <a:pt x="500" y="306"/>
                    <a:pt x="500" y="375"/>
                  </a:cubicBezTo>
                  <a:cubicBezTo>
                    <a:pt x="500" y="444"/>
                    <a:pt x="444" y="500"/>
                    <a:pt x="375" y="50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Freeform 262">
              <a:extLst>
                <a:ext uri="{FF2B5EF4-FFF2-40B4-BE49-F238E27FC236}">
                  <a16:creationId xmlns:a16="http://schemas.microsoft.com/office/drawing/2014/main" id="{D1DE68DC-0DDB-41CD-B46F-9757EB2095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4500" y="2673351"/>
              <a:ext cx="98425" cy="228600"/>
            </a:xfrm>
            <a:custGeom>
              <a:avLst/>
              <a:gdLst>
                <a:gd name="T0" fmla="*/ 375 w 750"/>
                <a:gd name="T1" fmla="*/ 0 h 1750"/>
                <a:gd name="T2" fmla="*/ 0 w 750"/>
                <a:gd name="T3" fmla="*/ 375 h 1750"/>
                <a:gd name="T4" fmla="*/ 0 w 750"/>
                <a:gd name="T5" fmla="*/ 1375 h 1750"/>
                <a:gd name="T6" fmla="*/ 375 w 750"/>
                <a:gd name="T7" fmla="*/ 1750 h 1750"/>
                <a:gd name="T8" fmla="*/ 750 w 750"/>
                <a:gd name="T9" fmla="*/ 1375 h 1750"/>
                <a:gd name="T10" fmla="*/ 750 w 750"/>
                <a:gd name="T11" fmla="*/ 375 h 1750"/>
                <a:gd name="T12" fmla="*/ 375 w 750"/>
                <a:gd name="T13" fmla="*/ 0 h 1750"/>
                <a:gd name="T14" fmla="*/ 500 w 750"/>
                <a:gd name="T15" fmla="*/ 1375 h 1750"/>
                <a:gd name="T16" fmla="*/ 375 w 750"/>
                <a:gd name="T17" fmla="*/ 1500 h 1750"/>
                <a:gd name="T18" fmla="*/ 250 w 750"/>
                <a:gd name="T19" fmla="*/ 1375 h 1750"/>
                <a:gd name="T20" fmla="*/ 250 w 750"/>
                <a:gd name="T21" fmla="*/ 375 h 1750"/>
                <a:gd name="T22" fmla="*/ 375 w 750"/>
                <a:gd name="T23" fmla="*/ 250 h 1750"/>
                <a:gd name="T24" fmla="*/ 500 w 750"/>
                <a:gd name="T25" fmla="*/ 375 h 1750"/>
                <a:gd name="T26" fmla="*/ 500 w 750"/>
                <a:gd name="T27" fmla="*/ 1375 h 1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50" h="1750">
                  <a:moveTo>
                    <a:pt x="375" y="0"/>
                  </a:moveTo>
                  <a:cubicBezTo>
                    <a:pt x="168" y="0"/>
                    <a:pt x="0" y="168"/>
                    <a:pt x="0" y="375"/>
                  </a:cubicBezTo>
                  <a:lnTo>
                    <a:pt x="0" y="1375"/>
                  </a:lnTo>
                  <a:cubicBezTo>
                    <a:pt x="0" y="1582"/>
                    <a:pt x="168" y="1750"/>
                    <a:pt x="375" y="1750"/>
                  </a:cubicBezTo>
                  <a:cubicBezTo>
                    <a:pt x="582" y="1750"/>
                    <a:pt x="750" y="1582"/>
                    <a:pt x="750" y="1375"/>
                  </a:cubicBezTo>
                  <a:lnTo>
                    <a:pt x="750" y="375"/>
                  </a:lnTo>
                  <a:cubicBezTo>
                    <a:pt x="750" y="168"/>
                    <a:pt x="582" y="0"/>
                    <a:pt x="375" y="0"/>
                  </a:cubicBezTo>
                  <a:close/>
                  <a:moveTo>
                    <a:pt x="500" y="1375"/>
                  </a:moveTo>
                  <a:cubicBezTo>
                    <a:pt x="500" y="1444"/>
                    <a:pt x="444" y="1500"/>
                    <a:pt x="375" y="1500"/>
                  </a:cubicBezTo>
                  <a:cubicBezTo>
                    <a:pt x="306" y="1500"/>
                    <a:pt x="250" y="1444"/>
                    <a:pt x="250" y="1375"/>
                  </a:cubicBezTo>
                  <a:lnTo>
                    <a:pt x="250" y="375"/>
                  </a:lnTo>
                  <a:cubicBezTo>
                    <a:pt x="250" y="306"/>
                    <a:pt x="306" y="250"/>
                    <a:pt x="375" y="250"/>
                  </a:cubicBezTo>
                  <a:cubicBezTo>
                    <a:pt x="444" y="250"/>
                    <a:pt x="500" y="306"/>
                    <a:pt x="500" y="375"/>
                  </a:cubicBezTo>
                  <a:lnTo>
                    <a:pt x="500" y="1375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6044FE6C-98FE-4BDF-AF9A-D82B2CEF9FD8}"/>
              </a:ext>
            </a:extLst>
          </p:cNvPr>
          <p:cNvCxnSpPr>
            <a:cxnSpLocks/>
          </p:cNvCxnSpPr>
          <p:nvPr/>
        </p:nvCxnSpPr>
        <p:spPr>
          <a:xfrm>
            <a:off x="450937" y="3564612"/>
            <a:ext cx="6262379" cy="0"/>
          </a:xfrm>
          <a:prstGeom prst="line">
            <a:avLst/>
          </a:prstGeom>
          <a:ln>
            <a:solidFill>
              <a:srgbClr val="2DDFD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525F351-8002-473E-AC7B-4F9AF043F7E3}"/>
              </a:ext>
            </a:extLst>
          </p:cNvPr>
          <p:cNvGrpSpPr/>
          <p:nvPr/>
        </p:nvGrpSpPr>
        <p:grpSpPr>
          <a:xfrm>
            <a:off x="-1" y="1667957"/>
            <a:ext cx="6713317" cy="923332"/>
            <a:chOff x="-3" y="1138806"/>
            <a:chExt cx="9575803" cy="1463040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657F44B9-617D-47A9-BEA3-07CACEC33713}"/>
                </a:ext>
              </a:extLst>
            </p:cNvPr>
            <p:cNvSpPr/>
            <p:nvPr/>
          </p:nvSpPr>
          <p:spPr>
            <a:xfrm>
              <a:off x="-3" y="1138806"/>
              <a:ext cx="1282562" cy="1463040"/>
            </a:xfrm>
            <a:prstGeom prst="rect">
              <a:avLst/>
            </a:prstGeom>
            <a:solidFill>
              <a:srgbClr val="CDF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B9F03B69-67FF-44A2-BA46-2C387EE0AC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Blur radius="3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" t="25090" r="277" b="26127"/>
            <a:stretch/>
          </p:blipFill>
          <p:spPr>
            <a:xfrm>
              <a:off x="0" y="1138806"/>
              <a:ext cx="9575800" cy="1458253"/>
            </a:xfrm>
            <a:prstGeom prst="roundRect">
              <a:avLst>
                <a:gd name="adj" fmla="val 50000"/>
              </a:avLst>
            </a:prstGeom>
          </p:spPr>
        </p:pic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F1764C83-78C6-4C12-8DDF-1BEA724BB2AF}"/>
              </a:ext>
            </a:extLst>
          </p:cNvPr>
          <p:cNvSpPr txBox="1"/>
          <p:nvPr/>
        </p:nvSpPr>
        <p:spPr>
          <a:xfrm>
            <a:off x="450937" y="1941938"/>
            <a:ext cx="557362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uz-Cyrl-UZ" sz="1400" b="1" dirty="0">
                <a:solidFill>
                  <a:srgbClr val="130A65"/>
                </a:solidFill>
              </a:rPr>
              <a:t>Мониторинг</a:t>
            </a:r>
            <a:r>
              <a:rPr lang="en-US" sz="1400" b="1" dirty="0">
                <a:solidFill>
                  <a:srgbClr val="130A65"/>
                </a:solidFill>
              </a:rPr>
              <a:t> </a:t>
            </a:r>
            <a:r>
              <a:rPr lang="ru-RU" sz="1400" b="1" dirty="0" err="1">
                <a:solidFill>
                  <a:srgbClr val="130A65"/>
                </a:solidFill>
              </a:rPr>
              <a:t>ва</a:t>
            </a:r>
            <a:r>
              <a:rPr lang="ru-RU" sz="1400" b="1" dirty="0">
                <a:solidFill>
                  <a:srgbClr val="130A65"/>
                </a:solidFill>
              </a:rPr>
              <a:t> </a:t>
            </a:r>
            <a:r>
              <a:rPr lang="ru-RU" sz="1400" b="1" dirty="0" err="1">
                <a:solidFill>
                  <a:srgbClr val="130A65"/>
                </a:solidFill>
              </a:rPr>
              <a:t>ташқи</a:t>
            </a:r>
            <a:r>
              <a:rPr lang="ru-RU" sz="1400" b="1" dirty="0">
                <a:solidFill>
                  <a:srgbClr val="130A65"/>
                </a:solidFill>
              </a:rPr>
              <a:t> </a:t>
            </a:r>
            <a:r>
              <a:rPr lang="uz-Cyrl-UZ" sz="1400" b="1" dirty="0">
                <a:solidFill>
                  <a:srgbClr val="130A65"/>
                </a:solidFill>
              </a:rPr>
              <a:t>аудит</a:t>
            </a:r>
            <a:r>
              <a:rPr lang="en-US" sz="1400" b="1" dirty="0">
                <a:solidFill>
                  <a:srgbClr val="130A65"/>
                </a:solidFill>
              </a:rPr>
              <a:t>, </a:t>
            </a:r>
            <a:r>
              <a:rPr lang="ru-RU" sz="1400" b="1" dirty="0" err="1">
                <a:solidFill>
                  <a:srgbClr val="130A65"/>
                </a:solidFill>
              </a:rPr>
              <a:t>шунингдек</a:t>
            </a:r>
            <a:r>
              <a:rPr lang="ru-RU" sz="1400" b="1" dirty="0">
                <a:solidFill>
                  <a:srgbClr val="130A65"/>
                </a:solidFill>
              </a:rPr>
              <a:t> </a:t>
            </a:r>
            <a:r>
              <a:rPr lang="ru-RU" sz="1400" b="1" dirty="0" err="1">
                <a:solidFill>
                  <a:srgbClr val="130A65"/>
                </a:solidFill>
              </a:rPr>
              <a:t>ҳужжатларни</a:t>
            </a:r>
            <a:r>
              <a:rPr lang="ru-RU" sz="1400" b="1" dirty="0">
                <a:solidFill>
                  <a:srgbClr val="130A65"/>
                </a:solidFill>
              </a:rPr>
              <a:t> </a:t>
            </a:r>
            <a:r>
              <a:rPr lang="ru-RU" sz="1400" b="1" dirty="0" err="1">
                <a:solidFill>
                  <a:srgbClr val="130A65"/>
                </a:solidFill>
              </a:rPr>
              <a:t>текшириш-бу</a:t>
            </a:r>
            <a:r>
              <a:rPr lang="ru-RU" sz="1400" b="1" dirty="0">
                <a:solidFill>
                  <a:srgbClr val="130A65"/>
                </a:solidFill>
              </a:rPr>
              <a:t> ҳуқуқбузарликларни </a:t>
            </a:r>
            <a:r>
              <a:rPr lang="ru-RU" sz="1400" b="1" dirty="0" err="1">
                <a:solidFill>
                  <a:srgbClr val="130A65"/>
                </a:solidFill>
              </a:rPr>
              <a:t>аниқлаш</a:t>
            </a:r>
            <a:r>
              <a:rPr lang="ru-RU" sz="1400" b="1" dirty="0">
                <a:solidFill>
                  <a:srgbClr val="130A65"/>
                </a:solidFill>
              </a:rPr>
              <a:t> </a:t>
            </a:r>
            <a:r>
              <a:rPr lang="ru-RU" sz="1400" b="1" dirty="0" err="1">
                <a:solidFill>
                  <a:srgbClr val="130A65"/>
                </a:solidFill>
              </a:rPr>
              <a:t>усуллари</a:t>
            </a:r>
            <a:r>
              <a:rPr lang="ru-RU" sz="1400" b="1" dirty="0">
                <a:solidFill>
                  <a:srgbClr val="130A65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2856327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47218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3C30727-BB83-4339-9887-C9477C52CC80}"/>
              </a:ext>
            </a:extLst>
          </p:cNvPr>
          <p:cNvGrpSpPr/>
          <p:nvPr/>
        </p:nvGrpSpPr>
        <p:grpSpPr>
          <a:xfrm flipH="1">
            <a:off x="4631700" y="2411988"/>
            <a:ext cx="698193" cy="3385462"/>
            <a:chOff x="5731849" y="2411988"/>
            <a:chExt cx="698193" cy="3385462"/>
          </a:xfrm>
          <a:solidFill>
            <a:schemeClr val="bg1">
              <a:lumMod val="95000"/>
            </a:schemeClr>
          </a:solidFill>
        </p:grpSpPr>
        <p:sp>
          <p:nvSpPr>
            <p:cNvPr id="4" name="Isosceles Triangle 3">
              <a:extLst>
                <a:ext uri="{FF2B5EF4-FFF2-40B4-BE49-F238E27FC236}">
                  <a16:creationId xmlns:a16="http://schemas.microsoft.com/office/drawing/2014/main" id="{197DBED3-95F1-4A67-AC66-FEF60B1E4319}"/>
                </a:ext>
              </a:extLst>
            </p:cNvPr>
            <p:cNvSpPr/>
            <p:nvPr/>
          </p:nvSpPr>
          <p:spPr>
            <a:xfrm rot="15127384">
              <a:off x="6290430" y="3396730"/>
              <a:ext cx="137457" cy="141767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Isosceles Triangle 4">
              <a:extLst>
                <a:ext uri="{FF2B5EF4-FFF2-40B4-BE49-F238E27FC236}">
                  <a16:creationId xmlns:a16="http://schemas.microsoft.com/office/drawing/2014/main" id="{A0F7AF73-C58A-4E62-93C4-E0410CF4C8D3}"/>
                </a:ext>
              </a:extLst>
            </p:cNvPr>
            <p:cNvSpPr/>
            <p:nvPr/>
          </p:nvSpPr>
          <p:spPr>
            <a:xfrm rot="13371320">
              <a:off x="5731850" y="2411988"/>
              <a:ext cx="184907" cy="46794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Isosceles Triangle 5">
              <a:extLst>
                <a:ext uri="{FF2B5EF4-FFF2-40B4-BE49-F238E27FC236}">
                  <a16:creationId xmlns:a16="http://schemas.microsoft.com/office/drawing/2014/main" id="{412B025A-5BB6-43DC-9FDF-8A163F87EAA8}"/>
                </a:ext>
              </a:extLst>
            </p:cNvPr>
            <p:cNvSpPr/>
            <p:nvPr/>
          </p:nvSpPr>
          <p:spPr>
            <a:xfrm rot="8228680" flipV="1">
              <a:off x="5731849" y="5329510"/>
              <a:ext cx="184907" cy="46794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Isosceles Triangle 6">
              <a:extLst>
                <a:ext uri="{FF2B5EF4-FFF2-40B4-BE49-F238E27FC236}">
                  <a16:creationId xmlns:a16="http://schemas.microsoft.com/office/drawing/2014/main" id="{201CA032-8979-499A-A204-E3380425F924}"/>
                </a:ext>
              </a:extLst>
            </p:cNvPr>
            <p:cNvSpPr/>
            <p:nvPr/>
          </p:nvSpPr>
          <p:spPr>
            <a:xfrm rot="6472616" flipV="1">
              <a:off x="6290430" y="4642218"/>
              <a:ext cx="137457" cy="141767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3389B75E-97B7-4E5A-A378-56D3770D01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367030"/>
            <a:ext cx="11310136" cy="434975"/>
          </a:xfrm>
        </p:spPr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тизим</a:t>
            </a:r>
            <a:r>
              <a:rPr lang="ru-RU" dirty="0"/>
              <a:t> (8 та элемент)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5833A39-91E8-4BB7-8268-6D570D69718E}"/>
              </a:ext>
            </a:extLst>
          </p:cNvPr>
          <p:cNvGrpSpPr/>
          <p:nvPr/>
        </p:nvGrpSpPr>
        <p:grpSpPr>
          <a:xfrm>
            <a:off x="4809289" y="2807291"/>
            <a:ext cx="2573422" cy="2573422"/>
            <a:chOff x="3666289" y="2253686"/>
            <a:chExt cx="2573422" cy="2573422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F58C24CA-E7D0-4418-BCA5-F99427630441}"/>
                </a:ext>
              </a:extLst>
            </p:cNvPr>
            <p:cNvGrpSpPr/>
            <p:nvPr/>
          </p:nvGrpSpPr>
          <p:grpSpPr>
            <a:xfrm>
              <a:off x="3809939" y="2392326"/>
              <a:ext cx="2286000" cy="2286000"/>
              <a:chOff x="3809939" y="2392326"/>
              <a:chExt cx="2286000" cy="2286000"/>
            </a:xfrm>
          </p:grpSpPr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66F07C83-6AC8-43E7-BB23-D2EEDA5BB311}"/>
                  </a:ext>
                </a:extLst>
              </p:cNvPr>
              <p:cNvSpPr/>
              <p:nvPr/>
            </p:nvSpPr>
            <p:spPr>
              <a:xfrm>
                <a:off x="3809939" y="2392326"/>
                <a:ext cx="2286000" cy="22860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lumMod val="95000"/>
                    </a:schemeClr>
                  </a:gs>
                  <a:gs pos="100000">
                    <a:srgbClr val="E4E4EF"/>
                  </a:gs>
                </a:gsLst>
                <a:lin ang="2700000" scaled="1"/>
                <a:tileRect/>
              </a:gradFill>
              <a:ln>
                <a:solidFill>
                  <a:srgbClr val="1BD7D3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>
                  <a:spcAft>
                    <a:spcPts val="1200"/>
                  </a:spcAft>
                </a:pPr>
                <a:endParaRPr lang="en-US" sz="1400" b="1" dirty="0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0A2A15BC-500E-4B21-9B18-3FB1005EFF03}"/>
                  </a:ext>
                </a:extLst>
              </p:cNvPr>
              <p:cNvSpPr/>
              <p:nvPr/>
            </p:nvSpPr>
            <p:spPr>
              <a:xfrm>
                <a:off x="4040908" y="2801567"/>
                <a:ext cx="1824062" cy="523220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0" rIns="0" anchor="ctr">
                <a:spAutoFit/>
              </a:bodyPr>
              <a:lstStyle/>
              <a:p>
                <a:pPr algn="ctr"/>
                <a:r>
                  <a:rPr lang="ru-RU" sz="1400" b="1" dirty="0">
                    <a:solidFill>
                      <a:srgbClr val="3A07DF"/>
                    </a:solidFill>
                  </a:rPr>
                  <a:t>Коррупцияга </a:t>
                </a:r>
                <a:r>
                  <a:rPr lang="ru-RU" sz="1400" b="1" dirty="0" err="1">
                    <a:solidFill>
                      <a:srgbClr val="3A07DF"/>
                    </a:solidFill>
                  </a:rPr>
                  <a:t>қарши</a:t>
                </a:r>
                <a:r>
                  <a:rPr lang="ru-RU" sz="1400" b="1" dirty="0">
                    <a:solidFill>
                      <a:srgbClr val="3A07DF"/>
                    </a:solidFill>
                  </a:rPr>
                  <a:t> </a:t>
                </a:r>
                <a:r>
                  <a:rPr lang="ru-RU" sz="1400" b="1" dirty="0" err="1">
                    <a:solidFill>
                      <a:srgbClr val="3A07DF"/>
                    </a:solidFill>
                  </a:rPr>
                  <a:t>тизим</a:t>
                </a:r>
                <a:r>
                  <a:rPr lang="ru-RU" sz="1400" b="1" dirty="0">
                    <a:solidFill>
                      <a:srgbClr val="3A07DF"/>
                    </a:solidFill>
                  </a:rPr>
                  <a:t> </a:t>
                </a:r>
              </a:p>
            </p:txBody>
          </p:sp>
        </p:grp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A49A8223-24CA-454F-AAE8-946B36101013}"/>
                </a:ext>
              </a:extLst>
            </p:cNvPr>
            <p:cNvSpPr/>
            <p:nvPr/>
          </p:nvSpPr>
          <p:spPr>
            <a:xfrm>
              <a:off x="3666289" y="2253686"/>
              <a:ext cx="2573422" cy="2573422"/>
            </a:xfrm>
            <a:prstGeom prst="ellipse">
              <a:avLst/>
            </a:prstGeom>
            <a:noFill/>
            <a:ln>
              <a:solidFill>
                <a:srgbClr val="1BD7D3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999AA9A-A4E0-42E1-9608-568EF2A3CD6C}"/>
              </a:ext>
            </a:extLst>
          </p:cNvPr>
          <p:cNvSpPr/>
          <p:nvPr/>
        </p:nvSpPr>
        <p:spPr>
          <a:xfrm>
            <a:off x="6996114" y="5546948"/>
            <a:ext cx="4752974" cy="726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2000" tIns="54000" rIns="0" bIns="54000" rtlCol="0" anchor="ctr"/>
          <a:lstStyle/>
          <a:p>
            <a:r>
              <a:rPr lang="ru-RU" sz="1400" dirty="0">
                <a:solidFill>
                  <a:schemeClr val="tx2"/>
                </a:solidFill>
              </a:rPr>
              <a:t>Коррупцияга </a:t>
            </a:r>
            <a:r>
              <a:rPr lang="ru-RU" sz="1400" dirty="0" err="1">
                <a:solidFill>
                  <a:schemeClr val="tx2"/>
                </a:solidFill>
              </a:rPr>
              <a:t>қар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ураш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дастур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мал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шир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съул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инмалар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вжудлиги</a:t>
            </a:r>
            <a:endParaRPr lang="ru-RU" sz="1400" dirty="0">
              <a:solidFill>
                <a:schemeClr val="tx2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FC996DB-533B-4528-9FEB-E6A2FAA8276C}"/>
              </a:ext>
            </a:extLst>
          </p:cNvPr>
          <p:cNvSpPr/>
          <p:nvPr/>
        </p:nvSpPr>
        <p:spPr>
          <a:xfrm>
            <a:off x="7087344" y="5597748"/>
            <a:ext cx="625250" cy="625250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E4E4EF"/>
              </a:gs>
            </a:gsLst>
            <a:lin ang="27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spcAft>
                <a:spcPts val="1200"/>
              </a:spcAft>
            </a:pPr>
            <a:endParaRPr lang="en-US" sz="1400" b="1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70720F9-83C5-468A-95FF-8F4A1821F849}"/>
              </a:ext>
            </a:extLst>
          </p:cNvPr>
          <p:cNvGrpSpPr/>
          <p:nvPr/>
        </p:nvGrpSpPr>
        <p:grpSpPr>
          <a:xfrm>
            <a:off x="7526362" y="4389571"/>
            <a:ext cx="4222726" cy="726853"/>
            <a:chOff x="6383361" y="3873386"/>
            <a:chExt cx="4222726" cy="726853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8C5234F7-BD37-43C3-B8DE-9675F33A5AFC}"/>
                </a:ext>
              </a:extLst>
            </p:cNvPr>
            <p:cNvSpPr/>
            <p:nvPr/>
          </p:nvSpPr>
          <p:spPr>
            <a:xfrm>
              <a:off x="6383361" y="3873386"/>
              <a:ext cx="4222726" cy="726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92000" tIns="54000" rIns="0" bIns="54000" rtlCol="0" anchor="ctr"/>
            <a:lstStyle/>
            <a:p>
              <a:r>
                <a:rPr lang="ru-RU" sz="1400" dirty="0" err="1">
                  <a:solidFill>
                    <a:schemeClr val="tx2"/>
                  </a:solidFill>
                </a:rPr>
                <a:t>Коррупциявий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хавф-хатарларин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идентификациялаш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в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баҳолаш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257CF644-259E-4F04-9CBD-4B9010A3F0A6}"/>
                </a:ext>
              </a:extLst>
            </p:cNvPr>
            <p:cNvSpPr/>
            <p:nvPr/>
          </p:nvSpPr>
          <p:spPr>
            <a:xfrm>
              <a:off x="6474592" y="3924187"/>
              <a:ext cx="625250" cy="62525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E4E4EF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spcAft>
                  <a:spcPts val="1200"/>
                </a:spcAft>
              </a:pPr>
              <a:endParaRPr lang="en-US" sz="14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6387BE8-BD29-49C4-8028-7B1D733118EE}"/>
              </a:ext>
            </a:extLst>
          </p:cNvPr>
          <p:cNvGrpSpPr/>
          <p:nvPr/>
        </p:nvGrpSpPr>
        <p:grpSpPr>
          <a:xfrm>
            <a:off x="7526362" y="3071580"/>
            <a:ext cx="4215773" cy="726853"/>
            <a:chOff x="6383361" y="2484207"/>
            <a:chExt cx="4215773" cy="726853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35D989E0-2784-4BB4-B9F5-7AC048CF5F52}"/>
                </a:ext>
              </a:extLst>
            </p:cNvPr>
            <p:cNvSpPr/>
            <p:nvPr/>
          </p:nvSpPr>
          <p:spPr>
            <a:xfrm>
              <a:off x="6383361" y="2484207"/>
              <a:ext cx="4215773" cy="726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92000" tIns="54000" rIns="0" bIns="54000" rtlCol="0" anchor="ctr"/>
            <a:lstStyle/>
            <a:p>
              <a:r>
                <a:rPr lang="ru-RU" sz="1400" dirty="0">
                  <a:solidFill>
                    <a:schemeClr val="tx2"/>
                  </a:solidFill>
                </a:rPr>
                <a:t>«</a:t>
              </a:r>
              <a:r>
                <a:rPr lang="ru-RU" sz="1400" dirty="0" err="1">
                  <a:solidFill>
                    <a:schemeClr val="tx2"/>
                  </a:solidFill>
                </a:rPr>
                <a:t>Юқоридан</a:t>
              </a:r>
              <a:r>
                <a:rPr lang="ru-RU" sz="1400" dirty="0">
                  <a:solidFill>
                    <a:schemeClr val="tx2"/>
                  </a:solidFill>
                </a:rPr>
                <a:t> о</a:t>
              </a:r>
              <a:r>
                <a:rPr lang="uz-Cyrl-UZ" sz="1400" dirty="0">
                  <a:solidFill>
                    <a:schemeClr val="tx2"/>
                  </a:solidFill>
                </a:rPr>
                <a:t>ҳанг</a:t>
              </a:r>
              <a:r>
                <a:rPr lang="ru-RU" sz="1400" dirty="0">
                  <a:solidFill>
                    <a:schemeClr val="tx2"/>
                  </a:solidFill>
                </a:rPr>
                <a:t>• 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682EE27-9EE7-4B93-AA36-EE3BEFDBA8DC}"/>
                </a:ext>
              </a:extLst>
            </p:cNvPr>
            <p:cNvSpPr/>
            <p:nvPr/>
          </p:nvSpPr>
          <p:spPr>
            <a:xfrm>
              <a:off x="6474592" y="2535008"/>
              <a:ext cx="625250" cy="62525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E4E4EF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spcAft>
                  <a:spcPts val="1200"/>
                </a:spcAft>
              </a:pPr>
              <a:endParaRPr lang="en-US" sz="14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5AE1E40-9EEA-41EA-A92F-66DAEA7B76CA}"/>
              </a:ext>
            </a:extLst>
          </p:cNvPr>
          <p:cNvGrpSpPr/>
          <p:nvPr/>
        </p:nvGrpSpPr>
        <p:grpSpPr>
          <a:xfrm>
            <a:off x="6473743" y="2750870"/>
            <a:ext cx="939857" cy="2648986"/>
            <a:chOff x="5330742" y="2288456"/>
            <a:chExt cx="939857" cy="2648986"/>
          </a:xfrm>
          <a:solidFill>
            <a:srgbClr val="1BD7D3"/>
          </a:solidFill>
        </p:grpSpPr>
        <p:sp>
          <p:nvSpPr>
            <p:cNvPr id="26" name="Oval 13">
              <a:extLst>
                <a:ext uri="{FF2B5EF4-FFF2-40B4-BE49-F238E27FC236}">
                  <a16:creationId xmlns:a16="http://schemas.microsoft.com/office/drawing/2014/main" id="{9BA35BB3-E47A-406A-9C65-B66C8598839A}"/>
                </a:ext>
              </a:extLst>
            </p:cNvPr>
            <p:cNvSpPr/>
            <p:nvPr/>
          </p:nvSpPr>
          <p:spPr>
            <a:xfrm>
              <a:off x="5330742" y="2288456"/>
              <a:ext cx="349321" cy="349321"/>
            </a:xfrm>
            <a:prstGeom prst="ellipse">
              <a:avLst/>
            </a:prstGeom>
            <a:grpFill/>
            <a:ln w="31750">
              <a:solidFill>
                <a:schemeClr val="bg1"/>
              </a:solidFill>
            </a:ln>
            <a:effectLst>
              <a:outerShdw blurRad="50800" dist="38100" dir="2700000" algn="tl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200" b="1" dirty="0"/>
                <a:t>01</a:t>
              </a:r>
              <a:endParaRPr lang="en-US" sz="1400" b="1" dirty="0"/>
            </a:p>
          </p:txBody>
        </p:sp>
        <p:sp>
          <p:nvSpPr>
            <p:cNvPr id="27" name="Oval 13">
              <a:extLst>
                <a:ext uri="{FF2B5EF4-FFF2-40B4-BE49-F238E27FC236}">
                  <a16:creationId xmlns:a16="http://schemas.microsoft.com/office/drawing/2014/main" id="{7B201014-A033-4567-93CB-1F547C3F816B}"/>
                </a:ext>
              </a:extLst>
            </p:cNvPr>
            <p:cNvSpPr/>
            <p:nvPr/>
          </p:nvSpPr>
          <p:spPr>
            <a:xfrm>
              <a:off x="5921278" y="2874538"/>
              <a:ext cx="349321" cy="349321"/>
            </a:xfrm>
            <a:prstGeom prst="ellipse">
              <a:avLst/>
            </a:prstGeom>
            <a:grpFill/>
            <a:ln w="31750">
              <a:solidFill>
                <a:schemeClr val="bg1"/>
              </a:solidFill>
            </a:ln>
            <a:effectLst>
              <a:outerShdw blurRad="50800" dist="38100" dir="2700000" algn="tl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200" b="1" dirty="0"/>
                <a:t>02</a:t>
              </a:r>
              <a:endParaRPr lang="en-US" sz="1400" b="1" dirty="0"/>
            </a:p>
          </p:txBody>
        </p:sp>
        <p:sp>
          <p:nvSpPr>
            <p:cNvPr id="28" name="Oval 13">
              <a:extLst>
                <a:ext uri="{FF2B5EF4-FFF2-40B4-BE49-F238E27FC236}">
                  <a16:creationId xmlns:a16="http://schemas.microsoft.com/office/drawing/2014/main" id="{8F88BBB0-B159-4067-9798-4C35D5CEC9A6}"/>
                </a:ext>
              </a:extLst>
            </p:cNvPr>
            <p:cNvSpPr/>
            <p:nvPr/>
          </p:nvSpPr>
          <p:spPr>
            <a:xfrm>
              <a:off x="5921278" y="4022783"/>
              <a:ext cx="349321" cy="349321"/>
            </a:xfrm>
            <a:prstGeom prst="ellipse">
              <a:avLst/>
            </a:prstGeom>
            <a:grpFill/>
            <a:ln w="31750">
              <a:solidFill>
                <a:schemeClr val="bg1"/>
              </a:solidFill>
            </a:ln>
            <a:effectLst>
              <a:outerShdw blurRad="50800" dist="38100" dir="2700000" algn="tl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200" b="1" dirty="0"/>
                <a:t>03</a:t>
              </a:r>
              <a:endParaRPr lang="en-US" sz="1400" b="1" dirty="0"/>
            </a:p>
          </p:txBody>
        </p:sp>
        <p:sp>
          <p:nvSpPr>
            <p:cNvPr id="29" name="Oval 13">
              <a:extLst>
                <a:ext uri="{FF2B5EF4-FFF2-40B4-BE49-F238E27FC236}">
                  <a16:creationId xmlns:a16="http://schemas.microsoft.com/office/drawing/2014/main" id="{6DC3126B-2D22-4CCB-9CB6-3A6E574ECDE1}"/>
                </a:ext>
              </a:extLst>
            </p:cNvPr>
            <p:cNvSpPr/>
            <p:nvPr/>
          </p:nvSpPr>
          <p:spPr>
            <a:xfrm>
              <a:off x="5337478" y="4601594"/>
              <a:ext cx="335850" cy="335848"/>
            </a:xfrm>
            <a:prstGeom prst="ellipse">
              <a:avLst/>
            </a:prstGeom>
            <a:solidFill>
              <a:srgbClr val="1BD7D3"/>
            </a:solidFill>
            <a:ln w="31750">
              <a:solidFill>
                <a:schemeClr val="bg1"/>
              </a:solidFill>
            </a:ln>
            <a:effectLst>
              <a:outerShdw blurRad="50800" dist="38100" dir="2700000" algn="tl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200" b="1" dirty="0"/>
                <a:t>04</a:t>
              </a:r>
              <a:endParaRPr lang="en-US" sz="1400" b="1" dirty="0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E25E16F-0389-485D-A0B6-4505F364098E}"/>
              </a:ext>
            </a:extLst>
          </p:cNvPr>
          <p:cNvGrpSpPr/>
          <p:nvPr/>
        </p:nvGrpSpPr>
        <p:grpSpPr>
          <a:xfrm flipH="1">
            <a:off x="242575" y="1878363"/>
            <a:ext cx="4951017" cy="726853"/>
            <a:chOff x="5655072" y="1291174"/>
            <a:chExt cx="4951017" cy="726853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6CE22EF8-A6D0-4756-BF55-932C53FF2674}"/>
                </a:ext>
              </a:extLst>
            </p:cNvPr>
            <p:cNvSpPr/>
            <p:nvPr/>
          </p:nvSpPr>
          <p:spPr>
            <a:xfrm>
              <a:off x="5853113" y="1291174"/>
              <a:ext cx="4752976" cy="726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0" bIns="54000" rtlCol="0" anchor="ctr"/>
            <a:lstStyle/>
            <a:p>
              <a:r>
                <a:rPr lang="ru-RU" sz="1400" dirty="0" err="1">
                  <a:solidFill>
                    <a:schemeClr val="tx2"/>
                  </a:solidFill>
                </a:rPr>
                <a:t>Идентификацияланган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ҳавф-хатарларн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минималлаштирувчи</a:t>
              </a:r>
              <a:r>
                <a:rPr lang="ru-RU" sz="1400" dirty="0">
                  <a:solidFill>
                    <a:schemeClr val="tx2"/>
                  </a:solidFill>
                </a:rPr>
                <a:t> коррупцияга </a:t>
              </a:r>
              <a:r>
                <a:rPr lang="ru-RU" sz="1400" dirty="0" err="1">
                  <a:solidFill>
                    <a:schemeClr val="tx2"/>
                  </a:solidFill>
                </a:rPr>
                <a:t>қарш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чора-тадбирлар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AF90019F-ECE4-48C6-A425-4EED29963E29}"/>
                </a:ext>
              </a:extLst>
            </p:cNvPr>
            <p:cNvSpPr/>
            <p:nvPr/>
          </p:nvSpPr>
          <p:spPr>
            <a:xfrm>
              <a:off x="5655072" y="1341975"/>
              <a:ext cx="625250" cy="62525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E4E4EF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spcAft>
                  <a:spcPts val="1200"/>
                </a:spcAft>
              </a:pPr>
              <a:endParaRPr lang="en-US" sz="14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9A0EE731-3F1B-43B5-ACED-182D000CAD4B}"/>
              </a:ext>
            </a:extLst>
          </p:cNvPr>
          <p:cNvGrpSpPr/>
          <p:nvPr/>
        </p:nvGrpSpPr>
        <p:grpSpPr>
          <a:xfrm flipH="1">
            <a:off x="372453" y="5496145"/>
            <a:ext cx="4752975" cy="726853"/>
            <a:chOff x="5853114" y="5245148"/>
            <a:chExt cx="4752975" cy="726853"/>
          </a:xfrm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AB486407-7A7B-484D-9FE5-24271B2F9DF1}"/>
                </a:ext>
              </a:extLst>
            </p:cNvPr>
            <p:cNvSpPr/>
            <p:nvPr/>
          </p:nvSpPr>
          <p:spPr>
            <a:xfrm>
              <a:off x="5853114" y="5245148"/>
              <a:ext cx="4752975" cy="726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0" bIns="54000" rtlCol="0" anchor="ctr"/>
            <a:lstStyle/>
            <a:p>
              <a:r>
                <a:rPr lang="ru-RU" sz="1400" dirty="0">
                  <a:solidFill>
                    <a:schemeClr val="tx2"/>
                  </a:solidFill>
                </a:rPr>
                <a:t>Ахборот </a:t>
              </a:r>
              <a:r>
                <a:rPr lang="ru-RU" sz="1400" dirty="0" err="1">
                  <a:solidFill>
                    <a:schemeClr val="tx2"/>
                  </a:solidFill>
                </a:rPr>
                <a:t>бериш</a:t>
              </a:r>
              <a:r>
                <a:rPr lang="ru-RU" sz="1400" dirty="0">
                  <a:solidFill>
                    <a:schemeClr val="tx2"/>
                  </a:solidFill>
                </a:rPr>
                <a:t>, коммуникация</a:t>
              </a:r>
            </a:p>
            <a:p>
              <a:r>
                <a:rPr lang="ru-RU" sz="1400" dirty="0" err="1">
                  <a:solidFill>
                    <a:schemeClr val="tx2"/>
                  </a:solidFill>
                </a:rPr>
                <a:t>в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маслахат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D7D93023-7355-4D38-ACEB-1652B16EA3BE}"/>
                </a:ext>
              </a:extLst>
            </p:cNvPr>
            <p:cNvSpPr/>
            <p:nvPr/>
          </p:nvSpPr>
          <p:spPr>
            <a:xfrm>
              <a:off x="5944344" y="5295949"/>
              <a:ext cx="625250" cy="62525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E4E4EF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spcAft>
                  <a:spcPts val="1200"/>
                </a:spcAft>
              </a:pPr>
              <a:endParaRPr lang="en-US" sz="14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9CF83EB-BD8B-494C-99D8-4CA49617FC25}"/>
              </a:ext>
            </a:extLst>
          </p:cNvPr>
          <p:cNvGrpSpPr/>
          <p:nvPr/>
        </p:nvGrpSpPr>
        <p:grpSpPr>
          <a:xfrm flipH="1">
            <a:off x="431999" y="4389571"/>
            <a:ext cx="4231346" cy="726853"/>
            <a:chOff x="6383361" y="3873386"/>
            <a:chExt cx="4231346" cy="726853"/>
          </a:xfrm>
        </p:grpSpPr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198BF46F-4173-4C6C-B9CC-BCA21B2B2D9B}"/>
                </a:ext>
              </a:extLst>
            </p:cNvPr>
            <p:cNvSpPr/>
            <p:nvPr/>
          </p:nvSpPr>
          <p:spPr>
            <a:xfrm>
              <a:off x="6383361" y="3873386"/>
              <a:ext cx="4231346" cy="726853"/>
            </a:xfrm>
            <a:prstGeom prst="roundRect">
              <a:avLst>
                <a:gd name="adj" fmla="val 50000"/>
              </a:avLst>
            </a:prstGeom>
            <a:solidFill>
              <a:srgbClr val="B1C7F7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0" bIns="54000" rtlCol="0" anchor="ctr"/>
            <a:lstStyle/>
            <a:p>
              <a:r>
                <a:rPr lang="ru-RU" sz="1400" b="1" dirty="0">
                  <a:solidFill>
                    <a:schemeClr val="tx2"/>
                  </a:solidFill>
                </a:rPr>
                <a:t>Коррупцияга </a:t>
              </a:r>
              <a:r>
                <a:rPr lang="ru-RU" sz="1400" b="1" dirty="0" err="1">
                  <a:solidFill>
                    <a:schemeClr val="tx2"/>
                  </a:solidFill>
                </a:rPr>
                <a:t>қарши</a:t>
              </a:r>
              <a:r>
                <a:rPr lang="ru-RU" sz="1400" b="1" dirty="0">
                  <a:solidFill>
                    <a:schemeClr val="tx2"/>
                  </a:solidFill>
                </a:rPr>
                <a:t> </a:t>
              </a:r>
              <a:r>
                <a:rPr lang="ru-RU" sz="1400" b="1" dirty="0" err="1">
                  <a:solidFill>
                    <a:schemeClr val="tx2"/>
                  </a:solidFill>
                </a:rPr>
                <a:t>курашиш</a:t>
              </a:r>
              <a:r>
                <a:rPr lang="ru-RU" sz="1400" b="1" dirty="0">
                  <a:solidFill>
                    <a:schemeClr val="tx2"/>
                  </a:solidFill>
                </a:rPr>
                <a:t> </a:t>
              </a:r>
            </a:p>
            <a:p>
              <a:r>
                <a:rPr lang="ru-RU" sz="1400" b="1" dirty="0" err="1">
                  <a:solidFill>
                    <a:schemeClr val="tx2"/>
                  </a:solidFill>
                </a:rPr>
                <a:t>масалалари</a:t>
              </a:r>
              <a:r>
                <a:rPr lang="ru-RU" sz="1400" b="1" dirty="0">
                  <a:solidFill>
                    <a:schemeClr val="tx2"/>
                  </a:solidFill>
                </a:rPr>
                <a:t> </a:t>
              </a:r>
              <a:r>
                <a:rPr lang="ru-RU" sz="1400" b="1" dirty="0" err="1">
                  <a:solidFill>
                    <a:schemeClr val="tx2"/>
                  </a:solidFill>
                </a:rPr>
                <a:t>бўйича</a:t>
              </a:r>
              <a:r>
                <a:rPr lang="ru-RU" sz="1400" b="1" dirty="0">
                  <a:solidFill>
                    <a:schemeClr val="tx2"/>
                  </a:solidFill>
                </a:rPr>
                <a:t> мониторинг, </a:t>
              </a:r>
              <a:r>
                <a:rPr lang="ru-RU" sz="1400" b="1" dirty="0" err="1">
                  <a:solidFill>
                    <a:schemeClr val="tx2"/>
                  </a:solidFill>
                </a:rPr>
                <a:t>назорат</a:t>
              </a:r>
              <a:r>
                <a:rPr lang="ru-RU" sz="1400" b="1" dirty="0">
                  <a:solidFill>
                    <a:schemeClr val="tx2"/>
                  </a:solidFill>
                </a:rPr>
                <a:t> </a:t>
              </a:r>
              <a:r>
                <a:rPr lang="ru-RU" sz="1400" b="1" dirty="0" err="1">
                  <a:solidFill>
                    <a:schemeClr val="tx2"/>
                  </a:solidFill>
                </a:rPr>
                <a:t>ва</a:t>
              </a:r>
              <a:r>
                <a:rPr lang="ru-RU" sz="1400" b="1" dirty="0">
                  <a:solidFill>
                    <a:schemeClr val="tx2"/>
                  </a:solidFill>
                </a:rPr>
                <a:t> </a:t>
              </a:r>
              <a:r>
                <a:rPr lang="ru-RU" sz="1400" b="1" dirty="0" err="1">
                  <a:solidFill>
                    <a:schemeClr val="tx2"/>
                  </a:solidFill>
                </a:rPr>
                <a:t>ҳисобот</a:t>
              </a:r>
              <a:r>
                <a:rPr lang="ru-RU" sz="1400" b="1" dirty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3E4587B9-F1EC-4737-AFE5-337C6EDCE71C}"/>
                </a:ext>
              </a:extLst>
            </p:cNvPr>
            <p:cNvSpPr/>
            <p:nvPr/>
          </p:nvSpPr>
          <p:spPr>
            <a:xfrm>
              <a:off x="6474592" y="3924187"/>
              <a:ext cx="625250" cy="62525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spcAft>
                  <a:spcPts val="1200"/>
                </a:spcAft>
              </a:pPr>
              <a:endParaRPr lang="en-US" sz="14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6D3754D5-6288-41DA-BB86-B35E50B8AB58}"/>
              </a:ext>
            </a:extLst>
          </p:cNvPr>
          <p:cNvGrpSpPr/>
          <p:nvPr/>
        </p:nvGrpSpPr>
        <p:grpSpPr>
          <a:xfrm flipH="1">
            <a:off x="431997" y="3071580"/>
            <a:ext cx="4231347" cy="726853"/>
            <a:chOff x="6383362" y="2484207"/>
            <a:chExt cx="4231347" cy="726853"/>
          </a:xfrm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C9341EDF-C46E-4DDF-B38C-01747878923C}"/>
                </a:ext>
              </a:extLst>
            </p:cNvPr>
            <p:cNvSpPr/>
            <p:nvPr/>
          </p:nvSpPr>
          <p:spPr>
            <a:xfrm>
              <a:off x="6383362" y="2484207"/>
              <a:ext cx="4231347" cy="726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0" bIns="54000" rtlCol="0" anchor="ctr"/>
            <a:lstStyle/>
            <a:p>
              <a:r>
                <a:rPr lang="ru-RU" sz="1400" dirty="0">
                  <a:solidFill>
                    <a:schemeClr val="tx2"/>
                  </a:solidFill>
                </a:rPr>
                <a:t>Аниқланган </a:t>
              </a:r>
              <a:r>
                <a:rPr lang="ru-RU" sz="1400" dirty="0" err="1">
                  <a:solidFill>
                    <a:schemeClr val="tx2"/>
                  </a:solidFill>
                </a:rPr>
                <a:t>ҳуқуқбузарликларг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</a:p>
            <a:p>
              <a:r>
                <a:rPr lang="ru-RU" sz="1400" dirty="0" err="1">
                  <a:solidFill>
                    <a:schemeClr val="tx2"/>
                  </a:solidFill>
                </a:rPr>
                <a:t>муносабат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билдириш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в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жавобгарликка</a:t>
              </a:r>
              <a:r>
                <a:rPr lang="ru-RU" sz="1400" dirty="0">
                  <a:solidFill>
                    <a:schemeClr val="tx2"/>
                  </a:solidFill>
                </a:rPr>
                <a:t>  </a:t>
              </a:r>
              <a:r>
                <a:rPr lang="ru-RU" sz="1400" dirty="0" err="1">
                  <a:solidFill>
                    <a:schemeClr val="tx2"/>
                  </a:solidFill>
                </a:rPr>
                <a:t>тортиш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BA8B405-69CA-4333-95D5-33DB8E7DFAA4}"/>
                </a:ext>
              </a:extLst>
            </p:cNvPr>
            <p:cNvSpPr/>
            <p:nvPr/>
          </p:nvSpPr>
          <p:spPr>
            <a:xfrm>
              <a:off x="6474592" y="2535008"/>
              <a:ext cx="625250" cy="62525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E4E4EF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spcAft>
                  <a:spcPts val="1200"/>
                </a:spcAft>
              </a:pPr>
              <a:endParaRPr lang="en-US" sz="14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4817B1D9-D060-49BD-9B79-E668538E0E12}"/>
              </a:ext>
            </a:extLst>
          </p:cNvPr>
          <p:cNvGrpSpPr/>
          <p:nvPr/>
        </p:nvGrpSpPr>
        <p:grpSpPr>
          <a:xfrm flipH="1">
            <a:off x="4672178" y="2750870"/>
            <a:ext cx="1043786" cy="2655722"/>
            <a:chOff x="5330742" y="2288456"/>
            <a:chExt cx="1043786" cy="2655722"/>
          </a:xfrm>
          <a:solidFill>
            <a:srgbClr val="1BD7D3"/>
          </a:solidFill>
        </p:grpSpPr>
        <p:sp>
          <p:nvSpPr>
            <p:cNvPr id="43" name="Oval 13">
              <a:extLst>
                <a:ext uri="{FF2B5EF4-FFF2-40B4-BE49-F238E27FC236}">
                  <a16:creationId xmlns:a16="http://schemas.microsoft.com/office/drawing/2014/main" id="{153F8834-026A-419A-AC3B-B195D079D2D7}"/>
                </a:ext>
              </a:extLst>
            </p:cNvPr>
            <p:cNvSpPr/>
            <p:nvPr/>
          </p:nvSpPr>
          <p:spPr>
            <a:xfrm>
              <a:off x="5330742" y="2288456"/>
              <a:ext cx="349321" cy="349321"/>
            </a:xfrm>
            <a:prstGeom prst="ellipse">
              <a:avLst/>
            </a:prstGeom>
            <a:grpFill/>
            <a:ln w="31750">
              <a:solidFill>
                <a:schemeClr val="bg1"/>
              </a:solidFill>
            </a:ln>
            <a:effectLst>
              <a:outerShdw blurRad="50800" dist="38100" dir="2700000" algn="tl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200" b="1" dirty="0"/>
                <a:t>08</a:t>
              </a:r>
              <a:endParaRPr lang="en-US" sz="1400" b="1" dirty="0"/>
            </a:p>
          </p:txBody>
        </p:sp>
        <p:sp>
          <p:nvSpPr>
            <p:cNvPr id="44" name="Oval 13">
              <a:extLst>
                <a:ext uri="{FF2B5EF4-FFF2-40B4-BE49-F238E27FC236}">
                  <a16:creationId xmlns:a16="http://schemas.microsoft.com/office/drawing/2014/main" id="{41E2A964-1D66-4193-9F9F-7D2F18C43427}"/>
                </a:ext>
              </a:extLst>
            </p:cNvPr>
            <p:cNvSpPr/>
            <p:nvPr/>
          </p:nvSpPr>
          <p:spPr>
            <a:xfrm>
              <a:off x="5921278" y="2874538"/>
              <a:ext cx="349321" cy="349321"/>
            </a:xfrm>
            <a:prstGeom prst="ellipse">
              <a:avLst/>
            </a:prstGeom>
            <a:grpFill/>
            <a:ln w="31750">
              <a:solidFill>
                <a:schemeClr val="bg1"/>
              </a:solidFill>
            </a:ln>
            <a:effectLst>
              <a:outerShdw blurRad="50800" dist="38100" dir="2700000" algn="tl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200" b="1" dirty="0"/>
                <a:t>07</a:t>
              </a:r>
              <a:endParaRPr lang="en-US" sz="1400" b="1" dirty="0"/>
            </a:p>
          </p:txBody>
        </p:sp>
        <p:sp>
          <p:nvSpPr>
            <p:cNvPr id="45" name="Oval 13">
              <a:extLst>
                <a:ext uri="{FF2B5EF4-FFF2-40B4-BE49-F238E27FC236}">
                  <a16:creationId xmlns:a16="http://schemas.microsoft.com/office/drawing/2014/main" id="{8A4D5384-F27E-4149-88A9-81990E97CDE6}"/>
                </a:ext>
              </a:extLst>
            </p:cNvPr>
            <p:cNvSpPr/>
            <p:nvPr/>
          </p:nvSpPr>
          <p:spPr>
            <a:xfrm>
              <a:off x="5817350" y="3918855"/>
              <a:ext cx="557178" cy="557178"/>
            </a:xfrm>
            <a:prstGeom prst="ellipse">
              <a:avLst/>
            </a:prstGeom>
            <a:solidFill>
              <a:srgbClr val="B1C7F7"/>
            </a:solidFill>
            <a:ln w="31750">
              <a:solidFill>
                <a:schemeClr val="bg1"/>
              </a:solidFill>
            </a:ln>
            <a:effectLst>
              <a:outerShdw blurRad="50800" dist="38100" dir="2700000" algn="tl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200" b="1" dirty="0"/>
                <a:t>06</a:t>
              </a:r>
              <a:endParaRPr lang="en-US" sz="1400" b="1" dirty="0"/>
            </a:p>
          </p:txBody>
        </p:sp>
        <p:sp>
          <p:nvSpPr>
            <p:cNvPr id="46" name="Oval 13">
              <a:extLst>
                <a:ext uri="{FF2B5EF4-FFF2-40B4-BE49-F238E27FC236}">
                  <a16:creationId xmlns:a16="http://schemas.microsoft.com/office/drawing/2014/main" id="{59929642-FE58-4795-BA33-41CFB5324B5D}"/>
                </a:ext>
              </a:extLst>
            </p:cNvPr>
            <p:cNvSpPr/>
            <p:nvPr/>
          </p:nvSpPr>
          <p:spPr>
            <a:xfrm>
              <a:off x="5330742" y="4594857"/>
              <a:ext cx="349321" cy="349321"/>
            </a:xfrm>
            <a:prstGeom prst="ellipse">
              <a:avLst/>
            </a:prstGeom>
            <a:grpFill/>
            <a:ln w="31750">
              <a:solidFill>
                <a:schemeClr val="bg1"/>
              </a:solidFill>
            </a:ln>
            <a:effectLst>
              <a:outerShdw blurRad="50800" dist="38100" dir="2700000" algn="tl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200" b="1" dirty="0"/>
                <a:t>05</a:t>
              </a:r>
              <a:endParaRPr lang="en-US" sz="1400" b="1" dirty="0"/>
            </a:p>
          </p:txBody>
        </p:sp>
      </p:grpSp>
      <p:sp>
        <p:nvSpPr>
          <p:cNvPr id="55" name="Isosceles Triangle 54">
            <a:extLst>
              <a:ext uri="{FF2B5EF4-FFF2-40B4-BE49-F238E27FC236}">
                <a16:creationId xmlns:a16="http://schemas.microsoft.com/office/drawing/2014/main" id="{9ED761C6-513B-4068-B9FC-8C1CD6317F04}"/>
              </a:ext>
            </a:extLst>
          </p:cNvPr>
          <p:cNvSpPr/>
          <p:nvPr/>
        </p:nvSpPr>
        <p:spPr>
          <a:xfrm rot="15127384">
            <a:off x="7433431" y="3396730"/>
            <a:ext cx="137457" cy="141767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Isosceles Triangle 56">
            <a:extLst>
              <a:ext uri="{FF2B5EF4-FFF2-40B4-BE49-F238E27FC236}">
                <a16:creationId xmlns:a16="http://schemas.microsoft.com/office/drawing/2014/main" id="{E110EDC6-9C24-4027-A576-C06F27277550}"/>
              </a:ext>
            </a:extLst>
          </p:cNvPr>
          <p:cNvSpPr/>
          <p:nvPr/>
        </p:nvSpPr>
        <p:spPr>
          <a:xfrm rot="8228680" flipV="1">
            <a:off x="6874850" y="5329510"/>
            <a:ext cx="184907" cy="467940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8" name="Isosceles Triangle 57">
            <a:extLst>
              <a:ext uri="{FF2B5EF4-FFF2-40B4-BE49-F238E27FC236}">
                <a16:creationId xmlns:a16="http://schemas.microsoft.com/office/drawing/2014/main" id="{8EF73EAC-C2B0-4DEF-A542-338AF9C64128}"/>
              </a:ext>
            </a:extLst>
          </p:cNvPr>
          <p:cNvSpPr/>
          <p:nvPr/>
        </p:nvSpPr>
        <p:spPr>
          <a:xfrm rot="6472616" flipV="1">
            <a:off x="7433431" y="4642218"/>
            <a:ext cx="137457" cy="141767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97509B1D-12F4-4360-953A-7A83F3580437}"/>
              </a:ext>
            </a:extLst>
          </p:cNvPr>
          <p:cNvGrpSpPr/>
          <p:nvPr/>
        </p:nvGrpSpPr>
        <p:grpSpPr>
          <a:xfrm>
            <a:off x="7734369" y="3239461"/>
            <a:ext cx="378545" cy="379079"/>
            <a:chOff x="438380" y="1279248"/>
            <a:chExt cx="585128" cy="585954"/>
          </a:xfrm>
        </p:grpSpPr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EFCD6B32-0E85-4C4E-80EC-8D41B4DF6833}"/>
                </a:ext>
              </a:extLst>
            </p:cNvPr>
            <p:cNvSpPr/>
            <p:nvPr/>
          </p:nvSpPr>
          <p:spPr>
            <a:xfrm>
              <a:off x="438380" y="1279248"/>
              <a:ext cx="306720" cy="306720"/>
            </a:xfrm>
            <a:custGeom>
              <a:avLst/>
              <a:gdLst>
                <a:gd name="connsiteX0" fmla="*/ 241959 w 247650"/>
                <a:gd name="connsiteY0" fmla="*/ 114038 h 247650"/>
                <a:gd name="connsiteX1" fmla="*/ 136422 w 247650"/>
                <a:gd name="connsiteY1" fmla="*/ 8501 h 247650"/>
                <a:gd name="connsiteX2" fmla="*/ 8501 w 247650"/>
                <a:gd name="connsiteY2" fmla="*/ 136422 h 247650"/>
                <a:gd name="connsiteX3" fmla="*/ 114038 w 247650"/>
                <a:gd name="connsiteY3" fmla="*/ 241959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650" h="247650">
                  <a:moveTo>
                    <a:pt x="241959" y="114038"/>
                  </a:moveTo>
                  <a:lnTo>
                    <a:pt x="136422" y="8501"/>
                  </a:lnTo>
                  <a:lnTo>
                    <a:pt x="8501" y="136422"/>
                  </a:lnTo>
                  <a:lnTo>
                    <a:pt x="114038" y="241959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A6058471-B0CD-48AE-989C-40935323181C}"/>
                </a:ext>
              </a:extLst>
            </p:cNvPr>
            <p:cNvSpPr/>
            <p:nvPr/>
          </p:nvSpPr>
          <p:spPr>
            <a:xfrm>
              <a:off x="716788" y="1558482"/>
              <a:ext cx="306720" cy="306720"/>
            </a:xfrm>
            <a:custGeom>
              <a:avLst/>
              <a:gdLst>
                <a:gd name="connsiteX0" fmla="*/ 135755 w 247650"/>
                <a:gd name="connsiteY0" fmla="*/ 8501 h 247650"/>
                <a:gd name="connsiteX1" fmla="*/ 242054 w 247650"/>
                <a:gd name="connsiteY1" fmla="*/ 114705 h 247650"/>
                <a:gd name="connsiteX2" fmla="*/ 114705 w 247650"/>
                <a:gd name="connsiteY2" fmla="*/ 241959 h 247650"/>
                <a:gd name="connsiteX3" fmla="*/ 8501 w 247650"/>
                <a:gd name="connsiteY3" fmla="*/ 135755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650" h="247650">
                  <a:moveTo>
                    <a:pt x="135755" y="8501"/>
                  </a:moveTo>
                  <a:lnTo>
                    <a:pt x="242054" y="114705"/>
                  </a:lnTo>
                  <a:lnTo>
                    <a:pt x="114705" y="241959"/>
                  </a:lnTo>
                  <a:lnTo>
                    <a:pt x="8501" y="135755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AF480624-637A-46AF-96E5-A18808BC0F65}"/>
                </a:ext>
              </a:extLst>
            </p:cNvPr>
            <p:cNvSpPr/>
            <p:nvPr/>
          </p:nvSpPr>
          <p:spPr>
            <a:xfrm>
              <a:off x="895865" y="1650261"/>
              <a:ext cx="82578" cy="82578"/>
            </a:xfrm>
            <a:custGeom>
              <a:avLst/>
              <a:gdLst>
                <a:gd name="connsiteX0" fmla="*/ 59650 w 66675"/>
                <a:gd name="connsiteY0" fmla="*/ 8501 h 66675"/>
                <a:gd name="connsiteX1" fmla="*/ 8501 w 66675"/>
                <a:gd name="connsiteY1" fmla="*/ 5965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675" h="66675">
                  <a:moveTo>
                    <a:pt x="59650" y="8501"/>
                  </a:moveTo>
                  <a:lnTo>
                    <a:pt x="8501" y="59650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895200DB-10E3-403F-A750-BD2610944202}"/>
                </a:ext>
              </a:extLst>
            </p:cNvPr>
            <p:cNvSpPr/>
            <p:nvPr/>
          </p:nvSpPr>
          <p:spPr>
            <a:xfrm>
              <a:off x="882534" y="1605315"/>
              <a:ext cx="47188" cy="47188"/>
            </a:xfrm>
            <a:custGeom>
              <a:avLst/>
              <a:gdLst>
                <a:gd name="connsiteX0" fmla="*/ 34028 w 38100"/>
                <a:gd name="connsiteY0" fmla="*/ 8501 h 38100"/>
                <a:gd name="connsiteX1" fmla="*/ 8501 w 38100"/>
                <a:gd name="connsiteY1" fmla="*/ 3402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38100">
                  <a:moveTo>
                    <a:pt x="34028" y="8501"/>
                  </a:moveTo>
                  <a:lnTo>
                    <a:pt x="8501" y="34028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3EF22ADF-B3AF-47B0-AF2B-8F724DA61134}"/>
                </a:ext>
              </a:extLst>
            </p:cNvPr>
            <p:cNvSpPr/>
            <p:nvPr/>
          </p:nvSpPr>
          <p:spPr>
            <a:xfrm>
              <a:off x="571922" y="1326436"/>
              <a:ext cx="82578" cy="82578"/>
            </a:xfrm>
            <a:custGeom>
              <a:avLst/>
              <a:gdLst>
                <a:gd name="connsiteX0" fmla="*/ 59650 w 66675"/>
                <a:gd name="connsiteY0" fmla="*/ 8501 h 66675"/>
                <a:gd name="connsiteX1" fmla="*/ 8501 w 66675"/>
                <a:gd name="connsiteY1" fmla="*/ 5965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675" h="66675">
                  <a:moveTo>
                    <a:pt x="59650" y="8501"/>
                  </a:moveTo>
                  <a:lnTo>
                    <a:pt x="8501" y="59650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6F41AB22-85AF-4228-8BDB-ACC379548646}"/>
                </a:ext>
              </a:extLst>
            </p:cNvPr>
            <p:cNvSpPr/>
            <p:nvPr/>
          </p:nvSpPr>
          <p:spPr>
            <a:xfrm>
              <a:off x="648601" y="1371382"/>
              <a:ext cx="47188" cy="47188"/>
            </a:xfrm>
            <a:custGeom>
              <a:avLst/>
              <a:gdLst>
                <a:gd name="connsiteX0" fmla="*/ 34123 w 38100"/>
                <a:gd name="connsiteY0" fmla="*/ 8501 h 38100"/>
                <a:gd name="connsiteX1" fmla="*/ 8501 w 38100"/>
                <a:gd name="connsiteY1" fmla="*/ 3412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38100">
                  <a:moveTo>
                    <a:pt x="34123" y="8501"/>
                  </a:moveTo>
                  <a:lnTo>
                    <a:pt x="8501" y="34123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506352-7A5C-41D6-90B2-14B1E17DEC01}"/>
                </a:ext>
              </a:extLst>
            </p:cNvPr>
            <p:cNvSpPr/>
            <p:nvPr/>
          </p:nvSpPr>
          <p:spPr>
            <a:xfrm>
              <a:off x="495725" y="1410784"/>
              <a:ext cx="389298" cy="389298"/>
            </a:xfrm>
            <a:custGeom>
              <a:avLst/>
              <a:gdLst>
                <a:gd name="connsiteX0" fmla="*/ 314910 w 314325"/>
                <a:gd name="connsiteY0" fmla="*/ 127087 h 314325"/>
                <a:gd name="connsiteX1" fmla="*/ 127268 w 314325"/>
                <a:gd name="connsiteY1" fmla="*/ 314730 h 314325"/>
                <a:gd name="connsiteX2" fmla="*/ 55830 w 314325"/>
                <a:gd name="connsiteY2" fmla="*/ 271486 h 314325"/>
                <a:gd name="connsiteX3" fmla="*/ 8682 w 314325"/>
                <a:gd name="connsiteY3" fmla="*/ 196048 h 314325"/>
                <a:gd name="connsiteX4" fmla="*/ 196324 w 314325"/>
                <a:gd name="connsiteY4" fmla="*/ 8501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4325" h="314325">
                  <a:moveTo>
                    <a:pt x="314910" y="127087"/>
                  </a:moveTo>
                  <a:lnTo>
                    <a:pt x="127268" y="314730"/>
                  </a:lnTo>
                  <a:cubicBezTo>
                    <a:pt x="127268" y="314730"/>
                    <a:pt x="104217" y="319969"/>
                    <a:pt x="55830" y="271486"/>
                  </a:cubicBezTo>
                  <a:cubicBezTo>
                    <a:pt x="2967" y="218623"/>
                    <a:pt x="8682" y="196048"/>
                    <a:pt x="8682" y="196048"/>
                  </a:cubicBezTo>
                  <a:lnTo>
                    <a:pt x="196324" y="8501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47EC1349-5FE7-4B42-BDB2-86F1CB5834AB}"/>
                </a:ext>
              </a:extLst>
            </p:cNvPr>
            <p:cNvSpPr/>
            <p:nvPr/>
          </p:nvSpPr>
          <p:spPr>
            <a:xfrm>
              <a:off x="495844" y="1282315"/>
              <a:ext cx="519065" cy="519065"/>
            </a:xfrm>
            <a:custGeom>
              <a:avLst/>
              <a:gdLst>
                <a:gd name="connsiteX0" fmla="*/ 418542 w 419100"/>
                <a:gd name="connsiteY0" fmla="*/ 127087 h 419100"/>
                <a:gd name="connsiteX1" fmla="*/ 127268 w 419100"/>
                <a:gd name="connsiteY1" fmla="*/ 418457 h 419100"/>
                <a:gd name="connsiteX2" fmla="*/ 55830 w 419100"/>
                <a:gd name="connsiteY2" fmla="*/ 375214 h 419100"/>
                <a:gd name="connsiteX3" fmla="*/ 8682 w 419100"/>
                <a:gd name="connsiteY3" fmla="*/ 299776 h 419100"/>
                <a:gd name="connsiteX4" fmla="*/ 299956 w 419100"/>
                <a:gd name="connsiteY4" fmla="*/ 8501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00" h="419100">
                  <a:moveTo>
                    <a:pt x="418542" y="127087"/>
                  </a:moveTo>
                  <a:lnTo>
                    <a:pt x="127268" y="418457"/>
                  </a:lnTo>
                  <a:cubicBezTo>
                    <a:pt x="127268" y="418457"/>
                    <a:pt x="104217" y="423696"/>
                    <a:pt x="55830" y="375214"/>
                  </a:cubicBezTo>
                  <a:cubicBezTo>
                    <a:pt x="2967" y="322350"/>
                    <a:pt x="8682" y="299776"/>
                    <a:pt x="8682" y="299776"/>
                  </a:cubicBezTo>
                  <a:lnTo>
                    <a:pt x="299956" y="8501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C0334C0A-A78D-4763-A399-F9CBD637E49E}"/>
                </a:ext>
              </a:extLst>
            </p:cNvPr>
            <p:cNvSpPr/>
            <p:nvPr/>
          </p:nvSpPr>
          <p:spPr>
            <a:xfrm>
              <a:off x="442155" y="1643537"/>
              <a:ext cx="212345" cy="212345"/>
            </a:xfrm>
            <a:custGeom>
              <a:avLst/>
              <a:gdLst>
                <a:gd name="connsiteX0" fmla="*/ 51459 w 171450"/>
                <a:gd name="connsiteY0" fmla="*/ 8501 h 171450"/>
                <a:gd name="connsiteX1" fmla="*/ 8501 w 171450"/>
                <a:gd name="connsiteY1" fmla="*/ 170426 h 171450"/>
                <a:gd name="connsiteX2" fmla="*/ 170140 w 171450"/>
                <a:gd name="connsiteY2" fmla="*/ 12727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450" h="171450">
                  <a:moveTo>
                    <a:pt x="51459" y="8501"/>
                  </a:moveTo>
                  <a:lnTo>
                    <a:pt x="8501" y="170426"/>
                  </a:lnTo>
                  <a:lnTo>
                    <a:pt x="170140" y="127278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25E2EBC2-0783-4942-933B-7A04903E12CC}"/>
                </a:ext>
              </a:extLst>
            </p:cNvPr>
            <p:cNvSpPr/>
            <p:nvPr/>
          </p:nvSpPr>
          <p:spPr>
            <a:xfrm>
              <a:off x="442155" y="1643537"/>
              <a:ext cx="212345" cy="212345"/>
            </a:xfrm>
            <a:custGeom>
              <a:avLst/>
              <a:gdLst>
                <a:gd name="connsiteX0" fmla="*/ 51459 w 171450"/>
                <a:gd name="connsiteY0" fmla="*/ 8501 h 171450"/>
                <a:gd name="connsiteX1" fmla="*/ 8501 w 171450"/>
                <a:gd name="connsiteY1" fmla="*/ 170426 h 171450"/>
                <a:gd name="connsiteX2" fmla="*/ 170140 w 171450"/>
                <a:gd name="connsiteY2" fmla="*/ 12727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450" h="171450">
                  <a:moveTo>
                    <a:pt x="51459" y="8501"/>
                  </a:moveTo>
                  <a:lnTo>
                    <a:pt x="8501" y="170426"/>
                  </a:lnTo>
                  <a:lnTo>
                    <a:pt x="170140" y="127278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A2B3CB6-C60E-4BCD-B8CC-7B068C3D21FC}"/>
                </a:ext>
              </a:extLst>
            </p:cNvPr>
            <p:cNvSpPr/>
            <p:nvPr/>
          </p:nvSpPr>
          <p:spPr>
            <a:xfrm>
              <a:off x="856818" y="1282315"/>
              <a:ext cx="165157" cy="165157"/>
            </a:xfrm>
            <a:custGeom>
              <a:avLst/>
              <a:gdLst>
                <a:gd name="connsiteX0" fmla="*/ 127087 w 133350"/>
                <a:gd name="connsiteY0" fmla="*/ 127087 h 133350"/>
                <a:gd name="connsiteX1" fmla="*/ 106513 w 133350"/>
                <a:gd name="connsiteY1" fmla="*/ 79272 h 133350"/>
                <a:gd name="connsiteX2" fmla="*/ 56698 w 133350"/>
                <a:gd name="connsiteY2" fmla="*/ 29456 h 133350"/>
                <a:gd name="connsiteX3" fmla="*/ 8501 w 133350"/>
                <a:gd name="connsiteY3" fmla="*/ 8501 h 133350"/>
                <a:gd name="connsiteX4" fmla="*/ 30504 w 133350"/>
                <a:gd name="connsiteY4" fmla="*/ 61555 h 133350"/>
                <a:gd name="connsiteX5" fmla="*/ 73938 w 133350"/>
                <a:gd name="connsiteY5" fmla="*/ 104989 h 133350"/>
                <a:gd name="connsiteX6" fmla="*/ 127087 w 133350"/>
                <a:gd name="connsiteY6" fmla="*/ 127087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350" h="133350">
                  <a:moveTo>
                    <a:pt x="127087" y="127087"/>
                  </a:moveTo>
                  <a:lnTo>
                    <a:pt x="106513" y="79272"/>
                  </a:lnTo>
                  <a:lnTo>
                    <a:pt x="56698" y="29456"/>
                  </a:lnTo>
                  <a:lnTo>
                    <a:pt x="8501" y="8501"/>
                  </a:lnTo>
                  <a:lnTo>
                    <a:pt x="30504" y="61555"/>
                  </a:lnTo>
                  <a:lnTo>
                    <a:pt x="73938" y="104989"/>
                  </a:lnTo>
                  <a:lnTo>
                    <a:pt x="127087" y="127087"/>
                  </a:lnTo>
                  <a:close/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886211B7-DF78-4D13-935B-B22A10FF6786}"/>
                </a:ext>
              </a:extLst>
            </p:cNvPr>
            <p:cNvSpPr/>
            <p:nvPr/>
          </p:nvSpPr>
          <p:spPr>
            <a:xfrm>
              <a:off x="798894" y="1340121"/>
              <a:ext cx="165157" cy="165157"/>
            </a:xfrm>
            <a:custGeom>
              <a:avLst/>
              <a:gdLst>
                <a:gd name="connsiteX0" fmla="*/ 8501 w 133350"/>
                <a:gd name="connsiteY0" fmla="*/ 8501 h 133350"/>
                <a:gd name="connsiteX1" fmla="*/ 30599 w 133350"/>
                <a:gd name="connsiteY1" fmla="*/ 61651 h 133350"/>
                <a:gd name="connsiteX2" fmla="*/ 74033 w 133350"/>
                <a:gd name="connsiteY2" fmla="*/ 105085 h 133350"/>
                <a:gd name="connsiteX3" fmla="*/ 127087 w 133350"/>
                <a:gd name="connsiteY3" fmla="*/ 127183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350" h="133350">
                  <a:moveTo>
                    <a:pt x="8501" y="8501"/>
                  </a:moveTo>
                  <a:lnTo>
                    <a:pt x="30599" y="61651"/>
                  </a:lnTo>
                  <a:lnTo>
                    <a:pt x="74033" y="105085"/>
                  </a:lnTo>
                  <a:lnTo>
                    <a:pt x="127087" y="127183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7AB35E02-1AD5-46A7-B4C9-D03741E34009}"/>
                </a:ext>
              </a:extLst>
            </p:cNvPr>
            <p:cNvSpPr/>
            <p:nvPr/>
          </p:nvSpPr>
          <p:spPr>
            <a:xfrm>
              <a:off x="495725" y="1410784"/>
              <a:ext cx="389298" cy="389298"/>
            </a:xfrm>
            <a:custGeom>
              <a:avLst/>
              <a:gdLst>
                <a:gd name="connsiteX0" fmla="*/ 314910 w 314325"/>
                <a:gd name="connsiteY0" fmla="*/ 127087 h 314325"/>
                <a:gd name="connsiteX1" fmla="*/ 127268 w 314325"/>
                <a:gd name="connsiteY1" fmla="*/ 314730 h 314325"/>
                <a:gd name="connsiteX2" fmla="*/ 55830 w 314325"/>
                <a:gd name="connsiteY2" fmla="*/ 271486 h 314325"/>
                <a:gd name="connsiteX3" fmla="*/ 8682 w 314325"/>
                <a:gd name="connsiteY3" fmla="*/ 196048 h 314325"/>
                <a:gd name="connsiteX4" fmla="*/ 196324 w 314325"/>
                <a:gd name="connsiteY4" fmla="*/ 8501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4325" h="314325">
                  <a:moveTo>
                    <a:pt x="314910" y="127087"/>
                  </a:moveTo>
                  <a:lnTo>
                    <a:pt x="127268" y="314730"/>
                  </a:lnTo>
                  <a:cubicBezTo>
                    <a:pt x="127268" y="314730"/>
                    <a:pt x="104217" y="319969"/>
                    <a:pt x="55830" y="271486"/>
                  </a:cubicBezTo>
                  <a:cubicBezTo>
                    <a:pt x="2967" y="218623"/>
                    <a:pt x="8682" y="196048"/>
                    <a:pt x="8682" y="196048"/>
                  </a:cubicBezTo>
                  <a:lnTo>
                    <a:pt x="196324" y="8501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A94DA474-57AC-40DB-9C2F-FA568E8AF1DC}"/>
                </a:ext>
              </a:extLst>
            </p:cNvPr>
            <p:cNvSpPr/>
            <p:nvPr/>
          </p:nvSpPr>
          <p:spPr>
            <a:xfrm>
              <a:off x="468698" y="1743811"/>
              <a:ext cx="94375" cy="94375"/>
            </a:xfrm>
            <a:custGeom>
              <a:avLst/>
              <a:gdLst>
                <a:gd name="connsiteX0" fmla="*/ 8501 w 76200"/>
                <a:gd name="connsiteY0" fmla="*/ 8501 h 76200"/>
                <a:gd name="connsiteX1" fmla="*/ 67842 w 76200"/>
                <a:gd name="connsiteY1" fmla="*/ 67842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200" h="76200">
                  <a:moveTo>
                    <a:pt x="8501" y="8501"/>
                  </a:moveTo>
                  <a:cubicBezTo>
                    <a:pt x="8501" y="8501"/>
                    <a:pt x="21646" y="52888"/>
                    <a:pt x="67842" y="67842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8D48086E-DB77-4681-B672-1246C2A6998D}"/>
                </a:ext>
              </a:extLst>
            </p:cNvPr>
            <p:cNvSpPr/>
            <p:nvPr/>
          </p:nvSpPr>
          <p:spPr>
            <a:xfrm>
              <a:off x="526385" y="1406538"/>
              <a:ext cx="318517" cy="318517"/>
            </a:xfrm>
            <a:custGeom>
              <a:avLst/>
              <a:gdLst>
                <a:gd name="connsiteX0" fmla="*/ 250150 w 257175"/>
                <a:gd name="connsiteY0" fmla="*/ 8501 h 257175"/>
                <a:gd name="connsiteX1" fmla="*/ 8501 w 257175"/>
                <a:gd name="connsiteY1" fmla="*/ 250150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7175" h="257175">
                  <a:moveTo>
                    <a:pt x="250150" y="8501"/>
                  </a:moveTo>
                  <a:lnTo>
                    <a:pt x="8501" y="250150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9867999E-B2CE-4C18-8A4F-DCF84C83EE11}"/>
                </a:ext>
              </a:extLst>
            </p:cNvPr>
            <p:cNvSpPr/>
            <p:nvPr/>
          </p:nvSpPr>
          <p:spPr>
            <a:xfrm>
              <a:off x="580179" y="1460332"/>
              <a:ext cx="318517" cy="318517"/>
            </a:xfrm>
            <a:custGeom>
              <a:avLst/>
              <a:gdLst>
                <a:gd name="connsiteX0" fmla="*/ 250150 w 257175"/>
                <a:gd name="connsiteY0" fmla="*/ 8501 h 257175"/>
                <a:gd name="connsiteX1" fmla="*/ 8501 w 257175"/>
                <a:gd name="connsiteY1" fmla="*/ 250150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7175" h="257175">
                  <a:moveTo>
                    <a:pt x="250150" y="8501"/>
                  </a:moveTo>
                  <a:lnTo>
                    <a:pt x="8501" y="250150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6FE6AF67-97C1-42E1-B49D-B94A238155D2}"/>
              </a:ext>
            </a:extLst>
          </p:cNvPr>
          <p:cNvGrpSpPr/>
          <p:nvPr/>
        </p:nvGrpSpPr>
        <p:grpSpPr>
          <a:xfrm>
            <a:off x="7723193" y="4563695"/>
            <a:ext cx="386334" cy="386414"/>
            <a:chOff x="3122319" y="5689244"/>
            <a:chExt cx="569653" cy="569772"/>
          </a:xfrm>
        </p:grpSpPr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19A20C9-869F-410A-AD51-D559B7D7C4AF}"/>
                </a:ext>
              </a:extLst>
            </p:cNvPr>
            <p:cNvSpPr/>
            <p:nvPr/>
          </p:nvSpPr>
          <p:spPr>
            <a:xfrm>
              <a:off x="3122319" y="6079767"/>
              <a:ext cx="179249" cy="179249"/>
            </a:xfrm>
            <a:custGeom>
              <a:avLst/>
              <a:gdLst>
                <a:gd name="connsiteX0" fmla="*/ 9526 w 179248"/>
                <a:gd name="connsiteY0" fmla="*/ 9526 h 179248"/>
                <a:gd name="connsiteX1" fmla="*/ 9526 w 179248"/>
                <a:gd name="connsiteY1" fmla="*/ 154120 h 179248"/>
                <a:gd name="connsiteX2" fmla="*/ 33426 w 179248"/>
                <a:gd name="connsiteY2" fmla="*/ 178020 h 179248"/>
                <a:gd name="connsiteX3" fmla="*/ 178020 w 179248"/>
                <a:gd name="connsiteY3" fmla="*/ 178020 h 179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248" h="179248">
                  <a:moveTo>
                    <a:pt x="9526" y="9526"/>
                  </a:moveTo>
                  <a:lnTo>
                    <a:pt x="9526" y="154120"/>
                  </a:lnTo>
                  <a:cubicBezTo>
                    <a:pt x="9526" y="167265"/>
                    <a:pt x="20281" y="178020"/>
                    <a:pt x="33426" y="178020"/>
                  </a:cubicBezTo>
                  <a:lnTo>
                    <a:pt x="178020" y="178020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7A64F150-0381-40C4-8400-9ECE7B1A64A0}"/>
                </a:ext>
              </a:extLst>
            </p:cNvPr>
            <p:cNvSpPr/>
            <p:nvPr/>
          </p:nvSpPr>
          <p:spPr>
            <a:xfrm>
              <a:off x="3122319" y="5689244"/>
              <a:ext cx="179249" cy="179249"/>
            </a:xfrm>
            <a:custGeom>
              <a:avLst/>
              <a:gdLst>
                <a:gd name="connsiteX0" fmla="*/ 9526 w 179248"/>
                <a:gd name="connsiteY0" fmla="*/ 178020 h 179248"/>
                <a:gd name="connsiteX1" fmla="*/ 9526 w 179248"/>
                <a:gd name="connsiteY1" fmla="*/ 33426 h 179248"/>
                <a:gd name="connsiteX2" fmla="*/ 33426 w 179248"/>
                <a:gd name="connsiteY2" fmla="*/ 9526 h 179248"/>
                <a:gd name="connsiteX3" fmla="*/ 178020 w 179248"/>
                <a:gd name="connsiteY3" fmla="*/ 9526 h 179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248" h="179248">
                  <a:moveTo>
                    <a:pt x="9526" y="178020"/>
                  </a:moveTo>
                  <a:lnTo>
                    <a:pt x="9526" y="33426"/>
                  </a:lnTo>
                  <a:cubicBezTo>
                    <a:pt x="9526" y="20281"/>
                    <a:pt x="20281" y="9526"/>
                    <a:pt x="33426" y="9526"/>
                  </a:cubicBezTo>
                  <a:lnTo>
                    <a:pt x="178020" y="9526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AAF41DF3-5D7F-424D-93E7-0393327F33A3}"/>
                </a:ext>
              </a:extLst>
            </p:cNvPr>
            <p:cNvSpPr/>
            <p:nvPr/>
          </p:nvSpPr>
          <p:spPr>
            <a:xfrm>
              <a:off x="3512723" y="6079767"/>
              <a:ext cx="179249" cy="179249"/>
            </a:xfrm>
            <a:custGeom>
              <a:avLst/>
              <a:gdLst>
                <a:gd name="connsiteX0" fmla="*/ 178020 w 179248"/>
                <a:gd name="connsiteY0" fmla="*/ 9526 h 179248"/>
                <a:gd name="connsiteX1" fmla="*/ 178020 w 179248"/>
                <a:gd name="connsiteY1" fmla="*/ 154120 h 179248"/>
                <a:gd name="connsiteX2" fmla="*/ 154120 w 179248"/>
                <a:gd name="connsiteY2" fmla="*/ 178020 h 179248"/>
                <a:gd name="connsiteX3" fmla="*/ 9526 w 179248"/>
                <a:gd name="connsiteY3" fmla="*/ 178020 h 179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248" h="179248">
                  <a:moveTo>
                    <a:pt x="178020" y="9526"/>
                  </a:moveTo>
                  <a:lnTo>
                    <a:pt x="178020" y="154120"/>
                  </a:lnTo>
                  <a:cubicBezTo>
                    <a:pt x="178020" y="167265"/>
                    <a:pt x="167265" y="178020"/>
                    <a:pt x="154120" y="178020"/>
                  </a:cubicBezTo>
                  <a:lnTo>
                    <a:pt x="9526" y="178020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8F2F04E2-53AE-4ED7-A5D4-503111B21F45}"/>
                </a:ext>
              </a:extLst>
            </p:cNvPr>
            <p:cNvSpPr/>
            <p:nvPr/>
          </p:nvSpPr>
          <p:spPr>
            <a:xfrm>
              <a:off x="3512723" y="5689244"/>
              <a:ext cx="179249" cy="179249"/>
            </a:xfrm>
            <a:custGeom>
              <a:avLst/>
              <a:gdLst>
                <a:gd name="connsiteX0" fmla="*/ 178020 w 179248"/>
                <a:gd name="connsiteY0" fmla="*/ 178020 h 179248"/>
                <a:gd name="connsiteX1" fmla="*/ 178020 w 179248"/>
                <a:gd name="connsiteY1" fmla="*/ 33426 h 179248"/>
                <a:gd name="connsiteX2" fmla="*/ 154120 w 179248"/>
                <a:gd name="connsiteY2" fmla="*/ 9526 h 179248"/>
                <a:gd name="connsiteX3" fmla="*/ 9526 w 179248"/>
                <a:gd name="connsiteY3" fmla="*/ 9526 h 179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248" h="179248">
                  <a:moveTo>
                    <a:pt x="178020" y="178020"/>
                  </a:moveTo>
                  <a:lnTo>
                    <a:pt x="178020" y="33426"/>
                  </a:lnTo>
                  <a:cubicBezTo>
                    <a:pt x="178020" y="20281"/>
                    <a:pt x="167265" y="9526"/>
                    <a:pt x="154120" y="9526"/>
                  </a:cubicBezTo>
                  <a:lnTo>
                    <a:pt x="9526" y="9526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BB2A8903-C302-49C7-8476-0C24844DFFBA}"/>
                </a:ext>
              </a:extLst>
            </p:cNvPr>
            <p:cNvSpPr/>
            <p:nvPr/>
          </p:nvSpPr>
          <p:spPr>
            <a:xfrm>
              <a:off x="3333116" y="5876679"/>
              <a:ext cx="131449" cy="227049"/>
            </a:xfrm>
            <a:custGeom>
              <a:avLst/>
              <a:gdLst>
                <a:gd name="connsiteX0" fmla="*/ 85288 w 131449"/>
                <a:gd name="connsiteY0" fmla="*/ 221218 h 227048"/>
                <a:gd name="connsiteX1" fmla="*/ 126993 w 131449"/>
                <a:gd name="connsiteY1" fmla="*/ 133865 h 227048"/>
                <a:gd name="connsiteX2" fmla="*/ 82181 w 131449"/>
                <a:gd name="connsiteY2" fmla="*/ 9705 h 227048"/>
                <a:gd name="connsiteX3" fmla="*/ 9526 w 131449"/>
                <a:gd name="connsiteY3" fmla="*/ 118688 h 227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449" h="227048">
                  <a:moveTo>
                    <a:pt x="85288" y="221218"/>
                  </a:moveTo>
                  <a:cubicBezTo>
                    <a:pt x="107635" y="218351"/>
                    <a:pt x="122811" y="166249"/>
                    <a:pt x="126993" y="133865"/>
                  </a:cubicBezTo>
                  <a:cubicBezTo>
                    <a:pt x="132490" y="90725"/>
                    <a:pt x="127591" y="13529"/>
                    <a:pt x="82181" y="9705"/>
                  </a:cubicBezTo>
                  <a:cubicBezTo>
                    <a:pt x="32589" y="5522"/>
                    <a:pt x="15142" y="75668"/>
                    <a:pt x="9526" y="118688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3656262F-E9A4-43D5-8137-EB9F07E428C6}"/>
                </a:ext>
              </a:extLst>
            </p:cNvPr>
            <p:cNvSpPr/>
            <p:nvPr/>
          </p:nvSpPr>
          <p:spPr>
            <a:xfrm>
              <a:off x="3331088" y="5985960"/>
              <a:ext cx="179249" cy="167299"/>
            </a:xfrm>
            <a:custGeom>
              <a:avLst/>
              <a:gdLst>
                <a:gd name="connsiteX0" fmla="*/ 11554 w 179248"/>
                <a:gd name="connsiteY0" fmla="*/ 9526 h 167298"/>
                <a:gd name="connsiteX1" fmla="*/ 71184 w 179248"/>
                <a:gd name="connsiteY1" fmla="*/ 158064 h 167298"/>
                <a:gd name="connsiteX2" fmla="*/ 170368 w 179248"/>
                <a:gd name="connsiteY2" fmla="*/ 29960 h 167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9248" h="167298">
                  <a:moveTo>
                    <a:pt x="11554" y="9526"/>
                  </a:moveTo>
                  <a:cubicBezTo>
                    <a:pt x="1755" y="86005"/>
                    <a:pt x="28403" y="152566"/>
                    <a:pt x="71184" y="158064"/>
                  </a:cubicBezTo>
                  <a:cubicBezTo>
                    <a:pt x="113965" y="163561"/>
                    <a:pt x="160570" y="106559"/>
                    <a:pt x="170368" y="29960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CB9697C5-FFD5-471D-BFB4-034F5A7ED4BE}"/>
                </a:ext>
              </a:extLst>
            </p:cNvPr>
            <p:cNvSpPr/>
            <p:nvPr/>
          </p:nvSpPr>
          <p:spPr>
            <a:xfrm>
              <a:off x="3246120" y="6125655"/>
              <a:ext cx="262898" cy="107549"/>
            </a:xfrm>
            <a:custGeom>
              <a:avLst/>
              <a:gdLst>
                <a:gd name="connsiteX0" fmla="*/ 264418 w 262898"/>
                <a:gd name="connsiteY0" fmla="*/ 54219 h 107549"/>
                <a:gd name="connsiteX1" fmla="*/ 132491 w 262898"/>
                <a:gd name="connsiteY1" fmla="*/ 104169 h 107549"/>
                <a:gd name="connsiteX2" fmla="*/ 9526 w 262898"/>
                <a:gd name="connsiteY2" fmla="*/ 9526 h 107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8" h="107549">
                  <a:moveTo>
                    <a:pt x="264418" y="54219"/>
                  </a:moveTo>
                  <a:cubicBezTo>
                    <a:pt x="226417" y="91024"/>
                    <a:pt x="179932" y="110264"/>
                    <a:pt x="132491" y="104169"/>
                  </a:cubicBezTo>
                  <a:cubicBezTo>
                    <a:pt x="84332" y="97955"/>
                    <a:pt x="37130" y="70949"/>
                    <a:pt x="9526" y="9526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A6AB0E5D-697E-49A5-A3E4-CD1BB6DBB0D3}"/>
                </a:ext>
              </a:extLst>
            </p:cNvPr>
            <p:cNvSpPr/>
            <p:nvPr/>
          </p:nvSpPr>
          <p:spPr>
            <a:xfrm>
              <a:off x="3213886" y="5716154"/>
              <a:ext cx="394347" cy="406297"/>
            </a:xfrm>
            <a:custGeom>
              <a:avLst/>
              <a:gdLst>
                <a:gd name="connsiteX0" fmla="*/ 15111 w 394347"/>
                <a:gd name="connsiteY0" fmla="*/ 338604 h 406297"/>
                <a:gd name="connsiteX1" fmla="*/ 12363 w 394347"/>
                <a:gd name="connsiteY1" fmla="*/ 235834 h 406297"/>
                <a:gd name="connsiteX2" fmla="*/ 229493 w 394347"/>
                <a:gd name="connsiteY2" fmla="*/ 10698 h 406297"/>
                <a:gd name="connsiteX3" fmla="*/ 382572 w 394347"/>
                <a:gd name="connsiteY3" fmla="*/ 283514 h 406297"/>
                <a:gd name="connsiteX4" fmla="*/ 342300 w 394347"/>
                <a:gd name="connsiteY4" fmla="*/ 402536 h 406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347" h="406297">
                  <a:moveTo>
                    <a:pt x="15111" y="338604"/>
                  </a:moveTo>
                  <a:cubicBezTo>
                    <a:pt x="8897" y="306458"/>
                    <a:pt x="7703" y="271684"/>
                    <a:pt x="12363" y="235834"/>
                  </a:cubicBezTo>
                  <a:cubicBezTo>
                    <a:pt x="30049" y="98291"/>
                    <a:pt x="127321" y="-2567"/>
                    <a:pt x="229493" y="10698"/>
                  </a:cubicBezTo>
                  <a:cubicBezTo>
                    <a:pt x="331784" y="23842"/>
                    <a:pt x="400258" y="145971"/>
                    <a:pt x="382572" y="283514"/>
                  </a:cubicBezTo>
                  <a:cubicBezTo>
                    <a:pt x="377553" y="322352"/>
                    <a:pt x="358313" y="371346"/>
                    <a:pt x="342300" y="402536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13C5354E-8CD2-4371-8822-5C64173B0C53}"/>
                </a:ext>
              </a:extLst>
            </p:cNvPr>
            <p:cNvSpPr/>
            <p:nvPr/>
          </p:nvSpPr>
          <p:spPr>
            <a:xfrm>
              <a:off x="3241340" y="5822847"/>
              <a:ext cx="262898" cy="286798"/>
            </a:xfrm>
            <a:custGeom>
              <a:avLst/>
              <a:gdLst>
                <a:gd name="connsiteX0" fmla="*/ 9526 w 262898"/>
                <a:gd name="connsiteY0" fmla="*/ 281503 h 286798"/>
                <a:gd name="connsiteX1" fmla="*/ 53621 w 262898"/>
                <a:gd name="connsiteY1" fmla="*/ 268120 h 286798"/>
                <a:gd name="connsiteX2" fmla="*/ 68200 w 262898"/>
                <a:gd name="connsiteY2" fmla="*/ 198571 h 286798"/>
                <a:gd name="connsiteX3" fmla="*/ 75609 w 262898"/>
                <a:gd name="connsiteY3" fmla="*/ 114443 h 286798"/>
                <a:gd name="connsiteX4" fmla="*/ 168699 w 262898"/>
                <a:gd name="connsiteY4" fmla="*/ 10240 h 286798"/>
                <a:gd name="connsiteX5" fmla="*/ 233706 w 262898"/>
                <a:gd name="connsiteY5" fmla="*/ 37486 h 286798"/>
                <a:gd name="connsiteX6" fmla="*/ 262386 w 262898"/>
                <a:gd name="connsiteY6" fmla="*/ 168098 h 286798"/>
                <a:gd name="connsiteX7" fmla="*/ 260235 w 262898"/>
                <a:gd name="connsiteY7" fmla="*/ 192835 h 286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2898" h="286798">
                  <a:moveTo>
                    <a:pt x="9526" y="281503"/>
                  </a:moveTo>
                  <a:cubicBezTo>
                    <a:pt x="22910" y="286164"/>
                    <a:pt x="42269" y="277679"/>
                    <a:pt x="53621" y="268120"/>
                  </a:cubicBezTo>
                  <a:cubicBezTo>
                    <a:pt x="71785" y="252943"/>
                    <a:pt x="68917" y="220798"/>
                    <a:pt x="68200" y="198571"/>
                  </a:cubicBezTo>
                  <a:cubicBezTo>
                    <a:pt x="67244" y="170967"/>
                    <a:pt x="69992" y="141570"/>
                    <a:pt x="75609" y="114443"/>
                  </a:cubicBezTo>
                  <a:cubicBezTo>
                    <a:pt x="86125" y="63776"/>
                    <a:pt x="122692" y="17171"/>
                    <a:pt x="168699" y="10240"/>
                  </a:cubicBezTo>
                  <a:cubicBezTo>
                    <a:pt x="192718" y="6655"/>
                    <a:pt x="218172" y="16693"/>
                    <a:pt x="233706" y="37486"/>
                  </a:cubicBezTo>
                  <a:cubicBezTo>
                    <a:pt x="259160" y="71902"/>
                    <a:pt x="264537" y="123645"/>
                    <a:pt x="262386" y="168098"/>
                  </a:cubicBezTo>
                  <a:cubicBezTo>
                    <a:pt x="262028" y="176344"/>
                    <a:pt x="261311" y="184589"/>
                    <a:pt x="260235" y="192835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90F7372D-6CCA-409F-A8CB-D1BE58FC6261}"/>
                </a:ext>
              </a:extLst>
            </p:cNvPr>
            <p:cNvSpPr/>
            <p:nvPr/>
          </p:nvSpPr>
          <p:spPr>
            <a:xfrm>
              <a:off x="3246120" y="6112949"/>
              <a:ext cx="227049" cy="71700"/>
            </a:xfrm>
            <a:custGeom>
              <a:avLst/>
              <a:gdLst>
                <a:gd name="connsiteX0" fmla="*/ 219725 w 227048"/>
                <a:gd name="connsiteY0" fmla="*/ 41949 h 71699"/>
                <a:gd name="connsiteX1" fmla="*/ 138227 w 227048"/>
                <a:gd name="connsiteY1" fmla="*/ 72661 h 71699"/>
                <a:gd name="connsiteX2" fmla="*/ 67364 w 227048"/>
                <a:gd name="connsiteY2" fmla="*/ 20559 h 71699"/>
                <a:gd name="connsiteX3" fmla="*/ 64496 w 227048"/>
                <a:gd name="connsiteY3" fmla="*/ 15540 h 71699"/>
                <a:gd name="connsiteX4" fmla="*/ 38086 w 227048"/>
                <a:gd name="connsiteY4" fmla="*/ 13987 h 71699"/>
                <a:gd name="connsiteX5" fmla="*/ 9526 w 227048"/>
                <a:gd name="connsiteY5" fmla="*/ 22352 h 71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7048" h="71699">
                  <a:moveTo>
                    <a:pt x="219725" y="41949"/>
                  </a:moveTo>
                  <a:cubicBezTo>
                    <a:pt x="194272" y="64774"/>
                    <a:pt x="166309" y="76246"/>
                    <a:pt x="138227" y="72661"/>
                  </a:cubicBezTo>
                  <a:cubicBezTo>
                    <a:pt x="107754" y="68717"/>
                    <a:pt x="86722" y="53422"/>
                    <a:pt x="67364" y="20559"/>
                  </a:cubicBezTo>
                  <a:lnTo>
                    <a:pt x="64496" y="15540"/>
                  </a:lnTo>
                  <a:cubicBezTo>
                    <a:pt x="64496" y="15540"/>
                    <a:pt x="58162" y="3112"/>
                    <a:pt x="38086" y="13987"/>
                  </a:cubicBezTo>
                  <a:cubicBezTo>
                    <a:pt x="18847" y="24383"/>
                    <a:pt x="9526" y="22352"/>
                    <a:pt x="9526" y="22352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98A42026-464C-4C08-8A6C-E8EDF4018F8E}"/>
                </a:ext>
              </a:extLst>
            </p:cNvPr>
            <p:cNvSpPr/>
            <p:nvPr/>
          </p:nvSpPr>
          <p:spPr>
            <a:xfrm>
              <a:off x="3256320" y="5773412"/>
              <a:ext cx="298748" cy="310698"/>
            </a:xfrm>
            <a:custGeom>
              <a:avLst/>
              <a:gdLst>
                <a:gd name="connsiteX0" fmla="*/ 15339 w 298748"/>
                <a:gd name="connsiteY0" fmla="*/ 269755 h 310698"/>
                <a:gd name="connsiteX1" fmla="*/ 11515 w 298748"/>
                <a:gd name="connsiteY1" fmla="*/ 183357 h 310698"/>
                <a:gd name="connsiteX2" fmla="*/ 179770 w 298748"/>
                <a:gd name="connsiteY2" fmla="*/ 10441 h 310698"/>
                <a:gd name="connsiteX3" fmla="*/ 298672 w 298748"/>
                <a:gd name="connsiteY3" fmla="*/ 220401 h 310698"/>
                <a:gd name="connsiteX4" fmla="*/ 271306 w 298748"/>
                <a:gd name="connsiteY4" fmla="*/ 306441 h 31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748" h="310698">
                  <a:moveTo>
                    <a:pt x="15339" y="269755"/>
                  </a:moveTo>
                  <a:cubicBezTo>
                    <a:pt x="9603" y="243584"/>
                    <a:pt x="7691" y="212993"/>
                    <a:pt x="11515" y="183357"/>
                  </a:cubicBezTo>
                  <a:cubicBezTo>
                    <a:pt x="25138" y="77600"/>
                    <a:pt x="100423" y="164"/>
                    <a:pt x="179770" y="10441"/>
                  </a:cubicBezTo>
                  <a:cubicBezTo>
                    <a:pt x="259118" y="20599"/>
                    <a:pt x="312295" y="114645"/>
                    <a:pt x="298672" y="220401"/>
                  </a:cubicBezTo>
                  <a:cubicBezTo>
                    <a:pt x="294609" y="252188"/>
                    <a:pt x="284930" y="281346"/>
                    <a:pt x="271306" y="306441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175A0215-230C-4BA6-9703-DEA56C2A1EDD}"/>
                </a:ext>
              </a:extLst>
            </p:cNvPr>
            <p:cNvSpPr/>
            <p:nvPr/>
          </p:nvSpPr>
          <p:spPr>
            <a:xfrm>
              <a:off x="3456320" y="6109284"/>
              <a:ext cx="107549" cy="47800"/>
            </a:xfrm>
            <a:custGeom>
              <a:avLst/>
              <a:gdLst>
                <a:gd name="connsiteX0" fmla="*/ 9526 w 107549"/>
                <a:gd name="connsiteY0" fmla="*/ 45614 h 47799"/>
                <a:gd name="connsiteX1" fmla="*/ 41313 w 107549"/>
                <a:gd name="connsiteY1" fmla="*/ 35935 h 47799"/>
                <a:gd name="connsiteX2" fmla="*/ 99867 w 107549"/>
                <a:gd name="connsiteY2" fmla="*/ 9526 h 47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549" h="47799">
                  <a:moveTo>
                    <a:pt x="9526" y="45614"/>
                  </a:moveTo>
                  <a:cubicBezTo>
                    <a:pt x="9526" y="45614"/>
                    <a:pt x="29243" y="27331"/>
                    <a:pt x="41313" y="35935"/>
                  </a:cubicBezTo>
                  <a:cubicBezTo>
                    <a:pt x="54935" y="45495"/>
                    <a:pt x="71068" y="68678"/>
                    <a:pt x="99867" y="9526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DA33E9E5-2F7F-4399-89AC-6F71C3DF10C9}"/>
                </a:ext>
              </a:extLst>
            </p:cNvPr>
            <p:cNvSpPr/>
            <p:nvPr/>
          </p:nvSpPr>
          <p:spPr>
            <a:xfrm>
              <a:off x="3361904" y="5990023"/>
              <a:ext cx="59750" cy="107549"/>
            </a:xfrm>
            <a:custGeom>
              <a:avLst/>
              <a:gdLst>
                <a:gd name="connsiteX0" fmla="*/ 12166 w 59749"/>
                <a:gd name="connsiteY0" fmla="*/ 9526 h 107549"/>
                <a:gd name="connsiteX1" fmla="*/ 56501 w 59749"/>
                <a:gd name="connsiteY1" fmla="*/ 107993 h 107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749" h="107549">
                  <a:moveTo>
                    <a:pt x="12166" y="9526"/>
                  </a:moveTo>
                  <a:cubicBezTo>
                    <a:pt x="12166" y="9526"/>
                    <a:pt x="-6715" y="121138"/>
                    <a:pt x="56501" y="107993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2831D1F8-037B-4E82-810E-2C1F9E4D5A58}"/>
                </a:ext>
              </a:extLst>
            </p:cNvPr>
            <p:cNvSpPr/>
            <p:nvPr/>
          </p:nvSpPr>
          <p:spPr>
            <a:xfrm>
              <a:off x="3512610" y="6070208"/>
              <a:ext cx="23900" cy="47800"/>
            </a:xfrm>
            <a:custGeom>
              <a:avLst/>
              <a:gdLst>
                <a:gd name="connsiteX0" fmla="*/ 14897 w 23899"/>
                <a:gd name="connsiteY0" fmla="*/ 9526 h 47799"/>
                <a:gd name="connsiteX1" fmla="*/ 19199 w 23899"/>
                <a:gd name="connsiteY1" fmla="*/ 47526 h 47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99" h="47799">
                  <a:moveTo>
                    <a:pt x="14897" y="9526"/>
                  </a:moveTo>
                  <a:cubicBezTo>
                    <a:pt x="14897" y="9526"/>
                    <a:pt x="318" y="35815"/>
                    <a:pt x="19199" y="47526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04DAF6E1-4FEB-43FE-9B94-5380648E5DDC}"/>
                </a:ext>
              </a:extLst>
            </p:cNvPr>
            <p:cNvSpPr/>
            <p:nvPr/>
          </p:nvSpPr>
          <p:spPr>
            <a:xfrm>
              <a:off x="3219592" y="6033402"/>
              <a:ext cx="59750" cy="47800"/>
            </a:xfrm>
            <a:custGeom>
              <a:avLst/>
              <a:gdLst>
                <a:gd name="connsiteX0" fmla="*/ 9526 w 59749"/>
                <a:gd name="connsiteY0" fmla="*/ 20520 h 47799"/>
                <a:gd name="connsiteX1" fmla="*/ 41312 w 59749"/>
                <a:gd name="connsiteY1" fmla="*/ 44181 h 47799"/>
                <a:gd name="connsiteX2" fmla="*/ 52068 w 59749"/>
                <a:gd name="connsiteY2" fmla="*/ 9526 h 47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749" h="47799">
                  <a:moveTo>
                    <a:pt x="9526" y="20520"/>
                  </a:moveTo>
                  <a:cubicBezTo>
                    <a:pt x="9526" y="20520"/>
                    <a:pt x="14425" y="53741"/>
                    <a:pt x="41312" y="44181"/>
                  </a:cubicBezTo>
                  <a:cubicBezTo>
                    <a:pt x="56130" y="39042"/>
                    <a:pt x="54935" y="25897"/>
                    <a:pt x="52068" y="9526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4D42E12E-75AE-4BE2-91E3-D20FB43B8E4F}"/>
                </a:ext>
              </a:extLst>
            </p:cNvPr>
            <p:cNvSpPr/>
            <p:nvPr/>
          </p:nvSpPr>
          <p:spPr>
            <a:xfrm>
              <a:off x="3364425" y="5948542"/>
              <a:ext cx="59750" cy="107549"/>
            </a:xfrm>
            <a:custGeom>
              <a:avLst/>
              <a:gdLst>
                <a:gd name="connsiteX0" fmla="*/ 34382 w 59749"/>
                <a:gd name="connsiteY0" fmla="*/ 68096 h 107549"/>
                <a:gd name="connsiteX1" fmla="*/ 42268 w 59749"/>
                <a:gd name="connsiteY1" fmla="*/ 104065 h 107549"/>
                <a:gd name="connsiteX2" fmla="*/ 60671 w 59749"/>
                <a:gd name="connsiteY2" fmla="*/ 57460 h 107549"/>
                <a:gd name="connsiteX3" fmla="*/ 39640 w 59749"/>
                <a:gd name="connsiteY3" fmla="*/ 9661 h 107549"/>
                <a:gd name="connsiteX4" fmla="*/ 9526 w 59749"/>
                <a:gd name="connsiteY4" fmla="*/ 50888 h 107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49" h="107549">
                  <a:moveTo>
                    <a:pt x="34382" y="68096"/>
                  </a:moveTo>
                  <a:cubicBezTo>
                    <a:pt x="34382" y="68096"/>
                    <a:pt x="29602" y="102153"/>
                    <a:pt x="42268" y="104065"/>
                  </a:cubicBezTo>
                  <a:cubicBezTo>
                    <a:pt x="61269" y="106814"/>
                    <a:pt x="60671" y="57460"/>
                    <a:pt x="60671" y="57460"/>
                  </a:cubicBezTo>
                  <a:cubicBezTo>
                    <a:pt x="61269" y="30932"/>
                    <a:pt x="54457" y="11573"/>
                    <a:pt x="39640" y="9661"/>
                  </a:cubicBezTo>
                  <a:cubicBezTo>
                    <a:pt x="24822" y="7749"/>
                    <a:pt x="12752" y="26391"/>
                    <a:pt x="9526" y="50888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874010CB-D07E-4DE8-998E-BCF1222669F2}"/>
              </a:ext>
            </a:extLst>
          </p:cNvPr>
          <p:cNvGrpSpPr/>
          <p:nvPr/>
        </p:nvGrpSpPr>
        <p:grpSpPr>
          <a:xfrm>
            <a:off x="7113238" y="5677611"/>
            <a:ext cx="538946" cy="423559"/>
            <a:chOff x="3828532" y="1313006"/>
            <a:chExt cx="733014" cy="576078"/>
          </a:xfrm>
        </p:grpSpPr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041CB0FB-01B4-4A05-BBDD-72B99932E11C}"/>
                </a:ext>
              </a:extLst>
            </p:cNvPr>
            <p:cNvSpPr/>
            <p:nvPr/>
          </p:nvSpPr>
          <p:spPr>
            <a:xfrm>
              <a:off x="3828532" y="1313006"/>
              <a:ext cx="384052" cy="576078"/>
            </a:xfrm>
            <a:custGeom>
              <a:avLst/>
              <a:gdLst>
                <a:gd name="connsiteX0" fmla="*/ 294011 w 384052"/>
                <a:gd name="connsiteY0" fmla="*/ 103579 h 576078"/>
                <a:gd name="connsiteX1" fmla="*/ 277476 w 384052"/>
                <a:gd name="connsiteY1" fmla="*/ 208019 h 576078"/>
                <a:gd name="connsiteX2" fmla="*/ 254432 w 384052"/>
                <a:gd name="connsiteY2" fmla="*/ 265734 h 576078"/>
                <a:gd name="connsiteX3" fmla="*/ 277476 w 384052"/>
                <a:gd name="connsiteY3" fmla="*/ 300299 h 576078"/>
                <a:gd name="connsiteX4" fmla="*/ 353433 w 384052"/>
                <a:gd name="connsiteY4" fmla="*/ 343611 h 576078"/>
                <a:gd name="connsiteX5" fmla="*/ 381277 w 384052"/>
                <a:gd name="connsiteY5" fmla="*/ 392578 h 576078"/>
                <a:gd name="connsiteX6" fmla="*/ 377436 w 384052"/>
                <a:gd name="connsiteY6" fmla="*/ 415621 h 576078"/>
                <a:gd name="connsiteX7" fmla="*/ 350979 w 384052"/>
                <a:gd name="connsiteY7" fmla="*/ 507900 h 576078"/>
                <a:gd name="connsiteX8" fmla="*/ 307666 w 384052"/>
                <a:gd name="connsiteY8" fmla="*/ 554093 h 576078"/>
                <a:gd name="connsiteX9" fmla="*/ 196611 w 384052"/>
                <a:gd name="connsiteY9" fmla="*/ 565615 h 576078"/>
                <a:gd name="connsiteX10" fmla="*/ 85556 w 384052"/>
                <a:gd name="connsiteY10" fmla="*/ 554093 h 576078"/>
                <a:gd name="connsiteX11" fmla="*/ 42244 w 384052"/>
                <a:gd name="connsiteY11" fmla="*/ 507900 h 576078"/>
                <a:gd name="connsiteX12" fmla="*/ 15787 w 384052"/>
                <a:gd name="connsiteY12" fmla="*/ 415621 h 576078"/>
                <a:gd name="connsiteX13" fmla="*/ 11946 w 384052"/>
                <a:gd name="connsiteY13" fmla="*/ 392578 h 576078"/>
                <a:gd name="connsiteX14" fmla="*/ 39790 w 384052"/>
                <a:gd name="connsiteY14" fmla="*/ 343611 h 576078"/>
                <a:gd name="connsiteX15" fmla="*/ 115747 w 384052"/>
                <a:gd name="connsiteY15" fmla="*/ 300299 h 576078"/>
                <a:gd name="connsiteX16" fmla="*/ 138790 w 384052"/>
                <a:gd name="connsiteY16" fmla="*/ 265734 h 576078"/>
                <a:gd name="connsiteX17" fmla="*/ 115747 w 384052"/>
                <a:gd name="connsiteY17" fmla="*/ 208019 h 576078"/>
                <a:gd name="connsiteX18" fmla="*/ 92704 w 384052"/>
                <a:gd name="connsiteY18" fmla="*/ 115740 h 576078"/>
                <a:gd name="connsiteX19" fmla="*/ 196505 w 384052"/>
                <a:gd name="connsiteY19" fmla="*/ 11939 h 576078"/>
                <a:gd name="connsiteX20" fmla="*/ 323348 w 384052"/>
                <a:gd name="connsiteY20" fmla="*/ 23461 h 576078"/>
                <a:gd name="connsiteX21" fmla="*/ 253899 w 384052"/>
                <a:gd name="connsiteY21" fmla="*/ 121074 h 576078"/>
                <a:gd name="connsiteX22" fmla="*/ 161833 w 384052"/>
                <a:gd name="connsiteY22" fmla="*/ 104219 h 576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84052" h="576078">
                  <a:moveTo>
                    <a:pt x="294011" y="103579"/>
                  </a:moveTo>
                  <a:cubicBezTo>
                    <a:pt x="315134" y="117980"/>
                    <a:pt x="337857" y="178789"/>
                    <a:pt x="277476" y="208019"/>
                  </a:cubicBezTo>
                  <a:cubicBezTo>
                    <a:pt x="277476" y="208019"/>
                    <a:pt x="271715" y="246958"/>
                    <a:pt x="254432" y="265734"/>
                  </a:cubicBezTo>
                  <a:cubicBezTo>
                    <a:pt x="254432" y="288777"/>
                    <a:pt x="268088" y="295818"/>
                    <a:pt x="277476" y="300299"/>
                  </a:cubicBezTo>
                  <a:cubicBezTo>
                    <a:pt x="297959" y="310113"/>
                    <a:pt x="333803" y="328249"/>
                    <a:pt x="353433" y="343611"/>
                  </a:cubicBezTo>
                  <a:cubicBezTo>
                    <a:pt x="368048" y="355026"/>
                    <a:pt x="380850" y="370601"/>
                    <a:pt x="381277" y="392578"/>
                  </a:cubicBezTo>
                  <a:cubicBezTo>
                    <a:pt x="381383" y="399619"/>
                    <a:pt x="380210" y="407300"/>
                    <a:pt x="377436" y="415621"/>
                  </a:cubicBezTo>
                  <a:cubicBezTo>
                    <a:pt x="377436" y="415621"/>
                    <a:pt x="353753" y="499366"/>
                    <a:pt x="350979" y="507900"/>
                  </a:cubicBezTo>
                  <a:cubicBezTo>
                    <a:pt x="347565" y="518462"/>
                    <a:pt x="335297" y="544705"/>
                    <a:pt x="307666" y="554093"/>
                  </a:cubicBezTo>
                  <a:cubicBezTo>
                    <a:pt x="285263" y="561774"/>
                    <a:pt x="253579" y="565615"/>
                    <a:pt x="196611" y="565615"/>
                  </a:cubicBezTo>
                  <a:cubicBezTo>
                    <a:pt x="139643" y="565615"/>
                    <a:pt x="108066" y="561774"/>
                    <a:pt x="85556" y="554093"/>
                  </a:cubicBezTo>
                  <a:cubicBezTo>
                    <a:pt x="57926" y="544598"/>
                    <a:pt x="45657" y="518462"/>
                    <a:pt x="42244" y="507900"/>
                  </a:cubicBezTo>
                  <a:cubicBezTo>
                    <a:pt x="39470" y="499366"/>
                    <a:pt x="15787" y="415621"/>
                    <a:pt x="15787" y="415621"/>
                  </a:cubicBezTo>
                  <a:cubicBezTo>
                    <a:pt x="13013" y="407193"/>
                    <a:pt x="11840" y="399619"/>
                    <a:pt x="11946" y="392578"/>
                  </a:cubicBezTo>
                  <a:cubicBezTo>
                    <a:pt x="12266" y="370601"/>
                    <a:pt x="25175" y="355026"/>
                    <a:pt x="39790" y="343611"/>
                  </a:cubicBezTo>
                  <a:cubicBezTo>
                    <a:pt x="59419" y="328249"/>
                    <a:pt x="95264" y="310113"/>
                    <a:pt x="115747" y="300299"/>
                  </a:cubicBezTo>
                  <a:cubicBezTo>
                    <a:pt x="125135" y="295818"/>
                    <a:pt x="138790" y="288777"/>
                    <a:pt x="138790" y="265734"/>
                  </a:cubicBezTo>
                  <a:cubicBezTo>
                    <a:pt x="121401" y="246958"/>
                    <a:pt x="115747" y="208019"/>
                    <a:pt x="115747" y="208019"/>
                  </a:cubicBezTo>
                  <a:cubicBezTo>
                    <a:pt x="54192" y="178255"/>
                    <a:pt x="80222" y="123848"/>
                    <a:pt x="92704" y="115740"/>
                  </a:cubicBezTo>
                  <a:cubicBezTo>
                    <a:pt x="92704" y="88643"/>
                    <a:pt x="92597" y="11939"/>
                    <a:pt x="196505" y="11939"/>
                  </a:cubicBezTo>
                  <a:cubicBezTo>
                    <a:pt x="261260" y="11939"/>
                    <a:pt x="265741" y="34983"/>
                    <a:pt x="323348" y="23461"/>
                  </a:cubicBezTo>
                  <a:cubicBezTo>
                    <a:pt x="323348" y="23461"/>
                    <a:pt x="330496" y="108699"/>
                    <a:pt x="253899" y="121074"/>
                  </a:cubicBezTo>
                  <a:cubicBezTo>
                    <a:pt x="184983" y="132276"/>
                    <a:pt x="161833" y="104219"/>
                    <a:pt x="161833" y="104219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90556355-6D28-4609-A52A-4B33063F50BF}"/>
                </a:ext>
              </a:extLst>
            </p:cNvPr>
            <p:cNvSpPr/>
            <p:nvPr/>
          </p:nvSpPr>
          <p:spPr>
            <a:xfrm>
              <a:off x="4186455" y="1416700"/>
              <a:ext cx="330712" cy="384052"/>
            </a:xfrm>
            <a:custGeom>
              <a:avLst/>
              <a:gdLst>
                <a:gd name="connsiteX0" fmla="*/ 11939 w 330711"/>
                <a:gd name="connsiteY0" fmla="*/ 11939 h 384052"/>
                <a:gd name="connsiteX1" fmla="*/ 323342 w 330711"/>
                <a:gd name="connsiteY1" fmla="*/ 11939 h 384052"/>
                <a:gd name="connsiteX2" fmla="*/ 323342 w 330711"/>
                <a:gd name="connsiteY2" fmla="*/ 381163 h 384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0711" h="384052">
                  <a:moveTo>
                    <a:pt x="11939" y="11939"/>
                  </a:moveTo>
                  <a:lnTo>
                    <a:pt x="323342" y="11939"/>
                  </a:lnTo>
                  <a:lnTo>
                    <a:pt x="323342" y="381163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ED70BC3B-19A6-4DA1-A8F6-F97BC4CD6CED}"/>
                </a:ext>
              </a:extLst>
            </p:cNvPr>
            <p:cNvSpPr/>
            <p:nvPr/>
          </p:nvSpPr>
          <p:spPr>
            <a:xfrm>
              <a:off x="4267105" y="1520501"/>
              <a:ext cx="106681" cy="106681"/>
            </a:xfrm>
            <a:custGeom>
              <a:avLst/>
              <a:gdLst>
                <a:gd name="connsiteX0" fmla="*/ 104325 w 106681"/>
                <a:gd name="connsiteY0" fmla="*/ 58132 h 106681"/>
                <a:gd name="connsiteX1" fmla="*/ 58133 w 106681"/>
                <a:gd name="connsiteY1" fmla="*/ 104325 h 106681"/>
                <a:gd name="connsiteX2" fmla="*/ 11940 w 106681"/>
                <a:gd name="connsiteY2" fmla="*/ 58132 h 106681"/>
                <a:gd name="connsiteX3" fmla="*/ 58133 w 106681"/>
                <a:gd name="connsiteY3" fmla="*/ 11939 h 106681"/>
                <a:gd name="connsiteX4" fmla="*/ 104325 w 106681"/>
                <a:gd name="connsiteY4" fmla="*/ 58132 h 106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681" h="106681">
                  <a:moveTo>
                    <a:pt x="104325" y="58132"/>
                  </a:moveTo>
                  <a:cubicBezTo>
                    <a:pt x="104325" y="83644"/>
                    <a:pt x="83644" y="104325"/>
                    <a:pt x="58133" y="104325"/>
                  </a:cubicBezTo>
                  <a:cubicBezTo>
                    <a:pt x="32621" y="104325"/>
                    <a:pt x="11940" y="83644"/>
                    <a:pt x="11940" y="58132"/>
                  </a:cubicBezTo>
                  <a:cubicBezTo>
                    <a:pt x="11940" y="32621"/>
                    <a:pt x="32621" y="11939"/>
                    <a:pt x="58133" y="11939"/>
                  </a:cubicBezTo>
                  <a:cubicBezTo>
                    <a:pt x="83644" y="11939"/>
                    <a:pt x="104325" y="32621"/>
                    <a:pt x="104325" y="58132"/>
                  </a:cubicBezTo>
                  <a:close/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52AB966F-E4B8-4E2C-B5EB-79F4217B2C71}"/>
                </a:ext>
              </a:extLst>
            </p:cNvPr>
            <p:cNvSpPr/>
            <p:nvPr/>
          </p:nvSpPr>
          <p:spPr>
            <a:xfrm>
              <a:off x="4209498" y="1785924"/>
              <a:ext cx="352048" cy="85345"/>
            </a:xfrm>
            <a:custGeom>
              <a:avLst/>
              <a:gdLst>
                <a:gd name="connsiteX0" fmla="*/ 34983 w 352047"/>
                <a:gd name="connsiteY0" fmla="*/ 11939 h 85344"/>
                <a:gd name="connsiteX1" fmla="*/ 346385 w 352047"/>
                <a:gd name="connsiteY1" fmla="*/ 11939 h 85344"/>
                <a:gd name="connsiteX2" fmla="*/ 346385 w 352047"/>
                <a:gd name="connsiteY2" fmla="*/ 46504 h 85344"/>
                <a:gd name="connsiteX3" fmla="*/ 311820 w 352047"/>
                <a:gd name="connsiteY3" fmla="*/ 81069 h 85344"/>
                <a:gd name="connsiteX4" fmla="*/ 11939 w 352047"/>
                <a:gd name="connsiteY4" fmla="*/ 81069 h 8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2047" h="85344">
                  <a:moveTo>
                    <a:pt x="34983" y="11939"/>
                  </a:moveTo>
                  <a:lnTo>
                    <a:pt x="346385" y="11939"/>
                  </a:lnTo>
                  <a:lnTo>
                    <a:pt x="346385" y="46504"/>
                  </a:lnTo>
                  <a:cubicBezTo>
                    <a:pt x="346385" y="65493"/>
                    <a:pt x="330809" y="81069"/>
                    <a:pt x="311820" y="81069"/>
                  </a:cubicBezTo>
                  <a:lnTo>
                    <a:pt x="11939" y="81069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849C4E42-20F9-44AC-BA52-C56EADC9A536}"/>
                </a:ext>
              </a:extLst>
            </p:cNvPr>
            <p:cNvSpPr/>
            <p:nvPr/>
          </p:nvSpPr>
          <p:spPr>
            <a:xfrm>
              <a:off x="4255584" y="1658973"/>
              <a:ext cx="170690" cy="85345"/>
            </a:xfrm>
            <a:custGeom>
              <a:avLst/>
              <a:gdLst>
                <a:gd name="connsiteX0" fmla="*/ 11939 w 170689"/>
                <a:gd name="connsiteY0" fmla="*/ 11939 h 85344"/>
                <a:gd name="connsiteX1" fmla="*/ 127262 w 170689"/>
                <a:gd name="connsiteY1" fmla="*/ 11939 h 85344"/>
                <a:gd name="connsiteX2" fmla="*/ 161827 w 170689"/>
                <a:gd name="connsiteY2" fmla="*/ 46504 h 85344"/>
                <a:gd name="connsiteX3" fmla="*/ 161827 w 170689"/>
                <a:gd name="connsiteY3" fmla="*/ 81069 h 8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689" h="85344">
                  <a:moveTo>
                    <a:pt x="11939" y="11939"/>
                  </a:moveTo>
                  <a:lnTo>
                    <a:pt x="127262" y="11939"/>
                  </a:lnTo>
                  <a:cubicBezTo>
                    <a:pt x="146251" y="11939"/>
                    <a:pt x="161827" y="27515"/>
                    <a:pt x="161827" y="46504"/>
                  </a:cubicBezTo>
                  <a:lnTo>
                    <a:pt x="161827" y="81069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B6AA0638-A684-4EAF-AADE-06F00AFAFB9F}"/>
                </a:ext>
              </a:extLst>
            </p:cNvPr>
            <p:cNvSpPr/>
            <p:nvPr/>
          </p:nvSpPr>
          <p:spPr>
            <a:xfrm>
              <a:off x="3944182" y="1601259"/>
              <a:ext cx="160022" cy="138686"/>
            </a:xfrm>
            <a:custGeom>
              <a:avLst/>
              <a:gdLst>
                <a:gd name="connsiteX0" fmla="*/ 11939 w 160021"/>
                <a:gd name="connsiteY0" fmla="*/ 11939 h 138685"/>
                <a:gd name="connsiteX1" fmla="*/ 81175 w 160021"/>
                <a:gd name="connsiteY1" fmla="*/ 127368 h 138685"/>
                <a:gd name="connsiteX2" fmla="*/ 150305 w 160021"/>
                <a:gd name="connsiteY2" fmla="*/ 11939 h 13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0021" h="138685">
                  <a:moveTo>
                    <a:pt x="11939" y="11939"/>
                  </a:moveTo>
                  <a:lnTo>
                    <a:pt x="81175" y="127368"/>
                  </a:lnTo>
                  <a:lnTo>
                    <a:pt x="150305" y="11939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94574C8A-2D1F-4996-9772-3FAC26AD1ADE}"/>
              </a:ext>
            </a:extLst>
          </p:cNvPr>
          <p:cNvGrpSpPr/>
          <p:nvPr/>
        </p:nvGrpSpPr>
        <p:grpSpPr>
          <a:xfrm>
            <a:off x="4540423" y="5748100"/>
            <a:ext cx="492322" cy="369777"/>
            <a:chOff x="2984628" y="3451416"/>
            <a:chExt cx="757835" cy="569201"/>
          </a:xfrm>
        </p:grpSpPr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3B283AE1-0D72-474B-9ABE-A8495D3FB710}"/>
                </a:ext>
              </a:extLst>
            </p:cNvPr>
            <p:cNvSpPr/>
            <p:nvPr/>
          </p:nvSpPr>
          <p:spPr>
            <a:xfrm>
              <a:off x="3205230" y="3761085"/>
              <a:ext cx="283126" cy="153360"/>
            </a:xfrm>
            <a:custGeom>
              <a:avLst/>
              <a:gdLst>
                <a:gd name="connsiteX0" fmla="*/ 8501 w 228600"/>
                <a:gd name="connsiteY0" fmla="*/ 8501 h 123825"/>
                <a:gd name="connsiteX1" fmla="*/ 229386 w 228600"/>
                <a:gd name="connsiteY1" fmla="*/ 117277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8600" h="123825">
                  <a:moveTo>
                    <a:pt x="8501" y="8501"/>
                  </a:moveTo>
                  <a:cubicBezTo>
                    <a:pt x="8501" y="8501"/>
                    <a:pt x="131850" y="19645"/>
                    <a:pt x="229386" y="117277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8BB0E5D7-11BB-4B93-BC89-94F1C0649246}"/>
                </a:ext>
              </a:extLst>
            </p:cNvPr>
            <p:cNvSpPr/>
            <p:nvPr/>
          </p:nvSpPr>
          <p:spPr>
            <a:xfrm>
              <a:off x="3034411" y="3586137"/>
              <a:ext cx="188751" cy="188751"/>
            </a:xfrm>
            <a:custGeom>
              <a:avLst/>
              <a:gdLst>
                <a:gd name="connsiteX0" fmla="*/ 8501 w 152400"/>
                <a:gd name="connsiteY0" fmla="*/ 8501 h 152400"/>
                <a:gd name="connsiteX1" fmla="*/ 146423 w 152400"/>
                <a:gd name="connsiteY1" fmla="*/ 8501 h 152400"/>
                <a:gd name="connsiteX2" fmla="*/ 146423 w 152400"/>
                <a:gd name="connsiteY2" fmla="*/ 149757 h 152400"/>
                <a:gd name="connsiteX3" fmla="*/ 8501 w 152400"/>
                <a:gd name="connsiteY3" fmla="*/ 149757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152400">
                  <a:moveTo>
                    <a:pt x="8501" y="8501"/>
                  </a:moveTo>
                  <a:lnTo>
                    <a:pt x="146423" y="8501"/>
                  </a:lnTo>
                  <a:lnTo>
                    <a:pt x="146423" y="149757"/>
                  </a:lnTo>
                  <a:lnTo>
                    <a:pt x="8501" y="149757"/>
                  </a:lnTo>
                  <a:close/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A04DB78B-C2EE-4588-B5B3-5FC24CE95EE5}"/>
                </a:ext>
              </a:extLst>
            </p:cNvPr>
            <p:cNvSpPr/>
            <p:nvPr/>
          </p:nvSpPr>
          <p:spPr>
            <a:xfrm>
              <a:off x="3205230" y="3451416"/>
              <a:ext cx="283126" cy="460080"/>
            </a:xfrm>
            <a:custGeom>
              <a:avLst/>
              <a:gdLst>
                <a:gd name="connsiteX0" fmla="*/ 8501 w 228600"/>
                <a:gd name="connsiteY0" fmla="*/ 258532 h 371475"/>
                <a:gd name="connsiteX1" fmla="*/ 8501 w 228600"/>
                <a:gd name="connsiteY1" fmla="*/ 117277 h 371475"/>
                <a:gd name="connsiteX2" fmla="*/ 229386 w 228600"/>
                <a:gd name="connsiteY2" fmla="*/ 8501 h 371475"/>
                <a:gd name="connsiteX3" fmla="*/ 229386 w 228600"/>
                <a:gd name="connsiteY3" fmla="*/ 367308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600" h="371475">
                  <a:moveTo>
                    <a:pt x="8501" y="258532"/>
                  </a:moveTo>
                  <a:lnTo>
                    <a:pt x="8501" y="117277"/>
                  </a:lnTo>
                  <a:cubicBezTo>
                    <a:pt x="8501" y="117277"/>
                    <a:pt x="131850" y="106132"/>
                    <a:pt x="229386" y="8501"/>
                  </a:cubicBezTo>
                  <a:lnTo>
                    <a:pt x="229386" y="367308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7ACAC47A-F7BF-4B43-8992-83DE778E2068}"/>
                </a:ext>
              </a:extLst>
            </p:cNvPr>
            <p:cNvSpPr/>
            <p:nvPr/>
          </p:nvSpPr>
          <p:spPr>
            <a:xfrm>
              <a:off x="3478801" y="3607489"/>
              <a:ext cx="82578" cy="141563"/>
            </a:xfrm>
            <a:custGeom>
              <a:avLst/>
              <a:gdLst>
                <a:gd name="connsiteX0" fmla="*/ 8501 w 66675"/>
                <a:gd name="connsiteY0" fmla="*/ 8501 h 114300"/>
                <a:gd name="connsiteX1" fmla="*/ 61841 w 66675"/>
                <a:gd name="connsiteY1" fmla="*/ 61841 h 114300"/>
                <a:gd name="connsiteX2" fmla="*/ 8501 w 66675"/>
                <a:gd name="connsiteY2" fmla="*/ 11518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675" h="114300">
                  <a:moveTo>
                    <a:pt x="8501" y="8501"/>
                  </a:moveTo>
                  <a:cubicBezTo>
                    <a:pt x="37934" y="8501"/>
                    <a:pt x="61841" y="32409"/>
                    <a:pt x="61841" y="61841"/>
                  </a:cubicBezTo>
                  <a:cubicBezTo>
                    <a:pt x="61841" y="91273"/>
                    <a:pt x="37934" y="115181"/>
                    <a:pt x="8501" y="115181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5C445269-D6A6-47E3-8E79-40D5FBB98898}"/>
                </a:ext>
              </a:extLst>
            </p:cNvPr>
            <p:cNvSpPr/>
            <p:nvPr/>
          </p:nvSpPr>
          <p:spPr>
            <a:xfrm>
              <a:off x="2984628" y="3623887"/>
              <a:ext cx="70782" cy="117969"/>
            </a:xfrm>
            <a:custGeom>
              <a:avLst/>
              <a:gdLst>
                <a:gd name="connsiteX0" fmla="*/ 48697 w 57150"/>
                <a:gd name="connsiteY0" fmla="*/ 8501 h 95250"/>
                <a:gd name="connsiteX1" fmla="*/ 8501 w 57150"/>
                <a:gd name="connsiteY1" fmla="*/ 48697 h 95250"/>
                <a:gd name="connsiteX2" fmla="*/ 48697 w 57150"/>
                <a:gd name="connsiteY2" fmla="*/ 88892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95250">
                  <a:moveTo>
                    <a:pt x="48697" y="8501"/>
                  </a:moveTo>
                  <a:cubicBezTo>
                    <a:pt x="26503" y="8501"/>
                    <a:pt x="8501" y="26503"/>
                    <a:pt x="8501" y="48697"/>
                  </a:cubicBezTo>
                  <a:cubicBezTo>
                    <a:pt x="8501" y="70890"/>
                    <a:pt x="26503" y="88892"/>
                    <a:pt x="48697" y="88892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93767501-3818-4451-B023-49629FE457F3}"/>
                </a:ext>
              </a:extLst>
            </p:cNvPr>
            <p:cNvSpPr/>
            <p:nvPr/>
          </p:nvSpPr>
          <p:spPr>
            <a:xfrm>
              <a:off x="3061780" y="3761085"/>
              <a:ext cx="188751" cy="259532"/>
            </a:xfrm>
            <a:custGeom>
              <a:avLst/>
              <a:gdLst>
                <a:gd name="connsiteX0" fmla="*/ 123944 w 152400"/>
                <a:gd name="connsiteY0" fmla="*/ 32123 h 209550"/>
                <a:gd name="connsiteX1" fmla="*/ 144328 w 152400"/>
                <a:gd name="connsiteY1" fmla="*/ 190524 h 209550"/>
                <a:gd name="connsiteX2" fmla="*/ 124992 w 152400"/>
                <a:gd name="connsiteY2" fmla="*/ 201382 h 209550"/>
                <a:gd name="connsiteX3" fmla="*/ 82987 w 152400"/>
                <a:gd name="connsiteY3" fmla="*/ 198906 h 209550"/>
                <a:gd name="connsiteX4" fmla="*/ 8501 w 152400"/>
                <a:gd name="connsiteY4" fmla="*/ 8501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209550">
                  <a:moveTo>
                    <a:pt x="123944" y="32123"/>
                  </a:moveTo>
                  <a:cubicBezTo>
                    <a:pt x="106704" y="65651"/>
                    <a:pt x="146804" y="182047"/>
                    <a:pt x="144328" y="190524"/>
                  </a:cubicBezTo>
                  <a:cubicBezTo>
                    <a:pt x="142613" y="196525"/>
                    <a:pt x="130040" y="199954"/>
                    <a:pt x="124992" y="201382"/>
                  </a:cubicBezTo>
                  <a:cubicBezTo>
                    <a:pt x="112895" y="204716"/>
                    <a:pt x="94226" y="205669"/>
                    <a:pt x="82987" y="198906"/>
                  </a:cubicBezTo>
                  <a:cubicBezTo>
                    <a:pt x="55840" y="182332"/>
                    <a:pt x="50697" y="21169"/>
                    <a:pt x="8501" y="8501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EFC81BB1-8CE0-4A9D-A141-42F5D8F9EBB5}"/>
                </a:ext>
              </a:extLst>
            </p:cNvPr>
            <p:cNvSpPr/>
            <p:nvPr/>
          </p:nvSpPr>
          <p:spPr>
            <a:xfrm>
              <a:off x="3552060" y="3551571"/>
              <a:ext cx="129766" cy="58985"/>
            </a:xfrm>
            <a:custGeom>
              <a:avLst/>
              <a:gdLst>
                <a:gd name="connsiteX0" fmla="*/ 8501 w 104775"/>
                <a:gd name="connsiteY0" fmla="*/ 42791 h 47625"/>
                <a:gd name="connsiteX1" fmla="*/ 100989 w 104775"/>
                <a:gd name="connsiteY1" fmla="*/ 8501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775" h="47625">
                  <a:moveTo>
                    <a:pt x="8501" y="42791"/>
                  </a:moveTo>
                  <a:lnTo>
                    <a:pt x="100989" y="8501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20C3E8E7-86AD-4A3A-AEE1-5E1A9A5E2340}"/>
                </a:ext>
              </a:extLst>
            </p:cNvPr>
            <p:cNvSpPr/>
            <p:nvPr/>
          </p:nvSpPr>
          <p:spPr>
            <a:xfrm>
              <a:off x="3701999" y="3531871"/>
              <a:ext cx="35391" cy="23594"/>
            </a:xfrm>
            <a:custGeom>
              <a:avLst/>
              <a:gdLst>
                <a:gd name="connsiteX0" fmla="*/ 8501 w 28575"/>
                <a:gd name="connsiteY0" fmla="*/ 13835 h 19050"/>
                <a:gd name="connsiteX1" fmla="*/ 23074 w 28575"/>
                <a:gd name="connsiteY1" fmla="*/ 8501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19050">
                  <a:moveTo>
                    <a:pt x="8501" y="13835"/>
                  </a:moveTo>
                  <a:lnTo>
                    <a:pt x="23074" y="8501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356B977E-EB6E-4D14-8A6B-D2DF4D0C8E3D}"/>
                </a:ext>
              </a:extLst>
            </p:cNvPr>
            <p:cNvSpPr/>
            <p:nvPr/>
          </p:nvSpPr>
          <p:spPr>
            <a:xfrm>
              <a:off x="3600900" y="3594040"/>
              <a:ext cx="141563" cy="35391"/>
            </a:xfrm>
            <a:custGeom>
              <a:avLst/>
              <a:gdLst>
                <a:gd name="connsiteX0" fmla="*/ 107275 w 114300"/>
                <a:gd name="connsiteY0" fmla="*/ 8501 h 28575"/>
                <a:gd name="connsiteX1" fmla="*/ 8501 w 114300"/>
                <a:gd name="connsiteY1" fmla="*/ 26599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" h="28575">
                  <a:moveTo>
                    <a:pt x="107275" y="8501"/>
                  </a:moveTo>
                  <a:lnTo>
                    <a:pt x="8501" y="26599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A3940DD8-5808-4317-92D4-D3BA14194AFA}"/>
                </a:ext>
              </a:extLst>
            </p:cNvPr>
            <p:cNvSpPr/>
            <p:nvPr/>
          </p:nvSpPr>
          <p:spPr>
            <a:xfrm>
              <a:off x="3561616" y="3621174"/>
              <a:ext cx="35391" cy="23594"/>
            </a:xfrm>
            <a:custGeom>
              <a:avLst/>
              <a:gdLst>
                <a:gd name="connsiteX0" fmla="*/ 24408 w 28575"/>
                <a:gd name="connsiteY0" fmla="*/ 8501 h 19050"/>
                <a:gd name="connsiteX1" fmla="*/ 8501 w 28575"/>
                <a:gd name="connsiteY1" fmla="*/ 11454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19050">
                  <a:moveTo>
                    <a:pt x="24408" y="8501"/>
                  </a:moveTo>
                  <a:lnTo>
                    <a:pt x="8501" y="11454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1A4756CF-8330-47B9-AD86-460B34C1255A}"/>
                </a:ext>
              </a:extLst>
            </p:cNvPr>
            <p:cNvSpPr/>
            <p:nvPr/>
          </p:nvSpPr>
          <p:spPr>
            <a:xfrm>
              <a:off x="3552060" y="3746456"/>
              <a:ext cx="141563" cy="58985"/>
            </a:xfrm>
            <a:custGeom>
              <a:avLst/>
              <a:gdLst>
                <a:gd name="connsiteX0" fmla="*/ 8501 w 114300"/>
                <a:gd name="connsiteY0" fmla="*/ 8501 h 47625"/>
                <a:gd name="connsiteX1" fmla="*/ 110704 w 114300"/>
                <a:gd name="connsiteY1" fmla="*/ 4631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" h="47625">
                  <a:moveTo>
                    <a:pt x="8501" y="8501"/>
                  </a:moveTo>
                  <a:lnTo>
                    <a:pt x="110704" y="46315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D7BBE81F-592B-4723-9EC9-6F131900BA46}"/>
                </a:ext>
              </a:extLst>
            </p:cNvPr>
            <p:cNvSpPr/>
            <p:nvPr/>
          </p:nvSpPr>
          <p:spPr>
            <a:xfrm>
              <a:off x="3701999" y="3802020"/>
              <a:ext cx="35391" cy="23594"/>
            </a:xfrm>
            <a:custGeom>
              <a:avLst/>
              <a:gdLst>
                <a:gd name="connsiteX0" fmla="*/ 8501 w 28575"/>
                <a:gd name="connsiteY0" fmla="*/ 8501 h 19050"/>
                <a:gd name="connsiteX1" fmla="*/ 23074 w 28575"/>
                <a:gd name="connsiteY1" fmla="*/ 13835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19050">
                  <a:moveTo>
                    <a:pt x="8501" y="8501"/>
                  </a:moveTo>
                  <a:lnTo>
                    <a:pt x="23074" y="13835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223B4363-7551-47C3-952B-BDA9752165F4}"/>
                </a:ext>
              </a:extLst>
            </p:cNvPr>
            <p:cNvSpPr/>
            <p:nvPr/>
          </p:nvSpPr>
          <p:spPr>
            <a:xfrm>
              <a:off x="3685601" y="3739497"/>
              <a:ext cx="47188" cy="23594"/>
            </a:xfrm>
            <a:custGeom>
              <a:avLst/>
              <a:gdLst>
                <a:gd name="connsiteX0" fmla="*/ 38886 w 38100"/>
                <a:gd name="connsiteY0" fmla="*/ 14121 h 19050"/>
                <a:gd name="connsiteX1" fmla="*/ 8501 w 38100"/>
                <a:gd name="connsiteY1" fmla="*/ 8501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19050">
                  <a:moveTo>
                    <a:pt x="38886" y="14121"/>
                  </a:moveTo>
                  <a:lnTo>
                    <a:pt x="8501" y="8501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F9ED72BF-ACDA-47EA-8FA7-B0FD9E795734}"/>
                </a:ext>
              </a:extLst>
            </p:cNvPr>
            <p:cNvSpPr/>
            <p:nvPr/>
          </p:nvSpPr>
          <p:spPr>
            <a:xfrm>
              <a:off x="3561616" y="3717200"/>
              <a:ext cx="106172" cy="35391"/>
            </a:xfrm>
            <a:custGeom>
              <a:avLst/>
              <a:gdLst>
                <a:gd name="connsiteX0" fmla="*/ 78986 w 85725"/>
                <a:gd name="connsiteY0" fmla="*/ 21455 h 28575"/>
                <a:gd name="connsiteX1" fmla="*/ 8501 w 85725"/>
                <a:gd name="connsiteY1" fmla="*/ 850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25" h="28575">
                  <a:moveTo>
                    <a:pt x="78986" y="21455"/>
                  </a:moveTo>
                  <a:lnTo>
                    <a:pt x="8501" y="8501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9186DFAE-F017-4DDA-A109-515134729165}"/>
              </a:ext>
            </a:extLst>
          </p:cNvPr>
          <p:cNvGrpSpPr/>
          <p:nvPr/>
        </p:nvGrpSpPr>
        <p:grpSpPr>
          <a:xfrm>
            <a:off x="4020545" y="4485318"/>
            <a:ext cx="452863" cy="468800"/>
            <a:chOff x="4056734" y="4892550"/>
            <a:chExt cx="750587" cy="777002"/>
          </a:xfrm>
        </p:grpSpPr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44564F36-D2B7-4062-AFDA-22D73D84BE77}"/>
                </a:ext>
              </a:extLst>
            </p:cNvPr>
            <p:cNvSpPr/>
            <p:nvPr/>
          </p:nvSpPr>
          <p:spPr>
            <a:xfrm>
              <a:off x="4301540" y="5036750"/>
              <a:ext cx="259819" cy="259819"/>
            </a:xfrm>
            <a:custGeom>
              <a:avLst/>
              <a:gdLst>
                <a:gd name="connsiteX0" fmla="*/ 259716 w 259818"/>
                <a:gd name="connsiteY0" fmla="*/ 135292 h 259818"/>
                <a:gd name="connsiteX1" fmla="*/ 135292 w 259818"/>
                <a:gd name="connsiteY1" fmla="*/ 259716 h 259818"/>
                <a:gd name="connsiteX2" fmla="*/ 10868 w 259818"/>
                <a:gd name="connsiteY2" fmla="*/ 135292 h 259818"/>
                <a:gd name="connsiteX3" fmla="*/ 135292 w 259818"/>
                <a:gd name="connsiteY3" fmla="*/ 10867 h 259818"/>
                <a:gd name="connsiteX4" fmla="*/ 259716 w 259818"/>
                <a:gd name="connsiteY4" fmla="*/ 135292 h 259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9818" h="259818">
                  <a:moveTo>
                    <a:pt x="259716" y="135292"/>
                  </a:moveTo>
                  <a:cubicBezTo>
                    <a:pt x="259716" y="204009"/>
                    <a:pt x="204009" y="259716"/>
                    <a:pt x="135292" y="259716"/>
                  </a:cubicBezTo>
                  <a:cubicBezTo>
                    <a:pt x="66574" y="259716"/>
                    <a:pt x="10868" y="204009"/>
                    <a:pt x="10868" y="135292"/>
                  </a:cubicBezTo>
                  <a:cubicBezTo>
                    <a:pt x="10868" y="66574"/>
                    <a:pt x="66574" y="10867"/>
                    <a:pt x="135292" y="10867"/>
                  </a:cubicBezTo>
                  <a:cubicBezTo>
                    <a:pt x="204009" y="10867"/>
                    <a:pt x="259716" y="66574"/>
                    <a:pt x="259716" y="135292"/>
                  </a:cubicBezTo>
                  <a:close/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2D26229E-0F9C-4620-9A8A-34DB3D912E57}"/>
                </a:ext>
              </a:extLst>
            </p:cNvPr>
            <p:cNvSpPr/>
            <p:nvPr/>
          </p:nvSpPr>
          <p:spPr>
            <a:xfrm>
              <a:off x="4056734" y="5539643"/>
              <a:ext cx="750587" cy="129909"/>
            </a:xfrm>
            <a:custGeom>
              <a:avLst/>
              <a:gdLst>
                <a:gd name="connsiteX0" fmla="*/ 691303 w 750587"/>
                <a:gd name="connsiteY0" fmla="*/ 132982 h 129909"/>
                <a:gd name="connsiteX1" fmla="*/ 71925 w 750587"/>
                <a:gd name="connsiteY1" fmla="*/ 132982 h 129909"/>
                <a:gd name="connsiteX2" fmla="*/ 10867 w 750587"/>
                <a:gd name="connsiteY2" fmla="*/ 71924 h 129909"/>
                <a:gd name="connsiteX3" fmla="*/ 10867 w 750587"/>
                <a:gd name="connsiteY3" fmla="*/ 71924 h 129909"/>
                <a:gd name="connsiteX4" fmla="*/ 71925 w 750587"/>
                <a:gd name="connsiteY4" fmla="*/ 10867 h 129909"/>
                <a:gd name="connsiteX5" fmla="*/ 691303 w 750587"/>
                <a:gd name="connsiteY5" fmla="*/ 10867 h 129909"/>
                <a:gd name="connsiteX6" fmla="*/ 752361 w 750587"/>
                <a:gd name="connsiteY6" fmla="*/ 71924 h 129909"/>
                <a:gd name="connsiteX7" fmla="*/ 752361 w 750587"/>
                <a:gd name="connsiteY7" fmla="*/ 71924 h 129909"/>
                <a:gd name="connsiteX8" fmla="*/ 691303 w 750587"/>
                <a:gd name="connsiteY8" fmla="*/ 132982 h 12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0587" h="129909">
                  <a:moveTo>
                    <a:pt x="691303" y="132982"/>
                  </a:moveTo>
                  <a:lnTo>
                    <a:pt x="71925" y="132982"/>
                  </a:lnTo>
                  <a:cubicBezTo>
                    <a:pt x="38292" y="132982"/>
                    <a:pt x="10867" y="105557"/>
                    <a:pt x="10867" y="71924"/>
                  </a:cubicBezTo>
                  <a:lnTo>
                    <a:pt x="10867" y="71924"/>
                  </a:lnTo>
                  <a:cubicBezTo>
                    <a:pt x="10867" y="38292"/>
                    <a:pt x="38292" y="10867"/>
                    <a:pt x="71925" y="10867"/>
                  </a:cubicBezTo>
                  <a:lnTo>
                    <a:pt x="691303" y="10867"/>
                  </a:lnTo>
                  <a:cubicBezTo>
                    <a:pt x="724936" y="10867"/>
                    <a:pt x="752361" y="38292"/>
                    <a:pt x="752361" y="71924"/>
                  </a:cubicBezTo>
                  <a:lnTo>
                    <a:pt x="752361" y="71924"/>
                  </a:lnTo>
                  <a:cubicBezTo>
                    <a:pt x="752361" y="105557"/>
                    <a:pt x="724936" y="132982"/>
                    <a:pt x="691303" y="132982"/>
                  </a:cubicBezTo>
                  <a:close/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4A29FA28-B087-4D8E-BE27-A5D3FEFA12CE}"/>
                </a:ext>
              </a:extLst>
            </p:cNvPr>
            <p:cNvSpPr/>
            <p:nvPr/>
          </p:nvSpPr>
          <p:spPr>
            <a:xfrm>
              <a:off x="4549523" y="5539499"/>
              <a:ext cx="57737" cy="129909"/>
            </a:xfrm>
            <a:custGeom>
              <a:avLst/>
              <a:gdLst>
                <a:gd name="connsiteX0" fmla="*/ 51572 w 57737"/>
                <a:gd name="connsiteY0" fmla="*/ 10867 h 129909"/>
                <a:gd name="connsiteX1" fmla="*/ 10867 w 57737"/>
                <a:gd name="connsiteY1" fmla="*/ 133126 h 12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737" h="129909">
                  <a:moveTo>
                    <a:pt x="51572" y="10867"/>
                  </a:moveTo>
                  <a:lnTo>
                    <a:pt x="10867" y="133126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69BC7E69-7D43-42BD-B088-B11AB7FC860D}"/>
                </a:ext>
              </a:extLst>
            </p:cNvPr>
            <p:cNvSpPr/>
            <p:nvPr/>
          </p:nvSpPr>
          <p:spPr>
            <a:xfrm>
              <a:off x="4461762" y="5539499"/>
              <a:ext cx="57737" cy="129909"/>
            </a:xfrm>
            <a:custGeom>
              <a:avLst/>
              <a:gdLst>
                <a:gd name="connsiteX0" fmla="*/ 51716 w 57737"/>
                <a:gd name="connsiteY0" fmla="*/ 10867 h 129909"/>
                <a:gd name="connsiteX1" fmla="*/ 10867 w 57737"/>
                <a:gd name="connsiteY1" fmla="*/ 133126 h 12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737" h="129909">
                  <a:moveTo>
                    <a:pt x="51716" y="10867"/>
                  </a:moveTo>
                  <a:lnTo>
                    <a:pt x="10867" y="133126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96694499-3F94-4232-A85D-C77665898919}"/>
                </a:ext>
              </a:extLst>
            </p:cNvPr>
            <p:cNvSpPr/>
            <p:nvPr/>
          </p:nvSpPr>
          <p:spPr>
            <a:xfrm>
              <a:off x="4374145" y="5539499"/>
              <a:ext cx="57737" cy="129909"/>
            </a:xfrm>
            <a:custGeom>
              <a:avLst/>
              <a:gdLst>
                <a:gd name="connsiteX0" fmla="*/ 51717 w 57737"/>
                <a:gd name="connsiteY0" fmla="*/ 10867 h 129909"/>
                <a:gd name="connsiteX1" fmla="*/ 10867 w 57737"/>
                <a:gd name="connsiteY1" fmla="*/ 133126 h 12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737" h="129909">
                  <a:moveTo>
                    <a:pt x="51717" y="10867"/>
                  </a:moveTo>
                  <a:lnTo>
                    <a:pt x="10867" y="133126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E220765F-4CFD-45DB-98E1-6C1B1C1A1D8B}"/>
                </a:ext>
              </a:extLst>
            </p:cNvPr>
            <p:cNvSpPr/>
            <p:nvPr/>
          </p:nvSpPr>
          <p:spPr>
            <a:xfrm>
              <a:off x="4286529" y="5539499"/>
              <a:ext cx="57737" cy="129909"/>
            </a:xfrm>
            <a:custGeom>
              <a:avLst/>
              <a:gdLst>
                <a:gd name="connsiteX0" fmla="*/ 51572 w 57737"/>
                <a:gd name="connsiteY0" fmla="*/ 10867 h 129909"/>
                <a:gd name="connsiteX1" fmla="*/ 10867 w 57737"/>
                <a:gd name="connsiteY1" fmla="*/ 133126 h 12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737" h="129909">
                  <a:moveTo>
                    <a:pt x="51572" y="10867"/>
                  </a:moveTo>
                  <a:lnTo>
                    <a:pt x="10867" y="133126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9E3E79FA-64F5-49D8-9E87-229CE689D0AB}"/>
                </a:ext>
              </a:extLst>
            </p:cNvPr>
            <p:cNvSpPr/>
            <p:nvPr/>
          </p:nvSpPr>
          <p:spPr>
            <a:xfrm>
              <a:off x="4198912" y="5539499"/>
              <a:ext cx="57737" cy="129909"/>
            </a:xfrm>
            <a:custGeom>
              <a:avLst/>
              <a:gdLst>
                <a:gd name="connsiteX0" fmla="*/ 51572 w 57737"/>
                <a:gd name="connsiteY0" fmla="*/ 10867 h 129909"/>
                <a:gd name="connsiteX1" fmla="*/ 10867 w 57737"/>
                <a:gd name="connsiteY1" fmla="*/ 133126 h 12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737" h="129909">
                  <a:moveTo>
                    <a:pt x="51572" y="10867"/>
                  </a:moveTo>
                  <a:lnTo>
                    <a:pt x="10867" y="133126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C5FFD138-06BB-4699-890E-1A3E40180165}"/>
                </a:ext>
              </a:extLst>
            </p:cNvPr>
            <p:cNvSpPr/>
            <p:nvPr/>
          </p:nvSpPr>
          <p:spPr>
            <a:xfrm>
              <a:off x="4111151" y="5539499"/>
              <a:ext cx="57737" cy="129909"/>
            </a:xfrm>
            <a:custGeom>
              <a:avLst/>
              <a:gdLst>
                <a:gd name="connsiteX0" fmla="*/ 51717 w 57737"/>
                <a:gd name="connsiteY0" fmla="*/ 10867 h 129909"/>
                <a:gd name="connsiteX1" fmla="*/ 10867 w 57737"/>
                <a:gd name="connsiteY1" fmla="*/ 133126 h 12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737" h="129909">
                  <a:moveTo>
                    <a:pt x="51717" y="10867"/>
                  </a:moveTo>
                  <a:lnTo>
                    <a:pt x="10867" y="133126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69DA49C3-A0E5-4F48-9783-FD941CF8A759}"/>
                </a:ext>
              </a:extLst>
            </p:cNvPr>
            <p:cNvSpPr/>
            <p:nvPr/>
          </p:nvSpPr>
          <p:spPr>
            <a:xfrm>
              <a:off x="4158929" y="4892550"/>
              <a:ext cx="548506" cy="548506"/>
            </a:xfrm>
            <a:custGeom>
              <a:avLst/>
              <a:gdLst>
                <a:gd name="connsiteX0" fmla="*/ 161418 w 548506"/>
                <a:gd name="connsiteY0" fmla="*/ 462663 h 548506"/>
                <a:gd name="connsiteX1" fmla="*/ 233301 w 548506"/>
                <a:gd name="connsiteY1" fmla="*/ 492542 h 548506"/>
                <a:gd name="connsiteX2" fmla="*/ 233301 w 548506"/>
                <a:gd name="connsiteY2" fmla="*/ 547970 h 548506"/>
                <a:gd name="connsiteX3" fmla="*/ 325537 w 548506"/>
                <a:gd name="connsiteY3" fmla="*/ 547970 h 548506"/>
                <a:gd name="connsiteX4" fmla="*/ 325537 w 548506"/>
                <a:gd name="connsiteY4" fmla="*/ 492542 h 548506"/>
                <a:gd name="connsiteX5" fmla="*/ 397420 w 548506"/>
                <a:gd name="connsiteY5" fmla="*/ 462663 h 548506"/>
                <a:gd name="connsiteX6" fmla="*/ 436681 w 548506"/>
                <a:gd name="connsiteY6" fmla="*/ 501924 h 548506"/>
                <a:gd name="connsiteX7" fmla="*/ 501925 w 548506"/>
                <a:gd name="connsiteY7" fmla="*/ 436681 h 548506"/>
                <a:gd name="connsiteX8" fmla="*/ 462663 w 548506"/>
                <a:gd name="connsiteY8" fmla="*/ 397420 h 548506"/>
                <a:gd name="connsiteX9" fmla="*/ 492543 w 548506"/>
                <a:gd name="connsiteY9" fmla="*/ 325537 h 548506"/>
                <a:gd name="connsiteX10" fmla="*/ 547971 w 548506"/>
                <a:gd name="connsiteY10" fmla="*/ 325537 h 548506"/>
                <a:gd name="connsiteX11" fmla="*/ 547971 w 548506"/>
                <a:gd name="connsiteY11" fmla="*/ 233301 h 548506"/>
                <a:gd name="connsiteX12" fmla="*/ 492543 w 548506"/>
                <a:gd name="connsiteY12" fmla="*/ 233301 h 548506"/>
                <a:gd name="connsiteX13" fmla="*/ 462663 w 548506"/>
                <a:gd name="connsiteY13" fmla="*/ 161418 h 548506"/>
                <a:gd name="connsiteX14" fmla="*/ 501925 w 548506"/>
                <a:gd name="connsiteY14" fmla="*/ 122156 h 548506"/>
                <a:gd name="connsiteX15" fmla="*/ 436681 w 548506"/>
                <a:gd name="connsiteY15" fmla="*/ 56913 h 548506"/>
                <a:gd name="connsiteX16" fmla="*/ 397420 w 548506"/>
                <a:gd name="connsiteY16" fmla="*/ 96174 h 548506"/>
                <a:gd name="connsiteX17" fmla="*/ 325537 w 548506"/>
                <a:gd name="connsiteY17" fmla="*/ 66295 h 548506"/>
                <a:gd name="connsiteX18" fmla="*/ 325537 w 548506"/>
                <a:gd name="connsiteY18" fmla="*/ 10867 h 548506"/>
                <a:gd name="connsiteX19" fmla="*/ 233301 w 548506"/>
                <a:gd name="connsiteY19" fmla="*/ 10867 h 548506"/>
                <a:gd name="connsiteX20" fmla="*/ 233301 w 548506"/>
                <a:gd name="connsiteY20" fmla="*/ 66295 h 548506"/>
                <a:gd name="connsiteX21" fmla="*/ 161418 w 548506"/>
                <a:gd name="connsiteY21" fmla="*/ 96174 h 548506"/>
                <a:gd name="connsiteX22" fmla="*/ 122157 w 548506"/>
                <a:gd name="connsiteY22" fmla="*/ 56913 h 548506"/>
                <a:gd name="connsiteX23" fmla="*/ 56913 w 548506"/>
                <a:gd name="connsiteY23" fmla="*/ 122156 h 548506"/>
                <a:gd name="connsiteX24" fmla="*/ 96174 w 548506"/>
                <a:gd name="connsiteY24" fmla="*/ 161418 h 548506"/>
                <a:gd name="connsiteX25" fmla="*/ 66295 w 548506"/>
                <a:gd name="connsiteY25" fmla="*/ 233301 h 548506"/>
                <a:gd name="connsiteX26" fmla="*/ 10867 w 548506"/>
                <a:gd name="connsiteY26" fmla="*/ 233301 h 548506"/>
                <a:gd name="connsiteX27" fmla="*/ 10867 w 548506"/>
                <a:gd name="connsiteY27" fmla="*/ 325537 h 548506"/>
                <a:gd name="connsiteX28" fmla="*/ 66295 w 548506"/>
                <a:gd name="connsiteY28" fmla="*/ 325537 h 548506"/>
                <a:gd name="connsiteX29" fmla="*/ 96174 w 548506"/>
                <a:gd name="connsiteY29" fmla="*/ 397420 h 548506"/>
                <a:gd name="connsiteX30" fmla="*/ 56913 w 548506"/>
                <a:gd name="connsiteY30" fmla="*/ 436681 h 548506"/>
                <a:gd name="connsiteX31" fmla="*/ 122157 w 548506"/>
                <a:gd name="connsiteY31" fmla="*/ 501924 h 548506"/>
                <a:gd name="connsiteX32" fmla="*/ 161418 w 548506"/>
                <a:gd name="connsiteY32" fmla="*/ 462663 h 548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48506" h="548506">
                  <a:moveTo>
                    <a:pt x="161418" y="462663"/>
                  </a:moveTo>
                  <a:cubicBezTo>
                    <a:pt x="183070" y="476664"/>
                    <a:pt x="207319" y="486913"/>
                    <a:pt x="233301" y="492542"/>
                  </a:cubicBezTo>
                  <a:lnTo>
                    <a:pt x="233301" y="547970"/>
                  </a:lnTo>
                  <a:lnTo>
                    <a:pt x="325537" y="547970"/>
                  </a:lnTo>
                  <a:lnTo>
                    <a:pt x="325537" y="492542"/>
                  </a:lnTo>
                  <a:cubicBezTo>
                    <a:pt x="351519" y="486913"/>
                    <a:pt x="375768" y="476664"/>
                    <a:pt x="397420" y="462663"/>
                  </a:cubicBezTo>
                  <a:lnTo>
                    <a:pt x="436681" y="501924"/>
                  </a:lnTo>
                  <a:lnTo>
                    <a:pt x="501925" y="436681"/>
                  </a:lnTo>
                  <a:lnTo>
                    <a:pt x="462663" y="397420"/>
                  </a:lnTo>
                  <a:cubicBezTo>
                    <a:pt x="476665" y="375768"/>
                    <a:pt x="486913" y="351518"/>
                    <a:pt x="492543" y="325537"/>
                  </a:cubicBezTo>
                  <a:lnTo>
                    <a:pt x="547971" y="325537"/>
                  </a:lnTo>
                  <a:lnTo>
                    <a:pt x="547971" y="233301"/>
                  </a:lnTo>
                  <a:lnTo>
                    <a:pt x="492543" y="233301"/>
                  </a:lnTo>
                  <a:cubicBezTo>
                    <a:pt x="486913" y="207319"/>
                    <a:pt x="476665" y="183069"/>
                    <a:pt x="462663" y="161418"/>
                  </a:cubicBezTo>
                  <a:lnTo>
                    <a:pt x="501925" y="122156"/>
                  </a:lnTo>
                  <a:lnTo>
                    <a:pt x="436681" y="56913"/>
                  </a:lnTo>
                  <a:lnTo>
                    <a:pt x="397420" y="96174"/>
                  </a:lnTo>
                  <a:cubicBezTo>
                    <a:pt x="375768" y="82173"/>
                    <a:pt x="351519" y="71925"/>
                    <a:pt x="325537" y="66295"/>
                  </a:cubicBezTo>
                  <a:lnTo>
                    <a:pt x="325537" y="10867"/>
                  </a:lnTo>
                  <a:lnTo>
                    <a:pt x="233301" y="10867"/>
                  </a:lnTo>
                  <a:lnTo>
                    <a:pt x="233301" y="66295"/>
                  </a:lnTo>
                  <a:cubicBezTo>
                    <a:pt x="207319" y="71925"/>
                    <a:pt x="183070" y="82173"/>
                    <a:pt x="161418" y="96174"/>
                  </a:cubicBezTo>
                  <a:lnTo>
                    <a:pt x="122157" y="56913"/>
                  </a:lnTo>
                  <a:lnTo>
                    <a:pt x="56913" y="122156"/>
                  </a:lnTo>
                  <a:lnTo>
                    <a:pt x="96174" y="161418"/>
                  </a:lnTo>
                  <a:cubicBezTo>
                    <a:pt x="82173" y="183069"/>
                    <a:pt x="71925" y="207319"/>
                    <a:pt x="66295" y="233301"/>
                  </a:cubicBezTo>
                  <a:lnTo>
                    <a:pt x="10867" y="233301"/>
                  </a:lnTo>
                  <a:lnTo>
                    <a:pt x="10867" y="325537"/>
                  </a:lnTo>
                  <a:lnTo>
                    <a:pt x="66295" y="325537"/>
                  </a:lnTo>
                  <a:cubicBezTo>
                    <a:pt x="71925" y="351518"/>
                    <a:pt x="82173" y="375768"/>
                    <a:pt x="96174" y="397420"/>
                  </a:cubicBezTo>
                  <a:lnTo>
                    <a:pt x="56913" y="436681"/>
                  </a:lnTo>
                  <a:lnTo>
                    <a:pt x="122157" y="501924"/>
                  </a:lnTo>
                  <a:lnTo>
                    <a:pt x="161418" y="462663"/>
                  </a:lnTo>
                  <a:close/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B9796CA6-DC45-4D3A-9D7C-E03B2E9A90DD}"/>
              </a:ext>
            </a:extLst>
          </p:cNvPr>
          <p:cNvGrpSpPr/>
          <p:nvPr/>
        </p:nvGrpSpPr>
        <p:grpSpPr>
          <a:xfrm>
            <a:off x="4024779" y="3221738"/>
            <a:ext cx="427170" cy="443987"/>
            <a:chOff x="398665" y="5324488"/>
            <a:chExt cx="592582" cy="615911"/>
          </a:xfrm>
        </p:grpSpPr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08537A72-4159-4649-B705-5B1E7C252986}"/>
                </a:ext>
              </a:extLst>
            </p:cNvPr>
            <p:cNvSpPr/>
            <p:nvPr/>
          </p:nvSpPr>
          <p:spPr>
            <a:xfrm>
              <a:off x="521661" y="5324488"/>
              <a:ext cx="335951" cy="615911"/>
            </a:xfrm>
            <a:custGeom>
              <a:avLst/>
              <a:gdLst>
                <a:gd name="connsiteX0" fmla="*/ 138970 w 171450"/>
                <a:gd name="connsiteY0" fmla="*/ 7144 h 314325"/>
                <a:gd name="connsiteX1" fmla="*/ 84677 w 171450"/>
                <a:gd name="connsiteY1" fmla="*/ 151257 h 314325"/>
                <a:gd name="connsiteX2" fmla="*/ 171164 w 171450"/>
                <a:gd name="connsiteY2" fmla="*/ 151257 h 314325"/>
                <a:gd name="connsiteX3" fmla="*/ 40672 w 171450"/>
                <a:gd name="connsiteY3" fmla="*/ 311658 h 314325"/>
                <a:gd name="connsiteX4" fmla="*/ 95060 w 171450"/>
                <a:gd name="connsiteY4" fmla="*/ 186595 h 314325"/>
                <a:gd name="connsiteX5" fmla="*/ 7144 w 171450"/>
                <a:gd name="connsiteY5" fmla="*/ 186595 h 314325"/>
                <a:gd name="connsiteX6" fmla="*/ 138970 w 171450"/>
                <a:gd name="connsiteY6" fmla="*/ 7144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450" h="314325">
                  <a:moveTo>
                    <a:pt x="138970" y="7144"/>
                  </a:moveTo>
                  <a:lnTo>
                    <a:pt x="84677" y="151257"/>
                  </a:lnTo>
                  <a:lnTo>
                    <a:pt x="171164" y="151257"/>
                  </a:lnTo>
                  <a:lnTo>
                    <a:pt x="40672" y="311658"/>
                  </a:lnTo>
                  <a:lnTo>
                    <a:pt x="95060" y="186595"/>
                  </a:lnTo>
                  <a:lnTo>
                    <a:pt x="7144" y="186595"/>
                  </a:lnTo>
                  <a:lnTo>
                    <a:pt x="138970" y="7144"/>
                  </a:lnTo>
                  <a:close/>
                </a:path>
              </a:pathLst>
            </a:custGeom>
            <a:noFill/>
            <a:ln w="9525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1770DF8B-DF3E-47CF-8022-BD5466D01D84}"/>
                </a:ext>
              </a:extLst>
            </p:cNvPr>
            <p:cNvSpPr/>
            <p:nvPr/>
          </p:nvSpPr>
          <p:spPr>
            <a:xfrm>
              <a:off x="711287" y="5387571"/>
              <a:ext cx="279960" cy="541255"/>
            </a:xfrm>
            <a:custGeom>
              <a:avLst/>
              <a:gdLst>
                <a:gd name="connsiteX0" fmla="*/ 73342 w 142875"/>
                <a:gd name="connsiteY0" fmla="*/ 7144 h 276225"/>
                <a:gd name="connsiteX1" fmla="*/ 84487 w 142875"/>
                <a:gd name="connsiteY1" fmla="*/ 15526 h 276225"/>
                <a:gd name="connsiteX2" fmla="*/ 94774 w 142875"/>
                <a:gd name="connsiteY2" fmla="*/ 24860 h 276225"/>
                <a:gd name="connsiteX3" fmla="*/ 104108 w 142875"/>
                <a:gd name="connsiteY3" fmla="*/ 35147 h 276225"/>
                <a:gd name="connsiteX4" fmla="*/ 112490 w 142875"/>
                <a:gd name="connsiteY4" fmla="*/ 46292 h 276225"/>
                <a:gd name="connsiteX5" fmla="*/ 119729 w 142875"/>
                <a:gd name="connsiteY5" fmla="*/ 58198 h 276225"/>
                <a:gd name="connsiteX6" fmla="*/ 125825 w 142875"/>
                <a:gd name="connsiteY6" fmla="*/ 70866 h 276225"/>
                <a:gd name="connsiteX7" fmla="*/ 130683 w 142875"/>
                <a:gd name="connsiteY7" fmla="*/ 84201 h 276225"/>
                <a:gd name="connsiteX8" fmla="*/ 134207 w 142875"/>
                <a:gd name="connsiteY8" fmla="*/ 98108 h 276225"/>
                <a:gd name="connsiteX9" fmla="*/ 136398 w 142875"/>
                <a:gd name="connsiteY9" fmla="*/ 112490 h 276225"/>
                <a:gd name="connsiteX10" fmla="*/ 137160 w 142875"/>
                <a:gd name="connsiteY10" fmla="*/ 127254 h 276225"/>
                <a:gd name="connsiteX11" fmla="*/ 136398 w 142875"/>
                <a:gd name="connsiteY11" fmla="*/ 142018 h 276225"/>
                <a:gd name="connsiteX12" fmla="*/ 134207 w 142875"/>
                <a:gd name="connsiteY12" fmla="*/ 156401 h 276225"/>
                <a:gd name="connsiteX13" fmla="*/ 130683 w 142875"/>
                <a:gd name="connsiteY13" fmla="*/ 170307 h 276225"/>
                <a:gd name="connsiteX14" fmla="*/ 125825 w 142875"/>
                <a:gd name="connsiteY14" fmla="*/ 183642 h 276225"/>
                <a:gd name="connsiteX15" fmla="*/ 119729 w 142875"/>
                <a:gd name="connsiteY15" fmla="*/ 196310 h 276225"/>
                <a:gd name="connsiteX16" fmla="*/ 112490 w 142875"/>
                <a:gd name="connsiteY16" fmla="*/ 208217 h 276225"/>
                <a:gd name="connsiteX17" fmla="*/ 104108 w 142875"/>
                <a:gd name="connsiteY17" fmla="*/ 219361 h 276225"/>
                <a:gd name="connsiteX18" fmla="*/ 94774 w 142875"/>
                <a:gd name="connsiteY18" fmla="*/ 229648 h 276225"/>
                <a:gd name="connsiteX19" fmla="*/ 84487 w 142875"/>
                <a:gd name="connsiteY19" fmla="*/ 238982 h 276225"/>
                <a:gd name="connsiteX20" fmla="*/ 73342 w 142875"/>
                <a:gd name="connsiteY20" fmla="*/ 247364 h 276225"/>
                <a:gd name="connsiteX21" fmla="*/ 61436 w 142875"/>
                <a:gd name="connsiteY21" fmla="*/ 254603 h 276225"/>
                <a:gd name="connsiteX22" fmla="*/ 48768 w 142875"/>
                <a:gd name="connsiteY22" fmla="*/ 260699 h 276225"/>
                <a:gd name="connsiteX23" fmla="*/ 35433 w 142875"/>
                <a:gd name="connsiteY23" fmla="*/ 265557 h 276225"/>
                <a:gd name="connsiteX24" fmla="*/ 21526 w 142875"/>
                <a:gd name="connsiteY24" fmla="*/ 269081 h 276225"/>
                <a:gd name="connsiteX25" fmla="*/ 7144 w 142875"/>
                <a:gd name="connsiteY25" fmla="*/ 271272 h 27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2875" h="276225">
                  <a:moveTo>
                    <a:pt x="73342" y="7144"/>
                  </a:moveTo>
                  <a:cubicBezTo>
                    <a:pt x="77152" y="9716"/>
                    <a:pt x="80867" y="12573"/>
                    <a:pt x="84487" y="15526"/>
                  </a:cubicBezTo>
                  <a:cubicBezTo>
                    <a:pt x="88106" y="18479"/>
                    <a:pt x="91535" y="21622"/>
                    <a:pt x="94774" y="24860"/>
                  </a:cubicBezTo>
                  <a:cubicBezTo>
                    <a:pt x="98012" y="28099"/>
                    <a:pt x="101155" y="31528"/>
                    <a:pt x="104108" y="35147"/>
                  </a:cubicBezTo>
                  <a:cubicBezTo>
                    <a:pt x="107061" y="38767"/>
                    <a:pt x="109823" y="42482"/>
                    <a:pt x="112490" y="46292"/>
                  </a:cubicBezTo>
                  <a:cubicBezTo>
                    <a:pt x="115157" y="50102"/>
                    <a:pt x="117538" y="54102"/>
                    <a:pt x="119729" y="58198"/>
                  </a:cubicBezTo>
                  <a:cubicBezTo>
                    <a:pt x="121920" y="62294"/>
                    <a:pt x="124015" y="66485"/>
                    <a:pt x="125825" y="70866"/>
                  </a:cubicBezTo>
                  <a:cubicBezTo>
                    <a:pt x="127635" y="75152"/>
                    <a:pt x="129254" y="79629"/>
                    <a:pt x="130683" y="84201"/>
                  </a:cubicBezTo>
                  <a:cubicBezTo>
                    <a:pt x="132112" y="88773"/>
                    <a:pt x="133255" y="93345"/>
                    <a:pt x="134207" y="98108"/>
                  </a:cubicBezTo>
                  <a:cubicBezTo>
                    <a:pt x="135160" y="102775"/>
                    <a:pt x="135922" y="107633"/>
                    <a:pt x="136398" y="112490"/>
                  </a:cubicBezTo>
                  <a:cubicBezTo>
                    <a:pt x="136874" y="117348"/>
                    <a:pt x="137160" y="122301"/>
                    <a:pt x="137160" y="127254"/>
                  </a:cubicBezTo>
                  <a:cubicBezTo>
                    <a:pt x="137160" y="132207"/>
                    <a:pt x="136874" y="137160"/>
                    <a:pt x="136398" y="142018"/>
                  </a:cubicBezTo>
                  <a:cubicBezTo>
                    <a:pt x="135922" y="146876"/>
                    <a:pt x="135160" y="151638"/>
                    <a:pt x="134207" y="156401"/>
                  </a:cubicBezTo>
                  <a:cubicBezTo>
                    <a:pt x="133255" y="161068"/>
                    <a:pt x="132017" y="165735"/>
                    <a:pt x="130683" y="170307"/>
                  </a:cubicBezTo>
                  <a:cubicBezTo>
                    <a:pt x="129254" y="174879"/>
                    <a:pt x="127635" y="179261"/>
                    <a:pt x="125825" y="183642"/>
                  </a:cubicBezTo>
                  <a:cubicBezTo>
                    <a:pt x="124015" y="188024"/>
                    <a:pt x="121920" y="192215"/>
                    <a:pt x="119729" y="196310"/>
                  </a:cubicBezTo>
                  <a:cubicBezTo>
                    <a:pt x="117538" y="200406"/>
                    <a:pt x="115062" y="204407"/>
                    <a:pt x="112490" y="208217"/>
                  </a:cubicBezTo>
                  <a:cubicBezTo>
                    <a:pt x="109918" y="212027"/>
                    <a:pt x="107061" y="215741"/>
                    <a:pt x="104108" y="219361"/>
                  </a:cubicBezTo>
                  <a:cubicBezTo>
                    <a:pt x="101155" y="222980"/>
                    <a:pt x="98012" y="226409"/>
                    <a:pt x="94774" y="229648"/>
                  </a:cubicBezTo>
                  <a:cubicBezTo>
                    <a:pt x="91535" y="232886"/>
                    <a:pt x="88106" y="236030"/>
                    <a:pt x="84487" y="238982"/>
                  </a:cubicBezTo>
                  <a:cubicBezTo>
                    <a:pt x="80867" y="241935"/>
                    <a:pt x="77152" y="244697"/>
                    <a:pt x="73342" y="247364"/>
                  </a:cubicBezTo>
                  <a:cubicBezTo>
                    <a:pt x="69532" y="250031"/>
                    <a:pt x="65532" y="252413"/>
                    <a:pt x="61436" y="254603"/>
                  </a:cubicBezTo>
                  <a:cubicBezTo>
                    <a:pt x="57340" y="256794"/>
                    <a:pt x="53150" y="258890"/>
                    <a:pt x="48768" y="260699"/>
                  </a:cubicBezTo>
                  <a:cubicBezTo>
                    <a:pt x="44387" y="262509"/>
                    <a:pt x="40005" y="264128"/>
                    <a:pt x="35433" y="265557"/>
                  </a:cubicBezTo>
                  <a:cubicBezTo>
                    <a:pt x="30861" y="266986"/>
                    <a:pt x="26289" y="268129"/>
                    <a:pt x="21526" y="269081"/>
                  </a:cubicBezTo>
                  <a:cubicBezTo>
                    <a:pt x="16859" y="270034"/>
                    <a:pt x="12001" y="270796"/>
                    <a:pt x="7144" y="271272"/>
                  </a:cubicBezTo>
                </a:path>
              </a:pathLst>
            </a:custGeom>
            <a:noFill/>
            <a:ln w="9525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5561C567-6D54-4C2A-881F-3D72E8660B5A}"/>
                </a:ext>
              </a:extLst>
            </p:cNvPr>
            <p:cNvSpPr/>
            <p:nvPr/>
          </p:nvSpPr>
          <p:spPr>
            <a:xfrm>
              <a:off x="398665" y="5344831"/>
              <a:ext cx="242632" cy="541255"/>
            </a:xfrm>
            <a:custGeom>
              <a:avLst/>
              <a:gdLst>
                <a:gd name="connsiteX0" fmla="*/ 70961 w 123825"/>
                <a:gd name="connsiteY0" fmla="*/ 269081 h 276225"/>
                <a:gd name="connsiteX1" fmla="*/ 59817 w 123825"/>
                <a:gd name="connsiteY1" fmla="*/ 260699 h 276225"/>
                <a:gd name="connsiteX2" fmla="*/ 49530 w 123825"/>
                <a:gd name="connsiteY2" fmla="*/ 251365 h 276225"/>
                <a:gd name="connsiteX3" fmla="*/ 40196 w 123825"/>
                <a:gd name="connsiteY3" fmla="*/ 241078 h 276225"/>
                <a:gd name="connsiteX4" fmla="*/ 31814 w 123825"/>
                <a:gd name="connsiteY4" fmla="*/ 229934 h 276225"/>
                <a:gd name="connsiteX5" fmla="*/ 24575 w 123825"/>
                <a:gd name="connsiteY5" fmla="*/ 218027 h 276225"/>
                <a:gd name="connsiteX6" fmla="*/ 18479 w 123825"/>
                <a:gd name="connsiteY6" fmla="*/ 205359 h 276225"/>
                <a:gd name="connsiteX7" fmla="*/ 13621 w 123825"/>
                <a:gd name="connsiteY7" fmla="*/ 192024 h 276225"/>
                <a:gd name="connsiteX8" fmla="*/ 10096 w 123825"/>
                <a:gd name="connsiteY8" fmla="*/ 178117 h 276225"/>
                <a:gd name="connsiteX9" fmla="*/ 7906 w 123825"/>
                <a:gd name="connsiteY9" fmla="*/ 163735 h 276225"/>
                <a:gd name="connsiteX10" fmla="*/ 7144 w 123825"/>
                <a:gd name="connsiteY10" fmla="*/ 148971 h 276225"/>
                <a:gd name="connsiteX11" fmla="*/ 7906 w 123825"/>
                <a:gd name="connsiteY11" fmla="*/ 134207 h 276225"/>
                <a:gd name="connsiteX12" fmla="*/ 10096 w 123825"/>
                <a:gd name="connsiteY12" fmla="*/ 119825 h 276225"/>
                <a:gd name="connsiteX13" fmla="*/ 13621 w 123825"/>
                <a:gd name="connsiteY13" fmla="*/ 105918 h 276225"/>
                <a:gd name="connsiteX14" fmla="*/ 18479 w 123825"/>
                <a:gd name="connsiteY14" fmla="*/ 92583 h 276225"/>
                <a:gd name="connsiteX15" fmla="*/ 24575 w 123825"/>
                <a:gd name="connsiteY15" fmla="*/ 79915 h 276225"/>
                <a:gd name="connsiteX16" fmla="*/ 31814 w 123825"/>
                <a:gd name="connsiteY16" fmla="*/ 68008 h 276225"/>
                <a:gd name="connsiteX17" fmla="*/ 40196 w 123825"/>
                <a:gd name="connsiteY17" fmla="*/ 56864 h 276225"/>
                <a:gd name="connsiteX18" fmla="*/ 49530 w 123825"/>
                <a:gd name="connsiteY18" fmla="*/ 46577 h 276225"/>
                <a:gd name="connsiteX19" fmla="*/ 59817 w 123825"/>
                <a:gd name="connsiteY19" fmla="*/ 37243 h 276225"/>
                <a:gd name="connsiteX20" fmla="*/ 70961 w 123825"/>
                <a:gd name="connsiteY20" fmla="*/ 28861 h 276225"/>
                <a:gd name="connsiteX21" fmla="*/ 82868 w 123825"/>
                <a:gd name="connsiteY21" fmla="*/ 21622 h 276225"/>
                <a:gd name="connsiteX22" fmla="*/ 95536 w 123825"/>
                <a:gd name="connsiteY22" fmla="*/ 15526 h 276225"/>
                <a:gd name="connsiteX23" fmla="*/ 108871 w 123825"/>
                <a:gd name="connsiteY23" fmla="*/ 10668 h 276225"/>
                <a:gd name="connsiteX24" fmla="*/ 122777 w 123825"/>
                <a:gd name="connsiteY24" fmla="*/ 7144 h 27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3825" h="276225">
                  <a:moveTo>
                    <a:pt x="70961" y="269081"/>
                  </a:moveTo>
                  <a:cubicBezTo>
                    <a:pt x="67151" y="266509"/>
                    <a:pt x="63437" y="263652"/>
                    <a:pt x="59817" y="260699"/>
                  </a:cubicBezTo>
                  <a:cubicBezTo>
                    <a:pt x="56198" y="257746"/>
                    <a:pt x="52769" y="254603"/>
                    <a:pt x="49530" y="251365"/>
                  </a:cubicBezTo>
                  <a:cubicBezTo>
                    <a:pt x="46292" y="248126"/>
                    <a:pt x="43148" y="244697"/>
                    <a:pt x="40196" y="241078"/>
                  </a:cubicBezTo>
                  <a:cubicBezTo>
                    <a:pt x="37243" y="237458"/>
                    <a:pt x="34481" y="233743"/>
                    <a:pt x="31814" y="229934"/>
                  </a:cubicBezTo>
                  <a:cubicBezTo>
                    <a:pt x="29242" y="226124"/>
                    <a:pt x="26765" y="222123"/>
                    <a:pt x="24575" y="218027"/>
                  </a:cubicBezTo>
                  <a:cubicBezTo>
                    <a:pt x="22384" y="213932"/>
                    <a:pt x="20288" y="209741"/>
                    <a:pt x="18479" y="205359"/>
                  </a:cubicBezTo>
                  <a:cubicBezTo>
                    <a:pt x="16669" y="201073"/>
                    <a:pt x="15049" y="196596"/>
                    <a:pt x="13621" y="192024"/>
                  </a:cubicBezTo>
                  <a:cubicBezTo>
                    <a:pt x="12192" y="187452"/>
                    <a:pt x="11049" y="182880"/>
                    <a:pt x="10096" y="178117"/>
                  </a:cubicBezTo>
                  <a:cubicBezTo>
                    <a:pt x="9144" y="173450"/>
                    <a:pt x="8382" y="168592"/>
                    <a:pt x="7906" y="163735"/>
                  </a:cubicBezTo>
                  <a:cubicBezTo>
                    <a:pt x="7429" y="158877"/>
                    <a:pt x="7144" y="153924"/>
                    <a:pt x="7144" y="148971"/>
                  </a:cubicBezTo>
                  <a:cubicBezTo>
                    <a:pt x="7144" y="144018"/>
                    <a:pt x="7429" y="139065"/>
                    <a:pt x="7906" y="134207"/>
                  </a:cubicBezTo>
                  <a:cubicBezTo>
                    <a:pt x="8382" y="129350"/>
                    <a:pt x="9144" y="124587"/>
                    <a:pt x="10096" y="119825"/>
                  </a:cubicBezTo>
                  <a:cubicBezTo>
                    <a:pt x="11049" y="115157"/>
                    <a:pt x="12287" y="110490"/>
                    <a:pt x="13621" y="105918"/>
                  </a:cubicBezTo>
                  <a:cubicBezTo>
                    <a:pt x="15049" y="101346"/>
                    <a:pt x="16669" y="96965"/>
                    <a:pt x="18479" y="92583"/>
                  </a:cubicBezTo>
                  <a:cubicBezTo>
                    <a:pt x="20288" y="88297"/>
                    <a:pt x="22384" y="84011"/>
                    <a:pt x="24575" y="79915"/>
                  </a:cubicBezTo>
                  <a:cubicBezTo>
                    <a:pt x="26765" y="75819"/>
                    <a:pt x="29242" y="71818"/>
                    <a:pt x="31814" y="68008"/>
                  </a:cubicBezTo>
                  <a:cubicBezTo>
                    <a:pt x="34385" y="64199"/>
                    <a:pt x="37243" y="60484"/>
                    <a:pt x="40196" y="56864"/>
                  </a:cubicBezTo>
                  <a:cubicBezTo>
                    <a:pt x="43148" y="53245"/>
                    <a:pt x="46292" y="49816"/>
                    <a:pt x="49530" y="46577"/>
                  </a:cubicBezTo>
                  <a:cubicBezTo>
                    <a:pt x="52769" y="43339"/>
                    <a:pt x="56198" y="40196"/>
                    <a:pt x="59817" y="37243"/>
                  </a:cubicBezTo>
                  <a:cubicBezTo>
                    <a:pt x="63437" y="34290"/>
                    <a:pt x="67151" y="31528"/>
                    <a:pt x="70961" y="28861"/>
                  </a:cubicBezTo>
                  <a:cubicBezTo>
                    <a:pt x="74771" y="26289"/>
                    <a:pt x="78772" y="23813"/>
                    <a:pt x="82868" y="21622"/>
                  </a:cubicBezTo>
                  <a:cubicBezTo>
                    <a:pt x="86963" y="19431"/>
                    <a:pt x="91154" y="17336"/>
                    <a:pt x="95536" y="15526"/>
                  </a:cubicBezTo>
                  <a:cubicBezTo>
                    <a:pt x="99822" y="13716"/>
                    <a:pt x="104299" y="12097"/>
                    <a:pt x="108871" y="10668"/>
                  </a:cubicBezTo>
                  <a:cubicBezTo>
                    <a:pt x="113443" y="9239"/>
                    <a:pt x="118015" y="8096"/>
                    <a:pt x="122777" y="7144"/>
                  </a:cubicBezTo>
                </a:path>
              </a:pathLst>
            </a:custGeom>
            <a:noFill/>
            <a:ln w="9525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B7EEF2A4-7BC0-43E4-95C5-B4BFD6568C44}"/>
                </a:ext>
              </a:extLst>
            </p:cNvPr>
            <p:cNvSpPr/>
            <p:nvPr/>
          </p:nvSpPr>
          <p:spPr>
            <a:xfrm>
              <a:off x="725845" y="5444311"/>
              <a:ext cx="186640" cy="410607"/>
            </a:xfrm>
            <a:custGeom>
              <a:avLst/>
              <a:gdLst>
                <a:gd name="connsiteX0" fmla="*/ 46387 w 95250"/>
                <a:gd name="connsiteY0" fmla="*/ 7144 h 209550"/>
                <a:gd name="connsiteX1" fmla="*/ 54864 w 95250"/>
                <a:gd name="connsiteY1" fmla="*/ 13430 h 209550"/>
                <a:gd name="connsiteX2" fmla="*/ 62675 w 95250"/>
                <a:gd name="connsiteY2" fmla="*/ 20479 h 209550"/>
                <a:gd name="connsiteX3" fmla="*/ 69723 w 95250"/>
                <a:gd name="connsiteY3" fmla="*/ 28289 h 209550"/>
                <a:gd name="connsiteX4" fmla="*/ 76009 w 95250"/>
                <a:gd name="connsiteY4" fmla="*/ 36767 h 209550"/>
                <a:gd name="connsiteX5" fmla="*/ 81534 w 95250"/>
                <a:gd name="connsiteY5" fmla="*/ 45815 h 209550"/>
                <a:gd name="connsiteX6" fmla="*/ 86201 w 95250"/>
                <a:gd name="connsiteY6" fmla="*/ 55435 h 209550"/>
                <a:gd name="connsiteX7" fmla="*/ 89916 w 95250"/>
                <a:gd name="connsiteY7" fmla="*/ 65532 h 209550"/>
                <a:gd name="connsiteX8" fmla="*/ 92583 w 95250"/>
                <a:gd name="connsiteY8" fmla="*/ 76009 h 209550"/>
                <a:gd name="connsiteX9" fmla="*/ 94202 w 95250"/>
                <a:gd name="connsiteY9" fmla="*/ 86868 h 209550"/>
                <a:gd name="connsiteX10" fmla="*/ 94774 w 95250"/>
                <a:gd name="connsiteY10" fmla="*/ 98108 h 209550"/>
                <a:gd name="connsiteX11" fmla="*/ 94202 w 95250"/>
                <a:gd name="connsiteY11" fmla="*/ 109347 h 209550"/>
                <a:gd name="connsiteX12" fmla="*/ 92583 w 95250"/>
                <a:gd name="connsiteY12" fmla="*/ 120205 h 209550"/>
                <a:gd name="connsiteX13" fmla="*/ 89916 w 95250"/>
                <a:gd name="connsiteY13" fmla="*/ 130778 h 209550"/>
                <a:gd name="connsiteX14" fmla="*/ 86201 w 95250"/>
                <a:gd name="connsiteY14" fmla="*/ 140875 h 209550"/>
                <a:gd name="connsiteX15" fmla="*/ 81534 w 95250"/>
                <a:gd name="connsiteY15" fmla="*/ 150495 h 209550"/>
                <a:gd name="connsiteX16" fmla="*/ 76009 w 95250"/>
                <a:gd name="connsiteY16" fmla="*/ 159544 h 209550"/>
                <a:gd name="connsiteX17" fmla="*/ 69723 w 95250"/>
                <a:gd name="connsiteY17" fmla="*/ 168021 h 209550"/>
                <a:gd name="connsiteX18" fmla="*/ 62675 w 95250"/>
                <a:gd name="connsiteY18" fmla="*/ 175831 h 209550"/>
                <a:gd name="connsiteX19" fmla="*/ 54864 w 95250"/>
                <a:gd name="connsiteY19" fmla="*/ 182880 h 209550"/>
                <a:gd name="connsiteX20" fmla="*/ 46387 w 95250"/>
                <a:gd name="connsiteY20" fmla="*/ 189167 h 209550"/>
                <a:gd name="connsiteX21" fmla="*/ 37338 w 95250"/>
                <a:gd name="connsiteY21" fmla="*/ 194691 h 209550"/>
                <a:gd name="connsiteX22" fmla="*/ 27718 w 95250"/>
                <a:gd name="connsiteY22" fmla="*/ 199358 h 209550"/>
                <a:gd name="connsiteX23" fmla="*/ 17621 w 95250"/>
                <a:gd name="connsiteY23" fmla="*/ 203073 h 209550"/>
                <a:gd name="connsiteX24" fmla="*/ 7144 w 95250"/>
                <a:gd name="connsiteY24" fmla="*/ 20574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95250" h="209550">
                  <a:moveTo>
                    <a:pt x="46387" y="7144"/>
                  </a:moveTo>
                  <a:cubicBezTo>
                    <a:pt x="49340" y="9144"/>
                    <a:pt x="52102" y="11239"/>
                    <a:pt x="54864" y="13430"/>
                  </a:cubicBezTo>
                  <a:cubicBezTo>
                    <a:pt x="57531" y="15621"/>
                    <a:pt x="60198" y="18002"/>
                    <a:pt x="62675" y="20479"/>
                  </a:cubicBezTo>
                  <a:cubicBezTo>
                    <a:pt x="65151" y="22955"/>
                    <a:pt x="67532" y="25527"/>
                    <a:pt x="69723" y="28289"/>
                  </a:cubicBezTo>
                  <a:cubicBezTo>
                    <a:pt x="72009" y="30956"/>
                    <a:pt x="74105" y="33814"/>
                    <a:pt x="76009" y="36767"/>
                  </a:cubicBezTo>
                  <a:cubicBezTo>
                    <a:pt x="77915" y="39719"/>
                    <a:pt x="79820" y="42672"/>
                    <a:pt x="81534" y="45815"/>
                  </a:cubicBezTo>
                  <a:cubicBezTo>
                    <a:pt x="83249" y="48958"/>
                    <a:pt x="84773" y="52102"/>
                    <a:pt x="86201" y="55435"/>
                  </a:cubicBezTo>
                  <a:cubicBezTo>
                    <a:pt x="87630" y="58674"/>
                    <a:pt x="88868" y="62103"/>
                    <a:pt x="89916" y="65532"/>
                  </a:cubicBezTo>
                  <a:cubicBezTo>
                    <a:pt x="90964" y="68961"/>
                    <a:pt x="91916" y="72485"/>
                    <a:pt x="92583" y="76009"/>
                  </a:cubicBezTo>
                  <a:cubicBezTo>
                    <a:pt x="93250" y="79534"/>
                    <a:pt x="93917" y="83249"/>
                    <a:pt x="94202" y="86868"/>
                  </a:cubicBezTo>
                  <a:cubicBezTo>
                    <a:pt x="94488" y="90488"/>
                    <a:pt x="94774" y="94297"/>
                    <a:pt x="94774" y="98108"/>
                  </a:cubicBezTo>
                  <a:cubicBezTo>
                    <a:pt x="94774" y="101917"/>
                    <a:pt x="94583" y="105632"/>
                    <a:pt x="94202" y="109347"/>
                  </a:cubicBezTo>
                  <a:cubicBezTo>
                    <a:pt x="93821" y="113062"/>
                    <a:pt x="93250" y="116681"/>
                    <a:pt x="92583" y="120205"/>
                  </a:cubicBezTo>
                  <a:cubicBezTo>
                    <a:pt x="91821" y="123825"/>
                    <a:pt x="90964" y="127254"/>
                    <a:pt x="89916" y="130778"/>
                  </a:cubicBezTo>
                  <a:cubicBezTo>
                    <a:pt x="88868" y="134303"/>
                    <a:pt x="87630" y="137541"/>
                    <a:pt x="86201" y="140875"/>
                  </a:cubicBezTo>
                  <a:cubicBezTo>
                    <a:pt x="84773" y="144113"/>
                    <a:pt x="83249" y="147352"/>
                    <a:pt x="81534" y="150495"/>
                  </a:cubicBezTo>
                  <a:cubicBezTo>
                    <a:pt x="79820" y="153638"/>
                    <a:pt x="78010" y="156591"/>
                    <a:pt x="76009" y="159544"/>
                  </a:cubicBezTo>
                  <a:cubicBezTo>
                    <a:pt x="74009" y="162496"/>
                    <a:pt x="71914" y="165259"/>
                    <a:pt x="69723" y="168021"/>
                  </a:cubicBezTo>
                  <a:cubicBezTo>
                    <a:pt x="67532" y="170688"/>
                    <a:pt x="65151" y="173355"/>
                    <a:pt x="62675" y="175831"/>
                  </a:cubicBezTo>
                  <a:cubicBezTo>
                    <a:pt x="60198" y="178308"/>
                    <a:pt x="57626" y="180689"/>
                    <a:pt x="54864" y="182880"/>
                  </a:cubicBezTo>
                  <a:cubicBezTo>
                    <a:pt x="52197" y="185166"/>
                    <a:pt x="49340" y="187262"/>
                    <a:pt x="46387" y="189167"/>
                  </a:cubicBezTo>
                  <a:cubicBezTo>
                    <a:pt x="43434" y="191167"/>
                    <a:pt x="40481" y="192976"/>
                    <a:pt x="37338" y="194691"/>
                  </a:cubicBezTo>
                  <a:cubicBezTo>
                    <a:pt x="34195" y="196405"/>
                    <a:pt x="31052" y="197929"/>
                    <a:pt x="27718" y="199358"/>
                  </a:cubicBezTo>
                  <a:cubicBezTo>
                    <a:pt x="24479" y="200787"/>
                    <a:pt x="21050" y="202025"/>
                    <a:pt x="17621" y="203073"/>
                  </a:cubicBezTo>
                  <a:cubicBezTo>
                    <a:pt x="14192" y="204121"/>
                    <a:pt x="10668" y="205073"/>
                    <a:pt x="7144" y="205740"/>
                  </a:cubicBezTo>
                </a:path>
              </a:pathLst>
            </a:custGeom>
            <a:noFill/>
            <a:ln w="9525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A1DDE280-239F-4653-80CC-45EDA066A2F3}"/>
                </a:ext>
              </a:extLst>
            </p:cNvPr>
            <p:cNvSpPr/>
            <p:nvPr/>
          </p:nvSpPr>
          <p:spPr>
            <a:xfrm>
              <a:off x="467348" y="5412021"/>
              <a:ext cx="186640" cy="391943"/>
            </a:xfrm>
            <a:custGeom>
              <a:avLst/>
              <a:gdLst>
                <a:gd name="connsiteX0" fmla="*/ 47054 w 95250"/>
                <a:gd name="connsiteY0" fmla="*/ 199453 h 200025"/>
                <a:gd name="connsiteX1" fmla="*/ 39243 w 95250"/>
                <a:gd name="connsiteY1" fmla="*/ 192405 h 200025"/>
                <a:gd name="connsiteX2" fmla="*/ 32195 w 95250"/>
                <a:gd name="connsiteY2" fmla="*/ 184594 h 200025"/>
                <a:gd name="connsiteX3" fmla="*/ 25908 w 95250"/>
                <a:gd name="connsiteY3" fmla="*/ 176117 h 200025"/>
                <a:gd name="connsiteX4" fmla="*/ 20384 w 95250"/>
                <a:gd name="connsiteY4" fmla="*/ 167068 h 200025"/>
                <a:gd name="connsiteX5" fmla="*/ 15716 w 95250"/>
                <a:gd name="connsiteY5" fmla="*/ 157448 h 200025"/>
                <a:gd name="connsiteX6" fmla="*/ 12002 w 95250"/>
                <a:gd name="connsiteY6" fmla="*/ 147352 h 200025"/>
                <a:gd name="connsiteX7" fmla="*/ 9335 w 95250"/>
                <a:gd name="connsiteY7" fmla="*/ 136779 h 200025"/>
                <a:gd name="connsiteX8" fmla="*/ 7715 w 95250"/>
                <a:gd name="connsiteY8" fmla="*/ 125921 h 200025"/>
                <a:gd name="connsiteX9" fmla="*/ 7144 w 95250"/>
                <a:gd name="connsiteY9" fmla="*/ 114681 h 200025"/>
                <a:gd name="connsiteX10" fmla="*/ 7715 w 95250"/>
                <a:gd name="connsiteY10" fmla="*/ 103442 h 200025"/>
                <a:gd name="connsiteX11" fmla="*/ 9335 w 95250"/>
                <a:gd name="connsiteY11" fmla="*/ 92583 h 200025"/>
                <a:gd name="connsiteX12" fmla="*/ 12002 w 95250"/>
                <a:gd name="connsiteY12" fmla="*/ 82105 h 200025"/>
                <a:gd name="connsiteX13" fmla="*/ 15716 w 95250"/>
                <a:gd name="connsiteY13" fmla="*/ 72009 h 200025"/>
                <a:gd name="connsiteX14" fmla="*/ 20384 w 95250"/>
                <a:gd name="connsiteY14" fmla="*/ 62389 h 200025"/>
                <a:gd name="connsiteX15" fmla="*/ 25908 w 95250"/>
                <a:gd name="connsiteY15" fmla="*/ 53340 h 200025"/>
                <a:gd name="connsiteX16" fmla="*/ 32195 w 95250"/>
                <a:gd name="connsiteY16" fmla="*/ 44863 h 200025"/>
                <a:gd name="connsiteX17" fmla="*/ 39243 w 95250"/>
                <a:gd name="connsiteY17" fmla="*/ 37052 h 200025"/>
                <a:gd name="connsiteX18" fmla="*/ 47054 w 95250"/>
                <a:gd name="connsiteY18" fmla="*/ 30004 h 200025"/>
                <a:gd name="connsiteX19" fmla="*/ 55531 w 95250"/>
                <a:gd name="connsiteY19" fmla="*/ 23717 h 200025"/>
                <a:gd name="connsiteX20" fmla="*/ 64580 w 95250"/>
                <a:gd name="connsiteY20" fmla="*/ 18193 h 200025"/>
                <a:gd name="connsiteX21" fmla="*/ 74200 w 95250"/>
                <a:gd name="connsiteY21" fmla="*/ 13525 h 200025"/>
                <a:gd name="connsiteX22" fmla="*/ 84296 w 95250"/>
                <a:gd name="connsiteY22" fmla="*/ 9811 h 200025"/>
                <a:gd name="connsiteX23" fmla="*/ 94774 w 95250"/>
                <a:gd name="connsiteY23" fmla="*/ 7144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95250" h="200025">
                  <a:moveTo>
                    <a:pt x="47054" y="199453"/>
                  </a:moveTo>
                  <a:cubicBezTo>
                    <a:pt x="44387" y="197263"/>
                    <a:pt x="41720" y="194881"/>
                    <a:pt x="39243" y="192405"/>
                  </a:cubicBezTo>
                  <a:cubicBezTo>
                    <a:pt x="36767" y="189928"/>
                    <a:pt x="34385" y="187357"/>
                    <a:pt x="32195" y="184594"/>
                  </a:cubicBezTo>
                  <a:cubicBezTo>
                    <a:pt x="30004" y="181927"/>
                    <a:pt x="27813" y="179070"/>
                    <a:pt x="25908" y="176117"/>
                  </a:cubicBezTo>
                  <a:cubicBezTo>
                    <a:pt x="24003" y="173164"/>
                    <a:pt x="22098" y="170212"/>
                    <a:pt x="20384" y="167068"/>
                  </a:cubicBezTo>
                  <a:cubicBezTo>
                    <a:pt x="18669" y="163925"/>
                    <a:pt x="17145" y="160782"/>
                    <a:pt x="15716" y="157448"/>
                  </a:cubicBezTo>
                  <a:cubicBezTo>
                    <a:pt x="14288" y="154210"/>
                    <a:pt x="13049" y="150781"/>
                    <a:pt x="12002" y="147352"/>
                  </a:cubicBezTo>
                  <a:cubicBezTo>
                    <a:pt x="10954" y="143923"/>
                    <a:pt x="10001" y="140398"/>
                    <a:pt x="9335" y="136779"/>
                  </a:cubicBezTo>
                  <a:cubicBezTo>
                    <a:pt x="8573" y="133159"/>
                    <a:pt x="8001" y="129540"/>
                    <a:pt x="7715" y="125921"/>
                  </a:cubicBezTo>
                  <a:cubicBezTo>
                    <a:pt x="7334" y="122206"/>
                    <a:pt x="7144" y="118491"/>
                    <a:pt x="7144" y="114681"/>
                  </a:cubicBezTo>
                  <a:cubicBezTo>
                    <a:pt x="7144" y="110871"/>
                    <a:pt x="7334" y="107156"/>
                    <a:pt x="7715" y="103442"/>
                  </a:cubicBezTo>
                  <a:cubicBezTo>
                    <a:pt x="8096" y="99727"/>
                    <a:pt x="8668" y="96107"/>
                    <a:pt x="9335" y="92583"/>
                  </a:cubicBezTo>
                  <a:cubicBezTo>
                    <a:pt x="10001" y="89059"/>
                    <a:pt x="10954" y="85534"/>
                    <a:pt x="12002" y="82105"/>
                  </a:cubicBezTo>
                  <a:cubicBezTo>
                    <a:pt x="13049" y="78676"/>
                    <a:pt x="14288" y="75343"/>
                    <a:pt x="15716" y="72009"/>
                  </a:cubicBezTo>
                  <a:cubicBezTo>
                    <a:pt x="17145" y="68771"/>
                    <a:pt x="18669" y="65532"/>
                    <a:pt x="20384" y="62389"/>
                  </a:cubicBezTo>
                  <a:cubicBezTo>
                    <a:pt x="22098" y="59246"/>
                    <a:pt x="23908" y="56293"/>
                    <a:pt x="25908" y="53340"/>
                  </a:cubicBezTo>
                  <a:cubicBezTo>
                    <a:pt x="27908" y="50387"/>
                    <a:pt x="30004" y="47625"/>
                    <a:pt x="32195" y="44863"/>
                  </a:cubicBezTo>
                  <a:cubicBezTo>
                    <a:pt x="34481" y="42196"/>
                    <a:pt x="36767" y="39529"/>
                    <a:pt x="39243" y="37052"/>
                  </a:cubicBezTo>
                  <a:cubicBezTo>
                    <a:pt x="41720" y="34576"/>
                    <a:pt x="44291" y="32194"/>
                    <a:pt x="47054" y="30004"/>
                  </a:cubicBezTo>
                  <a:cubicBezTo>
                    <a:pt x="49720" y="27813"/>
                    <a:pt x="52578" y="25622"/>
                    <a:pt x="55531" y="23717"/>
                  </a:cubicBezTo>
                  <a:cubicBezTo>
                    <a:pt x="58484" y="21812"/>
                    <a:pt x="61436" y="19907"/>
                    <a:pt x="64580" y="18193"/>
                  </a:cubicBezTo>
                  <a:cubicBezTo>
                    <a:pt x="67723" y="16478"/>
                    <a:pt x="70866" y="14954"/>
                    <a:pt x="74200" y="13525"/>
                  </a:cubicBezTo>
                  <a:cubicBezTo>
                    <a:pt x="77438" y="12097"/>
                    <a:pt x="80867" y="10858"/>
                    <a:pt x="84296" y="9811"/>
                  </a:cubicBezTo>
                  <a:cubicBezTo>
                    <a:pt x="87725" y="8763"/>
                    <a:pt x="91250" y="7810"/>
                    <a:pt x="94774" y="7144"/>
                  </a:cubicBezTo>
                </a:path>
              </a:pathLst>
            </a:custGeom>
            <a:noFill/>
            <a:ln w="9525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74BFCE87-67BA-45AA-91A0-D831F0049833}"/>
              </a:ext>
            </a:extLst>
          </p:cNvPr>
          <p:cNvGrpSpPr/>
          <p:nvPr/>
        </p:nvGrpSpPr>
        <p:grpSpPr>
          <a:xfrm>
            <a:off x="4538854" y="1998875"/>
            <a:ext cx="487607" cy="503196"/>
            <a:chOff x="2797335" y="2430191"/>
            <a:chExt cx="821749" cy="848020"/>
          </a:xfrm>
        </p:grpSpPr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F17EDE17-8096-4302-8B54-9D10BA8F0C3A}"/>
                </a:ext>
              </a:extLst>
            </p:cNvPr>
            <p:cNvSpPr/>
            <p:nvPr/>
          </p:nvSpPr>
          <p:spPr>
            <a:xfrm>
              <a:off x="2949906" y="2582185"/>
              <a:ext cx="519637" cy="461900"/>
            </a:xfrm>
            <a:custGeom>
              <a:avLst/>
              <a:gdLst>
                <a:gd name="connsiteX0" fmla="*/ 103103 w 519637"/>
                <a:gd name="connsiteY0" fmla="*/ 458910 h 461899"/>
                <a:gd name="connsiteX1" fmla="*/ 10867 w 519637"/>
                <a:gd name="connsiteY1" fmla="*/ 263613 h 461899"/>
                <a:gd name="connsiteX2" fmla="*/ 263613 w 519637"/>
                <a:gd name="connsiteY2" fmla="*/ 10867 h 461899"/>
                <a:gd name="connsiteX3" fmla="*/ 516359 w 519637"/>
                <a:gd name="connsiteY3" fmla="*/ 263613 h 461899"/>
                <a:gd name="connsiteX4" fmla="*/ 424412 w 519637"/>
                <a:gd name="connsiteY4" fmla="*/ 458621 h 461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637" h="461899">
                  <a:moveTo>
                    <a:pt x="103103" y="458910"/>
                  </a:moveTo>
                  <a:cubicBezTo>
                    <a:pt x="46809" y="412576"/>
                    <a:pt x="10867" y="342280"/>
                    <a:pt x="10867" y="263613"/>
                  </a:cubicBezTo>
                  <a:cubicBezTo>
                    <a:pt x="10867" y="124033"/>
                    <a:pt x="124033" y="10867"/>
                    <a:pt x="263613" y="10867"/>
                  </a:cubicBezTo>
                  <a:cubicBezTo>
                    <a:pt x="403194" y="10867"/>
                    <a:pt x="516359" y="124033"/>
                    <a:pt x="516359" y="263613"/>
                  </a:cubicBezTo>
                  <a:cubicBezTo>
                    <a:pt x="516359" y="342136"/>
                    <a:pt x="480562" y="412287"/>
                    <a:pt x="424412" y="458621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21E02D01-850B-4D8F-9FDC-851480F878F5}"/>
                </a:ext>
              </a:extLst>
            </p:cNvPr>
            <p:cNvSpPr/>
            <p:nvPr/>
          </p:nvSpPr>
          <p:spPr>
            <a:xfrm>
              <a:off x="3041997" y="3030372"/>
              <a:ext cx="72172" cy="129909"/>
            </a:xfrm>
            <a:custGeom>
              <a:avLst/>
              <a:gdLst>
                <a:gd name="connsiteX0" fmla="*/ 10867 w 72171"/>
                <a:gd name="connsiteY0" fmla="*/ 10867 h 129909"/>
                <a:gd name="connsiteX1" fmla="*/ 68316 w 72171"/>
                <a:gd name="connsiteY1" fmla="*/ 125909 h 12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71" h="129909">
                  <a:moveTo>
                    <a:pt x="10867" y="10867"/>
                  </a:moveTo>
                  <a:cubicBezTo>
                    <a:pt x="45798" y="37138"/>
                    <a:pt x="68316" y="78853"/>
                    <a:pt x="68316" y="125909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7A35059F-A927-4357-A04A-2B4AE3220104}"/>
                </a:ext>
              </a:extLst>
            </p:cNvPr>
            <p:cNvSpPr/>
            <p:nvPr/>
          </p:nvSpPr>
          <p:spPr>
            <a:xfrm>
              <a:off x="3302826" y="3030372"/>
              <a:ext cx="72172" cy="129909"/>
            </a:xfrm>
            <a:custGeom>
              <a:avLst/>
              <a:gdLst>
                <a:gd name="connsiteX0" fmla="*/ 10867 w 72171"/>
                <a:gd name="connsiteY0" fmla="*/ 128507 h 129909"/>
                <a:gd name="connsiteX1" fmla="*/ 71925 w 72171"/>
                <a:gd name="connsiteY1" fmla="*/ 10867 h 12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71" h="129909">
                  <a:moveTo>
                    <a:pt x="10867" y="128507"/>
                  </a:moveTo>
                  <a:cubicBezTo>
                    <a:pt x="10867" y="79864"/>
                    <a:pt x="34973" y="36849"/>
                    <a:pt x="71925" y="10867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2D981F8A-127E-42EC-AA10-4A63E7D381B1}"/>
                </a:ext>
              </a:extLst>
            </p:cNvPr>
            <p:cNvSpPr/>
            <p:nvPr/>
          </p:nvSpPr>
          <p:spPr>
            <a:xfrm>
              <a:off x="3099446" y="3177170"/>
              <a:ext cx="216516" cy="101041"/>
            </a:xfrm>
            <a:custGeom>
              <a:avLst/>
              <a:gdLst>
                <a:gd name="connsiteX0" fmla="*/ 10867 w 216515"/>
                <a:gd name="connsiteY0" fmla="*/ 10867 h 101040"/>
                <a:gd name="connsiteX1" fmla="*/ 10867 w 216515"/>
                <a:gd name="connsiteY1" fmla="*/ 66151 h 101040"/>
                <a:gd name="connsiteX2" fmla="*/ 40313 w 216515"/>
                <a:gd name="connsiteY2" fmla="*/ 95597 h 101040"/>
                <a:gd name="connsiteX3" fmla="*/ 184946 w 216515"/>
                <a:gd name="connsiteY3" fmla="*/ 95597 h 101040"/>
                <a:gd name="connsiteX4" fmla="*/ 214392 w 216515"/>
                <a:gd name="connsiteY4" fmla="*/ 66151 h 101040"/>
                <a:gd name="connsiteX5" fmla="*/ 214392 w 216515"/>
                <a:gd name="connsiteY5" fmla="*/ 10867 h 101040"/>
                <a:gd name="connsiteX6" fmla="*/ 11012 w 216515"/>
                <a:gd name="connsiteY6" fmla="*/ 10867 h 101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6515" h="101040">
                  <a:moveTo>
                    <a:pt x="10867" y="10867"/>
                  </a:moveTo>
                  <a:lnTo>
                    <a:pt x="10867" y="66151"/>
                  </a:lnTo>
                  <a:cubicBezTo>
                    <a:pt x="10867" y="82317"/>
                    <a:pt x="24147" y="95597"/>
                    <a:pt x="40313" y="95597"/>
                  </a:cubicBezTo>
                  <a:lnTo>
                    <a:pt x="184946" y="95597"/>
                  </a:lnTo>
                  <a:cubicBezTo>
                    <a:pt x="201112" y="95597"/>
                    <a:pt x="214392" y="82317"/>
                    <a:pt x="214392" y="66151"/>
                  </a:cubicBezTo>
                  <a:lnTo>
                    <a:pt x="214392" y="10867"/>
                  </a:lnTo>
                  <a:lnTo>
                    <a:pt x="11012" y="10867"/>
                  </a:lnTo>
                  <a:close/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87DD3BFD-5E4F-4361-B938-82098CE1E1BF}"/>
                </a:ext>
              </a:extLst>
            </p:cNvPr>
            <p:cNvSpPr/>
            <p:nvPr/>
          </p:nvSpPr>
          <p:spPr>
            <a:xfrm>
              <a:off x="3201064" y="2430191"/>
              <a:ext cx="14434" cy="101041"/>
            </a:xfrm>
            <a:custGeom>
              <a:avLst/>
              <a:gdLst>
                <a:gd name="connsiteX0" fmla="*/ 10867 w 14434"/>
                <a:gd name="connsiteY0" fmla="*/ 10867 h 101040"/>
                <a:gd name="connsiteX1" fmla="*/ 10867 w 14434"/>
                <a:gd name="connsiteY1" fmla="*/ 100793 h 101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34" h="101040">
                  <a:moveTo>
                    <a:pt x="10867" y="10867"/>
                  </a:moveTo>
                  <a:lnTo>
                    <a:pt x="10867" y="100793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9199D791-BF44-4229-9A23-6864E7870BE1}"/>
                </a:ext>
              </a:extLst>
            </p:cNvPr>
            <p:cNvSpPr/>
            <p:nvPr/>
          </p:nvSpPr>
          <p:spPr>
            <a:xfrm>
              <a:off x="2896787" y="2546243"/>
              <a:ext cx="72172" cy="72172"/>
            </a:xfrm>
            <a:custGeom>
              <a:avLst/>
              <a:gdLst>
                <a:gd name="connsiteX0" fmla="*/ 10867 w 72171"/>
                <a:gd name="connsiteY0" fmla="*/ 10867 h 72171"/>
                <a:gd name="connsiteX1" fmla="*/ 74378 w 72171"/>
                <a:gd name="connsiteY1" fmla="*/ 74523 h 7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71" h="72171">
                  <a:moveTo>
                    <a:pt x="10867" y="10867"/>
                  </a:moveTo>
                  <a:lnTo>
                    <a:pt x="74378" y="74523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91F95A84-D533-4998-A658-9CFA9DE6AA7B}"/>
                </a:ext>
              </a:extLst>
            </p:cNvPr>
            <p:cNvSpPr/>
            <p:nvPr/>
          </p:nvSpPr>
          <p:spPr>
            <a:xfrm>
              <a:off x="3448036" y="3037012"/>
              <a:ext cx="72172" cy="72172"/>
            </a:xfrm>
            <a:custGeom>
              <a:avLst/>
              <a:gdLst>
                <a:gd name="connsiteX0" fmla="*/ 10867 w 72171"/>
                <a:gd name="connsiteY0" fmla="*/ 10867 h 72171"/>
                <a:gd name="connsiteX1" fmla="*/ 74378 w 72171"/>
                <a:gd name="connsiteY1" fmla="*/ 74523 h 7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71" h="72171">
                  <a:moveTo>
                    <a:pt x="10867" y="10867"/>
                  </a:moveTo>
                  <a:lnTo>
                    <a:pt x="74378" y="74523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2BBFF250-E0D0-4CAC-8539-3F5763C4C270}"/>
                </a:ext>
              </a:extLst>
            </p:cNvPr>
            <p:cNvSpPr/>
            <p:nvPr/>
          </p:nvSpPr>
          <p:spPr>
            <a:xfrm>
              <a:off x="2797335" y="2806206"/>
              <a:ext cx="101041" cy="14434"/>
            </a:xfrm>
            <a:custGeom>
              <a:avLst/>
              <a:gdLst>
                <a:gd name="connsiteX0" fmla="*/ 10867 w 101040"/>
                <a:gd name="connsiteY0" fmla="*/ 10867 h 14434"/>
                <a:gd name="connsiteX1" fmla="*/ 100793 w 101040"/>
                <a:gd name="connsiteY1" fmla="*/ 10867 h 1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040" h="14434">
                  <a:moveTo>
                    <a:pt x="10867" y="10867"/>
                  </a:moveTo>
                  <a:lnTo>
                    <a:pt x="100793" y="10867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C980BD9D-0021-4B70-90C7-11916BBA36BA}"/>
                </a:ext>
              </a:extLst>
            </p:cNvPr>
            <p:cNvSpPr/>
            <p:nvPr/>
          </p:nvSpPr>
          <p:spPr>
            <a:xfrm>
              <a:off x="3518043" y="2806206"/>
              <a:ext cx="101041" cy="14434"/>
            </a:xfrm>
            <a:custGeom>
              <a:avLst/>
              <a:gdLst>
                <a:gd name="connsiteX0" fmla="*/ 10867 w 101040"/>
                <a:gd name="connsiteY0" fmla="*/ 10867 h 14434"/>
                <a:gd name="connsiteX1" fmla="*/ 100938 w 101040"/>
                <a:gd name="connsiteY1" fmla="*/ 10867 h 1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040" h="14434">
                  <a:moveTo>
                    <a:pt x="10867" y="10867"/>
                  </a:moveTo>
                  <a:lnTo>
                    <a:pt x="100938" y="10867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393D72D1-2F1B-4724-A923-6714DC024080}"/>
                </a:ext>
              </a:extLst>
            </p:cNvPr>
            <p:cNvSpPr/>
            <p:nvPr/>
          </p:nvSpPr>
          <p:spPr>
            <a:xfrm>
              <a:off x="3448036" y="2553605"/>
              <a:ext cx="72172" cy="72172"/>
            </a:xfrm>
            <a:custGeom>
              <a:avLst/>
              <a:gdLst>
                <a:gd name="connsiteX0" fmla="*/ 10867 w 72171"/>
                <a:gd name="connsiteY0" fmla="*/ 74523 h 72171"/>
                <a:gd name="connsiteX1" fmla="*/ 74378 w 72171"/>
                <a:gd name="connsiteY1" fmla="*/ 10867 h 7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71" h="72171">
                  <a:moveTo>
                    <a:pt x="10867" y="74523"/>
                  </a:moveTo>
                  <a:lnTo>
                    <a:pt x="74378" y="10867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7ED6A918-AA7D-4312-B98B-CEB7FDFB5231}"/>
                </a:ext>
              </a:extLst>
            </p:cNvPr>
            <p:cNvSpPr/>
            <p:nvPr/>
          </p:nvSpPr>
          <p:spPr>
            <a:xfrm>
              <a:off x="2896787" y="3043219"/>
              <a:ext cx="72172" cy="72172"/>
            </a:xfrm>
            <a:custGeom>
              <a:avLst/>
              <a:gdLst>
                <a:gd name="connsiteX0" fmla="*/ 10867 w 72171"/>
                <a:gd name="connsiteY0" fmla="*/ 74379 h 72171"/>
                <a:gd name="connsiteX1" fmla="*/ 74378 w 72171"/>
                <a:gd name="connsiteY1" fmla="*/ 10867 h 7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71" h="72171">
                  <a:moveTo>
                    <a:pt x="10867" y="74379"/>
                  </a:moveTo>
                  <a:lnTo>
                    <a:pt x="74378" y="10867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7C753888-0CF2-404F-A3DF-80AE9C983CE0}"/>
                </a:ext>
              </a:extLst>
            </p:cNvPr>
            <p:cNvSpPr/>
            <p:nvPr/>
          </p:nvSpPr>
          <p:spPr>
            <a:xfrm>
              <a:off x="3136687" y="2775605"/>
              <a:ext cx="144344" cy="144344"/>
            </a:xfrm>
            <a:custGeom>
              <a:avLst/>
              <a:gdLst>
                <a:gd name="connsiteX0" fmla="*/ 139911 w 144343"/>
                <a:gd name="connsiteY0" fmla="*/ 75389 h 144343"/>
                <a:gd name="connsiteX1" fmla="*/ 75389 w 144343"/>
                <a:gd name="connsiteY1" fmla="*/ 139911 h 144343"/>
                <a:gd name="connsiteX2" fmla="*/ 10867 w 144343"/>
                <a:gd name="connsiteY2" fmla="*/ 75389 h 144343"/>
                <a:gd name="connsiteX3" fmla="*/ 75389 w 144343"/>
                <a:gd name="connsiteY3" fmla="*/ 10867 h 144343"/>
                <a:gd name="connsiteX4" fmla="*/ 139911 w 144343"/>
                <a:gd name="connsiteY4" fmla="*/ 75389 h 14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343" h="144343">
                  <a:moveTo>
                    <a:pt x="139911" y="75389"/>
                  </a:moveTo>
                  <a:cubicBezTo>
                    <a:pt x="139911" y="111023"/>
                    <a:pt x="111023" y="139911"/>
                    <a:pt x="75389" y="139911"/>
                  </a:cubicBezTo>
                  <a:cubicBezTo>
                    <a:pt x="39754" y="139911"/>
                    <a:pt x="10867" y="111023"/>
                    <a:pt x="10867" y="75389"/>
                  </a:cubicBezTo>
                  <a:cubicBezTo>
                    <a:pt x="10867" y="39755"/>
                    <a:pt x="39754" y="10867"/>
                    <a:pt x="75389" y="10867"/>
                  </a:cubicBezTo>
                  <a:cubicBezTo>
                    <a:pt x="111023" y="10867"/>
                    <a:pt x="139911" y="39755"/>
                    <a:pt x="139911" y="75389"/>
                  </a:cubicBezTo>
                  <a:close/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E3832D85-278A-4E02-80DA-907D44650AC1}"/>
                </a:ext>
              </a:extLst>
            </p:cNvPr>
            <p:cNvSpPr/>
            <p:nvPr/>
          </p:nvSpPr>
          <p:spPr>
            <a:xfrm>
              <a:off x="3037523" y="2675431"/>
              <a:ext cx="346425" cy="346425"/>
            </a:xfrm>
            <a:custGeom>
              <a:avLst/>
              <a:gdLst>
                <a:gd name="connsiteX0" fmla="*/ 103103 w 346424"/>
                <a:gd name="connsiteY0" fmla="*/ 288007 h 346424"/>
                <a:gd name="connsiteX1" fmla="*/ 147272 w 346424"/>
                <a:gd name="connsiteY1" fmla="*/ 306339 h 346424"/>
                <a:gd name="connsiteX2" fmla="*/ 147272 w 346424"/>
                <a:gd name="connsiteY2" fmla="*/ 340260 h 346424"/>
                <a:gd name="connsiteX3" fmla="*/ 203855 w 346424"/>
                <a:gd name="connsiteY3" fmla="*/ 340260 h 346424"/>
                <a:gd name="connsiteX4" fmla="*/ 203855 w 346424"/>
                <a:gd name="connsiteY4" fmla="*/ 306339 h 346424"/>
                <a:gd name="connsiteX5" fmla="*/ 248024 w 346424"/>
                <a:gd name="connsiteY5" fmla="*/ 288007 h 346424"/>
                <a:gd name="connsiteX6" fmla="*/ 272129 w 346424"/>
                <a:gd name="connsiteY6" fmla="*/ 312113 h 346424"/>
                <a:gd name="connsiteX7" fmla="*/ 312113 w 346424"/>
                <a:gd name="connsiteY7" fmla="*/ 272129 h 346424"/>
                <a:gd name="connsiteX8" fmla="*/ 288007 w 346424"/>
                <a:gd name="connsiteY8" fmla="*/ 248024 h 346424"/>
                <a:gd name="connsiteX9" fmla="*/ 306339 w 346424"/>
                <a:gd name="connsiteY9" fmla="*/ 203855 h 346424"/>
                <a:gd name="connsiteX10" fmla="*/ 340260 w 346424"/>
                <a:gd name="connsiteY10" fmla="*/ 203855 h 346424"/>
                <a:gd name="connsiteX11" fmla="*/ 340260 w 346424"/>
                <a:gd name="connsiteY11" fmla="*/ 147272 h 346424"/>
                <a:gd name="connsiteX12" fmla="*/ 306339 w 346424"/>
                <a:gd name="connsiteY12" fmla="*/ 147272 h 346424"/>
                <a:gd name="connsiteX13" fmla="*/ 288007 w 346424"/>
                <a:gd name="connsiteY13" fmla="*/ 103103 h 346424"/>
                <a:gd name="connsiteX14" fmla="*/ 312113 w 346424"/>
                <a:gd name="connsiteY14" fmla="*/ 78997 h 346424"/>
                <a:gd name="connsiteX15" fmla="*/ 272129 w 346424"/>
                <a:gd name="connsiteY15" fmla="*/ 39014 h 346424"/>
                <a:gd name="connsiteX16" fmla="*/ 248024 w 346424"/>
                <a:gd name="connsiteY16" fmla="*/ 63120 h 346424"/>
                <a:gd name="connsiteX17" fmla="*/ 203855 w 346424"/>
                <a:gd name="connsiteY17" fmla="*/ 44788 h 346424"/>
                <a:gd name="connsiteX18" fmla="*/ 203855 w 346424"/>
                <a:gd name="connsiteY18" fmla="*/ 10867 h 346424"/>
                <a:gd name="connsiteX19" fmla="*/ 147272 w 346424"/>
                <a:gd name="connsiteY19" fmla="*/ 10867 h 346424"/>
                <a:gd name="connsiteX20" fmla="*/ 147272 w 346424"/>
                <a:gd name="connsiteY20" fmla="*/ 44788 h 346424"/>
                <a:gd name="connsiteX21" fmla="*/ 103103 w 346424"/>
                <a:gd name="connsiteY21" fmla="*/ 63120 h 346424"/>
                <a:gd name="connsiteX22" fmla="*/ 78997 w 346424"/>
                <a:gd name="connsiteY22" fmla="*/ 39014 h 346424"/>
                <a:gd name="connsiteX23" fmla="*/ 39014 w 346424"/>
                <a:gd name="connsiteY23" fmla="*/ 78997 h 346424"/>
                <a:gd name="connsiteX24" fmla="*/ 63120 w 346424"/>
                <a:gd name="connsiteY24" fmla="*/ 103103 h 346424"/>
                <a:gd name="connsiteX25" fmla="*/ 44788 w 346424"/>
                <a:gd name="connsiteY25" fmla="*/ 147272 h 346424"/>
                <a:gd name="connsiteX26" fmla="*/ 10867 w 346424"/>
                <a:gd name="connsiteY26" fmla="*/ 147272 h 346424"/>
                <a:gd name="connsiteX27" fmla="*/ 10867 w 346424"/>
                <a:gd name="connsiteY27" fmla="*/ 203855 h 346424"/>
                <a:gd name="connsiteX28" fmla="*/ 44788 w 346424"/>
                <a:gd name="connsiteY28" fmla="*/ 203855 h 346424"/>
                <a:gd name="connsiteX29" fmla="*/ 63120 w 346424"/>
                <a:gd name="connsiteY29" fmla="*/ 248024 h 346424"/>
                <a:gd name="connsiteX30" fmla="*/ 39014 w 346424"/>
                <a:gd name="connsiteY30" fmla="*/ 272129 h 346424"/>
                <a:gd name="connsiteX31" fmla="*/ 78997 w 346424"/>
                <a:gd name="connsiteY31" fmla="*/ 312113 h 346424"/>
                <a:gd name="connsiteX32" fmla="*/ 103103 w 346424"/>
                <a:gd name="connsiteY32" fmla="*/ 288007 h 346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46424" h="346424">
                  <a:moveTo>
                    <a:pt x="103103" y="288007"/>
                  </a:moveTo>
                  <a:cubicBezTo>
                    <a:pt x="116382" y="296523"/>
                    <a:pt x="131250" y="302875"/>
                    <a:pt x="147272" y="306339"/>
                  </a:cubicBezTo>
                  <a:lnTo>
                    <a:pt x="147272" y="340260"/>
                  </a:lnTo>
                  <a:lnTo>
                    <a:pt x="203855" y="340260"/>
                  </a:lnTo>
                  <a:lnTo>
                    <a:pt x="203855" y="306339"/>
                  </a:lnTo>
                  <a:cubicBezTo>
                    <a:pt x="219877" y="302875"/>
                    <a:pt x="234744" y="296523"/>
                    <a:pt x="248024" y="288007"/>
                  </a:cubicBezTo>
                  <a:lnTo>
                    <a:pt x="272129" y="312113"/>
                  </a:lnTo>
                  <a:lnTo>
                    <a:pt x="312113" y="272129"/>
                  </a:lnTo>
                  <a:lnTo>
                    <a:pt x="288007" y="248024"/>
                  </a:lnTo>
                  <a:cubicBezTo>
                    <a:pt x="296523" y="234744"/>
                    <a:pt x="302875" y="219877"/>
                    <a:pt x="306339" y="203855"/>
                  </a:cubicBezTo>
                  <a:lnTo>
                    <a:pt x="340260" y="203855"/>
                  </a:lnTo>
                  <a:lnTo>
                    <a:pt x="340260" y="147272"/>
                  </a:lnTo>
                  <a:lnTo>
                    <a:pt x="306339" y="147272"/>
                  </a:lnTo>
                  <a:cubicBezTo>
                    <a:pt x="302875" y="131250"/>
                    <a:pt x="296523" y="116383"/>
                    <a:pt x="288007" y="103103"/>
                  </a:cubicBezTo>
                  <a:lnTo>
                    <a:pt x="312113" y="78997"/>
                  </a:lnTo>
                  <a:lnTo>
                    <a:pt x="272129" y="39014"/>
                  </a:lnTo>
                  <a:lnTo>
                    <a:pt x="248024" y="63120"/>
                  </a:lnTo>
                  <a:cubicBezTo>
                    <a:pt x="234744" y="54603"/>
                    <a:pt x="219877" y="48252"/>
                    <a:pt x="203855" y="44788"/>
                  </a:cubicBezTo>
                  <a:lnTo>
                    <a:pt x="203855" y="10867"/>
                  </a:lnTo>
                  <a:lnTo>
                    <a:pt x="147272" y="10867"/>
                  </a:lnTo>
                  <a:lnTo>
                    <a:pt x="147272" y="44788"/>
                  </a:lnTo>
                  <a:cubicBezTo>
                    <a:pt x="131250" y="48252"/>
                    <a:pt x="116382" y="54603"/>
                    <a:pt x="103103" y="63120"/>
                  </a:cubicBezTo>
                  <a:lnTo>
                    <a:pt x="78997" y="39014"/>
                  </a:lnTo>
                  <a:lnTo>
                    <a:pt x="39014" y="78997"/>
                  </a:lnTo>
                  <a:lnTo>
                    <a:pt x="63120" y="103103"/>
                  </a:lnTo>
                  <a:cubicBezTo>
                    <a:pt x="54603" y="116383"/>
                    <a:pt x="48252" y="131250"/>
                    <a:pt x="44788" y="147272"/>
                  </a:cubicBezTo>
                  <a:lnTo>
                    <a:pt x="10867" y="147272"/>
                  </a:lnTo>
                  <a:lnTo>
                    <a:pt x="10867" y="203855"/>
                  </a:lnTo>
                  <a:lnTo>
                    <a:pt x="44788" y="203855"/>
                  </a:lnTo>
                  <a:cubicBezTo>
                    <a:pt x="48252" y="219877"/>
                    <a:pt x="54603" y="234744"/>
                    <a:pt x="63120" y="248024"/>
                  </a:cubicBezTo>
                  <a:lnTo>
                    <a:pt x="39014" y="272129"/>
                  </a:lnTo>
                  <a:lnTo>
                    <a:pt x="78997" y="312113"/>
                  </a:lnTo>
                  <a:lnTo>
                    <a:pt x="103103" y="288007"/>
                  </a:lnTo>
                  <a:close/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830FA6FC-707E-4576-8E8E-3FB73EEA1D67}"/>
              </a:ext>
            </a:extLst>
          </p:cNvPr>
          <p:cNvGrpSpPr>
            <a:grpSpLocks/>
          </p:cNvGrpSpPr>
          <p:nvPr/>
        </p:nvGrpSpPr>
        <p:grpSpPr bwMode="auto">
          <a:xfrm>
            <a:off x="5322148" y="3917388"/>
            <a:ext cx="1558197" cy="1101773"/>
            <a:chOff x="488" y="2644"/>
            <a:chExt cx="1864" cy="1318"/>
          </a:xfrm>
        </p:grpSpPr>
        <p:sp>
          <p:nvSpPr>
            <p:cNvPr id="156" name="Freeform 2216">
              <a:extLst>
                <a:ext uri="{FF2B5EF4-FFF2-40B4-BE49-F238E27FC236}">
                  <a16:creationId xmlns:a16="http://schemas.microsoft.com/office/drawing/2014/main" id="{B884367B-8D64-4F82-8390-C9E99C0585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7" y="3601"/>
              <a:ext cx="10" cy="6"/>
            </a:xfrm>
            <a:custGeom>
              <a:avLst/>
              <a:gdLst>
                <a:gd name="T0" fmla="*/ 36 w 36"/>
                <a:gd name="T1" fmla="*/ 11 h 21"/>
                <a:gd name="T2" fmla="*/ 30 w 36"/>
                <a:gd name="T3" fmla="*/ 7 h 21"/>
                <a:gd name="T4" fmla="*/ 23 w 36"/>
                <a:gd name="T5" fmla="*/ 11 h 21"/>
                <a:gd name="T6" fmla="*/ 24 w 36"/>
                <a:gd name="T7" fmla="*/ 4 h 21"/>
                <a:gd name="T8" fmla="*/ 18 w 36"/>
                <a:gd name="T9" fmla="*/ 0 h 21"/>
                <a:gd name="T10" fmla="*/ 0 w 36"/>
                <a:gd name="T11" fmla="*/ 11 h 21"/>
                <a:gd name="T12" fmla="*/ 18 w 36"/>
                <a:gd name="T13" fmla="*/ 21 h 21"/>
                <a:gd name="T14" fmla="*/ 36 w 36"/>
                <a:gd name="T15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21">
                  <a:moveTo>
                    <a:pt x="36" y="11"/>
                  </a:moveTo>
                  <a:cubicBezTo>
                    <a:pt x="30" y="7"/>
                    <a:pt x="30" y="7"/>
                    <a:pt x="30" y="7"/>
                  </a:cubicBezTo>
                  <a:cubicBezTo>
                    <a:pt x="28" y="9"/>
                    <a:pt x="26" y="10"/>
                    <a:pt x="23" y="11"/>
                  </a:cubicBezTo>
                  <a:cubicBezTo>
                    <a:pt x="23" y="9"/>
                    <a:pt x="24" y="6"/>
                    <a:pt x="24" y="4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8" y="21"/>
                    <a:pt x="18" y="21"/>
                    <a:pt x="18" y="21"/>
                  </a:cubicBezTo>
                  <a:lnTo>
                    <a:pt x="36" y="11"/>
                  </a:ln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7" name="Freeform 2217">
              <a:extLst>
                <a:ext uri="{FF2B5EF4-FFF2-40B4-BE49-F238E27FC236}">
                  <a16:creationId xmlns:a16="http://schemas.microsoft.com/office/drawing/2014/main" id="{1CA6202F-3F10-4B31-803E-9045A4845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5" y="3593"/>
              <a:ext cx="10" cy="5"/>
            </a:xfrm>
            <a:custGeom>
              <a:avLst/>
              <a:gdLst>
                <a:gd name="T0" fmla="*/ 10 w 10"/>
                <a:gd name="T1" fmla="*/ 3 h 5"/>
                <a:gd name="T2" fmla="*/ 10 w 10"/>
                <a:gd name="T3" fmla="*/ 3 h 5"/>
                <a:gd name="T4" fmla="*/ 10 w 10"/>
                <a:gd name="T5" fmla="*/ 3 h 5"/>
                <a:gd name="T6" fmla="*/ 7 w 10"/>
                <a:gd name="T7" fmla="*/ 1 h 5"/>
                <a:gd name="T8" fmla="*/ 5 w 10"/>
                <a:gd name="T9" fmla="*/ 0 h 5"/>
                <a:gd name="T10" fmla="*/ 5 w 10"/>
                <a:gd name="T11" fmla="*/ 0 h 5"/>
                <a:gd name="T12" fmla="*/ 2 w 10"/>
                <a:gd name="T13" fmla="*/ 1 h 5"/>
                <a:gd name="T14" fmla="*/ 2 w 10"/>
                <a:gd name="T15" fmla="*/ 1 h 5"/>
                <a:gd name="T16" fmla="*/ 0 w 10"/>
                <a:gd name="T17" fmla="*/ 3 h 5"/>
                <a:gd name="T18" fmla="*/ 0 w 10"/>
                <a:gd name="T19" fmla="*/ 3 h 5"/>
                <a:gd name="T20" fmla="*/ 5 w 10"/>
                <a:gd name="T21" fmla="*/ 5 h 5"/>
                <a:gd name="T22" fmla="*/ 10 w 10"/>
                <a:gd name="T23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5">
                  <a:moveTo>
                    <a:pt x="10" y="3"/>
                  </a:moveTo>
                  <a:lnTo>
                    <a:pt x="10" y="3"/>
                  </a:lnTo>
                  <a:lnTo>
                    <a:pt x="10" y="3"/>
                  </a:lnTo>
                  <a:lnTo>
                    <a:pt x="7" y="1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0" y="3"/>
                  </a:lnTo>
                  <a:lnTo>
                    <a:pt x="0" y="3"/>
                  </a:lnTo>
                  <a:lnTo>
                    <a:pt x="5" y="5"/>
                  </a:lnTo>
                  <a:lnTo>
                    <a:pt x="10" y="3"/>
                  </a:ln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8" name="Freeform 2218">
              <a:extLst>
                <a:ext uri="{FF2B5EF4-FFF2-40B4-BE49-F238E27FC236}">
                  <a16:creationId xmlns:a16="http://schemas.microsoft.com/office/drawing/2014/main" id="{B90997E5-9D53-413F-8C6F-C71ACCE64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0" y="3593"/>
              <a:ext cx="10" cy="5"/>
            </a:xfrm>
            <a:custGeom>
              <a:avLst/>
              <a:gdLst>
                <a:gd name="T0" fmla="*/ 2 w 10"/>
                <a:gd name="T1" fmla="*/ 1 h 5"/>
                <a:gd name="T2" fmla="*/ 0 w 10"/>
                <a:gd name="T3" fmla="*/ 3 h 5"/>
                <a:gd name="T4" fmla="*/ 0 w 10"/>
                <a:gd name="T5" fmla="*/ 3 h 5"/>
                <a:gd name="T6" fmla="*/ 5 w 10"/>
                <a:gd name="T7" fmla="*/ 5 h 5"/>
                <a:gd name="T8" fmla="*/ 10 w 10"/>
                <a:gd name="T9" fmla="*/ 3 h 5"/>
                <a:gd name="T10" fmla="*/ 10 w 10"/>
                <a:gd name="T11" fmla="*/ 3 h 5"/>
                <a:gd name="T12" fmla="*/ 10 w 10"/>
                <a:gd name="T13" fmla="*/ 3 h 5"/>
                <a:gd name="T14" fmla="*/ 8 w 10"/>
                <a:gd name="T15" fmla="*/ 1 h 5"/>
                <a:gd name="T16" fmla="*/ 5 w 10"/>
                <a:gd name="T17" fmla="*/ 0 h 5"/>
                <a:gd name="T18" fmla="*/ 3 w 10"/>
                <a:gd name="T19" fmla="*/ 1 h 5"/>
                <a:gd name="T20" fmla="*/ 2 w 10"/>
                <a:gd name="T2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5">
                  <a:moveTo>
                    <a:pt x="2" y="1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5" y="5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8" y="1"/>
                  </a:lnTo>
                  <a:lnTo>
                    <a:pt x="5" y="0"/>
                  </a:lnTo>
                  <a:lnTo>
                    <a:pt x="3" y="1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9" name="Freeform 2219">
              <a:extLst>
                <a:ext uri="{FF2B5EF4-FFF2-40B4-BE49-F238E27FC236}">
                  <a16:creationId xmlns:a16="http://schemas.microsoft.com/office/drawing/2014/main" id="{FB96D23B-A721-46C7-A2C7-09AE1EA55C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1" y="3318"/>
              <a:ext cx="134" cy="77"/>
            </a:xfrm>
            <a:custGeom>
              <a:avLst/>
              <a:gdLst>
                <a:gd name="T0" fmla="*/ 472 w 485"/>
                <a:gd name="T1" fmla="*/ 119 h 280"/>
                <a:gd name="T2" fmla="*/ 485 w 485"/>
                <a:gd name="T3" fmla="*/ 161 h 280"/>
                <a:gd name="T4" fmla="*/ 480 w 485"/>
                <a:gd name="T5" fmla="*/ 186 h 280"/>
                <a:gd name="T6" fmla="*/ 423 w 485"/>
                <a:gd name="T7" fmla="*/ 244 h 280"/>
                <a:gd name="T8" fmla="*/ 322 w 485"/>
                <a:gd name="T9" fmla="*/ 277 h 280"/>
                <a:gd name="T10" fmla="*/ 279 w 485"/>
                <a:gd name="T11" fmla="*/ 280 h 280"/>
                <a:gd name="T12" fmla="*/ 206 w 485"/>
                <a:gd name="T13" fmla="*/ 272 h 280"/>
                <a:gd name="T14" fmla="*/ 90 w 485"/>
                <a:gd name="T15" fmla="*/ 228 h 280"/>
                <a:gd name="T16" fmla="*/ 13 w 485"/>
                <a:gd name="T17" fmla="*/ 161 h 280"/>
                <a:gd name="T18" fmla="*/ 0 w 485"/>
                <a:gd name="T19" fmla="*/ 119 h 280"/>
                <a:gd name="T20" fmla="*/ 5 w 485"/>
                <a:gd name="T21" fmla="*/ 94 h 280"/>
                <a:gd name="T22" fmla="*/ 63 w 485"/>
                <a:gd name="T23" fmla="*/ 36 h 280"/>
                <a:gd name="T24" fmla="*/ 163 w 485"/>
                <a:gd name="T25" fmla="*/ 3 h 280"/>
                <a:gd name="T26" fmla="*/ 205 w 485"/>
                <a:gd name="T27" fmla="*/ 0 h 280"/>
                <a:gd name="T28" fmla="*/ 207 w 485"/>
                <a:gd name="T29" fmla="*/ 0 h 280"/>
                <a:gd name="T30" fmla="*/ 279 w 485"/>
                <a:gd name="T31" fmla="*/ 7 h 280"/>
                <a:gd name="T32" fmla="*/ 395 w 485"/>
                <a:gd name="T33" fmla="*/ 52 h 280"/>
                <a:gd name="T34" fmla="*/ 472 w 485"/>
                <a:gd name="T35" fmla="*/ 119 h 280"/>
                <a:gd name="T36" fmla="*/ 343 w 485"/>
                <a:gd name="T37" fmla="*/ 197 h 280"/>
                <a:gd name="T38" fmla="*/ 358 w 485"/>
                <a:gd name="T39" fmla="*/ 161 h 280"/>
                <a:gd name="T40" fmla="*/ 297 w 485"/>
                <a:gd name="T41" fmla="*/ 109 h 280"/>
                <a:gd name="T42" fmla="*/ 206 w 485"/>
                <a:gd name="T43" fmla="*/ 73 h 280"/>
                <a:gd name="T44" fmla="*/ 143 w 485"/>
                <a:gd name="T45" fmla="*/ 82 h 280"/>
                <a:gd name="T46" fmla="*/ 127 w 485"/>
                <a:gd name="T47" fmla="*/ 119 h 280"/>
                <a:gd name="T48" fmla="*/ 188 w 485"/>
                <a:gd name="T49" fmla="*/ 171 h 280"/>
                <a:gd name="T50" fmla="*/ 279 w 485"/>
                <a:gd name="T51" fmla="*/ 207 h 280"/>
                <a:gd name="T52" fmla="*/ 343 w 485"/>
                <a:gd name="T53" fmla="*/ 197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5" h="280">
                  <a:moveTo>
                    <a:pt x="472" y="119"/>
                  </a:moveTo>
                  <a:cubicBezTo>
                    <a:pt x="481" y="133"/>
                    <a:pt x="485" y="147"/>
                    <a:pt x="485" y="161"/>
                  </a:cubicBezTo>
                  <a:cubicBezTo>
                    <a:pt x="485" y="169"/>
                    <a:pt x="483" y="178"/>
                    <a:pt x="480" y="186"/>
                  </a:cubicBezTo>
                  <a:cubicBezTo>
                    <a:pt x="471" y="207"/>
                    <a:pt x="452" y="227"/>
                    <a:pt x="423" y="244"/>
                  </a:cubicBezTo>
                  <a:cubicBezTo>
                    <a:pt x="393" y="261"/>
                    <a:pt x="360" y="272"/>
                    <a:pt x="322" y="277"/>
                  </a:cubicBezTo>
                  <a:cubicBezTo>
                    <a:pt x="308" y="279"/>
                    <a:pt x="293" y="280"/>
                    <a:pt x="279" y="280"/>
                  </a:cubicBezTo>
                  <a:cubicBezTo>
                    <a:pt x="255" y="280"/>
                    <a:pt x="231" y="277"/>
                    <a:pt x="206" y="272"/>
                  </a:cubicBezTo>
                  <a:cubicBezTo>
                    <a:pt x="166" y="264"/>
                    <a:pt x="127" y="249"/>
                    <a:pt x="90" y="228"/>
                  </a:cubicBezTo>
                  <a:cubicBezTo>
                    <a:pt x="53" y="206"/>
                    <a:pt x="27" y="184"/>
                    <a:pt x="13" y="161"/>
                  </a:cubicBezTo>
                  <a:cubicBezTo>
                    <a:pt x="4" y="147"/>
                    <a:pt x="0" y="133"/>
                    <a:pt x="0" y="119"/>
                  </a:cubicBezTo>
                  <a:cubicBezTo>
                    <a:pt x="0" y="111"/>
                    <a:pt x="2" y="102"/>
                    <a:pt x="5" y="94"/>
                  </a:cubicBezTo>
                  <a:cubicBezTo>
                    <a:pt x="14" y="72"/>
                    <a:pt x="33" y="53"/>
                    <a:pt x="63" y="36"/>
                  </a:cubicBezTo>
                  <a:cubicBezTo>
                    <a:pt x="92" y="19"/>
                    <a:pt x="126" y="8"/>
                    <a:pt x="163" y="3"/>
                  </a:cubicBezTo>
                  <a:cubicBezTo>
                    <a:pt x="177" y="1"/>
                    <a:pt x="191" y="0"/>
                    <a:pt x="205" y="0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30" y="0"/>
                    <a:pt x="254" y="2"/>
                    <a:pt x="279" y="7"/>
                  </a:cubicBezTo>
                  <a:cubicBezTo>
                    <a:pt x="319" y="16"/>
                    <a:pt x="358" y="31"/>
                    <a:pt x="395" y="52"/>
                  </a:cubicBezTo>
                  <a:cubicBezTo>
                    <a:pt x="432" y="74"/>
                    <a:pt x="458" y="96"/>
                    <a:pt x="472" y="119"/>
                  </a:cubicBezTo>
                  <a:close/>
                  <a:moveTo>
                    <a:pt x="343" y="197"/>
                  </a:moveTo>
                  <a:cubicBezTo>
                    <a:pt x="359" y="188"/>
                    <a:pt x="364" y="176"/>
                    <a:pt x="358" y="161"/>
                  </a:cubicBezTo>
                  <a:cubicBezTo>
                    <a:pt x="352" y="146"/>
                    <a:pt x="331" y="129"/>
                    <a:pt x="297" y="109"/>
                  </a:cubicBezTo>
                  <a:cubicBezTo>
                    <a:pt x="262" y="89"/>
                    <a:pt x="232" y="77"/>
                    <a:pt x="206" y="73"/>
                  </a:cubicBezTo>
                  <a:cubicBezTo>
                    <a:pt x="181" y="70"/>
                    <a:pt x="159" y="73"/>
                    <a:pt x="143" y="82"/>
                  </a:cubicBezTo>
                  <a:cubicBezTo>
                    <a:pt x="126" y="92"/>
                    <a:pt x="121" y="104"/>
                    <a:pt x="127" y="119"/>
                  </a:cubicBezTo>
                  <a:cubicBezTo>
                    <a:pt x="133" y="134"/>
                    <a:pt x="154" y="151"/>
                    <a:pt x="188" y="171"/>
                  </a:cubicBezTo>
                  <a:cubicBezTo>
                    <a:pt x="223" y="191"/>
                    <a:pt x="253" y="203"/>
                    <a:pt x="279" y="207"/>
                  </a:cubicBezTo>
                  <a:cubicBezTo>
                    <a:pt x="305" y="210"/>
                    <a:pt x="326" y="207"/>
                    <a:pt x="343" y="19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0" name="Freeform 2220">
              <a:extLst>
                <a:ext uri="{FF2B5EF4-FFF2-40B4-BE49-F238E27FC236}">
                  <a16:creationId xmlns:a16="http://schemas.microsoft.com/office/drawing/2014/main" id="{BD958F6F-F1F0-420C-B0DD-72D6A26F5A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" y="3351"/>
              <a:ext cx="134" cy="74"/>
            </a:xfrm>
            <a:custGeom>
              <a:avLst/>
              <a:gdLst>
                <a:gd name="T0" fmla="*/ 485 w 485"/>
                <a:gd name="T1" fmla="*/ 42 h 268"/>
                <a:gd name="T2" fmla="*/ 485 w 485"/>
                <a:gd name="T3" fmla="*/ 149 h 268"/>
                <a:gd name="T4" fmla="*/ 480 w 485"/>
                <a:gd name="T5" fmla="*/ 174 h 268"/>
                <a:gd name="T6" fmla="*/ 423 w 485"/>
                <a:gd name="T7" fmla="*/ 232 h 268"/>
                <a:gd name="T8" fmla="*/ 322 w 485"/>
                <a:gd name="T9" fmla="*/ 265 h 268"/>
                <a:gd name="T10" fmla="*/ 279 w 485"/>
                <a:gd name="T11" fmla="*/ 268 h 268"/>
                <a:gd name="T12" fmla="*/ 206 w 485"/>
                <a:gd name="T13" fmla="*/ 261 h 268"/>
                <a:gd name="T14" fmla="*/ 90 w 485"/>
                <a:gd name="T15" fmla="*/ 216 h 268"/>
                <a:gd name="T16" fmla="*/ 13 w 485"/>
                <a:gd name="T17" fmla="*/ 149 h 268"/>
                <a:gd name="T18" fmla="*/ 0 w 485"/>
                <a:gd name="T19" fmla="*/ 107 h 268"/>
                <a:gd name="T20" fmla="*/ 0 w 485"/>
                <a:gd name="T21" fmla="*/ 0 h 268"/>
                <a:gd name="T22" fmla="*/ 13 w 485"/>
                <a:gd name="T23" fmla="*/ 42 h 268"/>
                <a:gd name="T24" fmla="*/ 90 w 485"/>
                <a:gd name="T25" fmla="*/ 109 h 268"/>
                <a:gd name="T26" fmla="*/ 206 w 485"/>
                <a:gd name="T27" fmla="*/ 153 h 268"/>
                <a:gd name="T28" fmla="*/ 279 w 485"/>
                <a:gd name="T29" fmla="*/ 161 h 268"/>
                <a:gd name="T30" fmla="*/ 322 w 485"/>
                <a:gd name="T31" fmla="*/ 158 h 268"/>
                <a:gd name="T32" fmla="*/ 423 w 485"/>
                <a:gd name="T33" fmla="*/ 125 h 268"/>
                <a:gd name="T34" fmla="*/ 480 w 485"/>
                <a:gd name="T35" fmla="*/ 67 h 268"/>
                <a:gd name="T36" fmla="*/ 485 w 485"/>
                <a:gd name="T37" fmla="*/ 42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5" h="268">
                  <a:moveTo>
                    <a:pt x="485" y="42"/>
                  </a:moveTo>
                  <a:cubicBezTo>
                    <a:pt x="485" y="149"/>
                    <a:pt x="485" y="149"/>
                    <a:pt x="485" y="149"/>
                  </a:cubicBezTo>
                  <a:cubicBezTo>
                    <a:pt x="485" y="158"/>
                    <a:pt x="483" y="166"/>
                    <a:pt x="480" y="174"/>
                  </a:cubicBezTo>
                  <a:cubicBezTo>
                    <a:pt x="471" y="196"/>
                    <a:pt x="452" y="215"/>
                    <a:pt x="423" y="232"/>
                  </a:cubicBezTo>
                  <a:cubicBezTo>
                    <a:pt x="393" y="249"/>
                    <a:pt x="360" y="260"/>
                    <a:pt x="322" y="265"/>
                  </a:cubicBezTo>
                  <a:cubicBezTo>
                    <a:pt x="308" y="267"/>
                    <a:pt x="293" y="268"/>
                    <a:pt x="279" y="268"/>
                  </a:cubicBezTo>
                  <a:cubicBezTo>
                    <a:pt x="255" y="268"/>
                    <a:pt x="231" y="266"/>
                    <a:pt x="206" y="261"/>
                  </a:cubicBezTo>
                  <a:cubicBezTo>
                    <a:pt x="166" y="253"/>
                    <a:pt x="127" y="238"/>
                    <a:pt x="90" y="216"/>
                  </a:cubicBezTo>
                  <a:cubicBezTo>
                    <a:pt x="53" y="195"/>
                    <a:pt x="27" y="172"/>
                    <a:pt x="13" y="149"/>
                  </a:cubicBezTo>
                  <a:cubicBezTo>
                    <a:pt x="4" y="135"/>
                    <a:pt x="0" y="121"/>
                    <a:pt x="0" y="10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4" y="28"/>
                    <a:pt x="13" y="42"/>
                  </a:cubicBezTo>
                  <a:cubicBezTo>
                    <a:pt x="27" y="65"/>
                    <a:pt x="53" y="87"/>
                    <a:pt x="90" y="109"/>
                  </a:cubicBezTo>
                  <a:cubicBezTo>
                    <a:pt x="127" y="130"/>
                    <a:pt x="166" y="145"/>
                    <a:pt x="206" y="153"/>
                  </a:cubicBezTo>
                  <a:cubicBezTo>
                    <a:pt x="231" y="158"/>
                    <a:pt x="255" y="161"/>
                    <a:pt x="279" y="161"/>
                  </a:cubicBezTo>
                  <a:cubicBezTo>
                    <a:pt x="293" y="161"/>
                    <a:pt x="308" y="160"/>
                    <a:pt x="322" y="158"/>
                  </a:cubicBezTo>
                  <a:cubicBezTo>
                    <a:pt x="360" y="153"/>
                    <a:pt x="393" y="142"/>
                    <a:pt x="423" y="125"/>
                  </a:cubicBezTo>
                  <a:cubicBezTo>
                    <a:pt x="452" y="108"/>
                    <a:pt x="471" y="88"/>
                    <a:pt x="480" y="67"/>
                  </a:cubicBezTo>
                  <a:cubicBezTo>
                    <a:pt x="483" y="59"/>
                    <a:pt x="485" y="50"/>
                    <a:pt x="485" y="42"/>
                  </a:cubicBez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1" name="Freeform 2221">
              <a:extLst>
                <a:ext uri="{FF2B5EF4-FFF2-40B4-BE49-F238E27FC236}">
                  <a16:creationId xmlns:a16="http://schemas.microsoft.com/office/drawing/2014/main" id="{58DABEAB-1B4E-4686-A685-7140644A9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" y="3337"/>
              <a:ext cx="68" cy="39"/>
            </a:xfrm>
            <a:custGeom>
              <a:avLst/>
              <a:gdLst>
                <a:gd name="T0" fmla="*/ 237 w 243"/>
                <a:gd name="T1" fmla="*/ 91 h 140"/>
                <a:gd name="T2" fmla="*/ 222 w 243"/>
                <a:gd name="T3" fmla="*/ 127 h 140"/>
                <a:gd name="T4" fmla="*/ 158 w 243"/>
                <a:gd name="T5" fmla="*/ 137 h 140"/>
                <a:gd name="T6" fmla="*/ 67 w 243"/>
                <a:gd name="T7" fmla="*/ 101 h 140"/>
                <a:gd name="T8" fmla="*/ 6 w 243"/>
                <a:gd name="T9" fmla="*/ 49 h 140"/>
                <a:gd name="T10" fmla="*/ 22 w 243"/>
                <a:gd name="T11" fmla="*/ 12 h 140"/>
                <a:gd name="T12" fmla="*/ 85 w 243"/>
                <a:gd name="T13" fmla="*/ 3 h 140"/>
                <a:gd name="T14" fmla="*/ 176 w 243"/>
                <a:gd name="T15" fmla="*/ 39 h 140"/>
                <a:gd name="T16" fmla="*/ 237 w 243"/>
                <a:gd name="T17" fmla="*/ 91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3" h="140">
                  <a:moveTo>
                    <a:pt x="237" y="91"/>
                  </a:moveTo>
                  <a:cubicBezTo>
                    <a:pt x="243" y="106"/>
                    <a:pt x="238" y="118"/>
                    <a:pt x="222" y="127"/>
                  </a:cubicBezTo>
                  <a:cubicBezTo>
                    <a:pt x="205" y="137"/>
                    <a:pt x="184" y="140"/>
                    <a:pt x="158" y="137"/>
                  </a:cubicBezTo>
                  <a:cubicBezTo>
                    <a:pt x="132" y="133"/>
                    <a:pt x="102" y="121"/>
                    <a:pt x="67" y="101"/>
                  </a:cubicBezTo>
                  <a:cubicBezTo>
                    <a:pt x="33" y="81"/>
                    <a:pt x="12" y="64"/>
                    <a:pt x="6" y="49"/>
                  </a:cubicBezTo>
                  <a:cubicBezTo>
                    <a:pt x="0" y="34"/>
                    <a:pt x="5" y="22"/>
                    <a:pt x="22" y="12"/>
                  </a:cubicBezTo>
                  <a:cubicBezTo>
                    <a:pt x="38" y="3"/>
                    <a:pt x="60" y="0"/>
                    <a:pt x="85" y="3"/>
                  </a:cubicBezTo>
                  <a:cubicBezTo>
                    <a:pt x="111" y="7"/>
                    <a:pt x="141" y="19"/>
                    <a:pt x="176" y="39"/>
                  </a:cubicBezTo>
                  <a:cubicBezTo>
                    <a:pt x="210" y="59"/>
                    <a:pt x="231" y="76"/>
                    <a:pt x="237" y="9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2" name="Freeform 2222">
              <a:extLst>
                <a:ext uri="{FF2B5EF4-FFF2-40B4-BE49-F238E27FC236}">
                  <a16:creationId xmlns:a16="http://schemas.microsoft.com/office/drawing/2014/main" id="{39BA5C7D-71CF-4E9A-B9AA-C832FA139E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" y="3314"/>
              <a:ext cx="140" cy="84"/>
            </a:xfrm>
            <a:custGeom>
              <a:avLst/>
              <a:gdLst>
                <a:gd name="T0" fmla="*/ 291 w 509"/>
                <a:gd name="T1" fmla="*/ 304 h 304"/>
                <a:gd name="T2" fmla="*/ 216 w 509"/>
                <a:gd name="T3" fmla="*/ 296 h 304"/>
                <a:gd name="T4" fmla="*/ 96 w 509"/>
                <a:gd name="T5" fmla="*/ 250 h 304"/>
                <a:gd name="T6" fmla="*/ 15 w 509"/>
                <a:gd name="T7" fmla="*/ 179 h 304"/>
                <a:gd name="T8" fmla="*/ 0 w 509"/>
                <a:gd name="T9" fmla="*/ 131 h 304"/>
                <a:gd name="T10" fmla="*/ 6 w 509"/>
                <a:gd name="T11" fmla="*/ 101 h 304"/>
                <a:gd name="T12" fmla="*/ 69 w 509"/>
                <a:gd name="T13" fmla="*/ 38 h 304"/>
                <a:gd name="T14" fmla="*/ 173 w 509"/>
                <a:gd name="T15" fmla="*/ 3 h 304"/>
                <a:gd name="T16" fmla="*/ 217 w 509"/>
                <a:gd name="T17" fmla="*/ 0 h 304"/>
                <a:gd name="T18" fmla="*/ 218 w 509"/>
                <a:gd name="T19" fmla="*/ 0 h 304"/>
                <a:gd name="T20" fmla="*/ 219 w 509"/>
                <a:gd name="T21" fmla="*/ 0 h 304"/>
                <a:gd name="T22" fmla="*/ 293 w 509"/>
                <a:gd name="T23" fmla="*/ 8 h 304"/>
                <a:gd name="T24" fmla="*/ 413 w 509"/>
                <a:gd name="T25" fmla="*/ 54 h 304"/>
                <a:gd name="T26" fmla="*/ 494 w 509"/>
                <a:gd name="T27" fmla="*/ 125 h 304"/>
                <a:gd name="T28" fmla="*/ 509 w 509"/>
                <a:gd name="T29" fmla="*/ 173 h 304"/>
                <a:gd name="T30" fmla="*/ 503 w 509"/>
                <a:gd name="T31" fmla="*/ 203 h 304"/>
                <a:gd name="T32" fmla="*/ 441 w 509"/>
                <a:gd name="T33" fmla="*/ 266 h 304"/>
                <a:gd name="T34" fmla="*/ 336 w 509"/>
                <a:gd name="T35" fmla="*/ 301 h 304"/>
                <a:gd name="T36" fmla="*/ 291 w 509"/>
                <a:gd name="T37" fmla="*/ 304 h 304"/>
                <a:gd name="T38" fmla="*/ 218 w 509"/>
                <a:gd name="T39" fmla="*/ 24 h 304"/>
                <a:gd name="T40" fmla="*/ 217 w 509"/>
                <a:gd name="T41" fmla="*/ 24 h 304"/>
                <a:gd name="T42" fmla="*/ 176 w 509"/>
                <a:gd name="T43" fmla="*/ 27 h 304"/>
                <a:gd name="T44" fmla="*/ 81 w 509"/>
                <a:gd name="T45" fmla="*/ 58 h 304"/>
                <a:gd name="T46" fmla="*/ 28 w 509"/>
                <a:gd name="T47" fmla="*/ 110 h 304"/>
                <a:gd name="T48" fmla="*/ 24 w 509"/>
                <a:gd name="T49" fmla="*/ 131 h 304"/>
                <a:gd name="T50" fmla="*/ 35 w 509"/>
                <a:gd name="T51" fmla="*/ 167 h 304"/>
                <a:gd name="T52" fmla="*/ 108 w 509"/>
                <a:gd name="T53" fmla="*/ 230 h 304"/>
                <a:gd name="T54" fmla="*/ 221 w 509"/>
                <a:gd name="T55" fmla="*/ 273 h 304"/>
                <a:gd name="T56" fmla="*/ 333 w 509"/>
                <a:gd name="T57" fmla="*/ 277 h 304"/>
                <a:gd name="T58" fmla="*/ 429 w 509"/>
                <a:gd name="T59" fmla="*/ 245 h 304"/>
                <a:gd name="T60" fmla="*/ 481 w 509"/>
                <a:gd name="T61" fmla="*/ 193 h 304"/>
                <a:gd name="T62" fmla="*/ 485 w 509"/>
                <a:gd name="T63" fmla="*/ 173 h 304"/>
                <a:gd name="T64" fmla="*/ 474 w 509"/>
                <a:gd name="T65" fmla="*/ 137 h 304"/>
                <a:gd name="T66" fmla="*/ 401 w 509"/>
                <a:gd name="T67" fmla="*/ 74 h 304"/>
                <a:gd name="T68" fmla="*/ 288 w 509"/>
                <a:gd name="T69" fmla="*/ 31 h 304"/>
                <a:gd name="T70" fmla="*/ 219 w 509"/>
                <a:gd name="T71" fmla="*/ 24 h 304"/>
                <a:gd name="T72" fmla="*/ 218 w 509"/>
                <a:gd name="T73" fmla="*/ 2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09" h="304">
                  <a:moveTo>
                    <a:pt x="291" y="304"/>
                  </a:moveTo>
                  <a:cubicBezTo>
                    <a:pt x="266" y="304"/>
                    <a:pt x="241" y="301"/>
                    <a:pt x="216" y="296"/>
                  </a:cubicBezTo>
                  <a:cubicBezTo>
                    <a:pt x="175" y="288"/>
                    <a:pt x="135" y="272"/>
                    <a:pt x="96" y="250"/>
                  </a:cubicBezTo>
                  <a:cubicBezTo>
                    <a:pt x="57" y="228"/>
                    <a:pt x="30" y="204"/>
                    <a:pt x="15" y="179"/>
                  </a:cubicBezTo>
                  <a:cubicBezTo>
                    <a:pt x="5" y="163"/>
                    <a:pt x="0" y="147"/>
                    <a:pt x="0" y="131"/>
                  </a:cubicBezTo>
                  <a:cubicBezTo>
                    <a:pt x="0" y="121"/>
                    <a:pt x="2" y="111"/>
                    <a:pt x="6" y="101"/>
                  </a:cubicBezTo>
                  <a:cubicBezTo>
                    <a:pt x="16" y="77"/>
                    <a:pt x="37" y="56"/>
                    <a:pt x="69" y="38"/>
                  </a:cubicBezTo>
                  <a:cubicBezTo>
                    <a:pt x="100" y="20"/>
                    <a:pt x="135" y="8"/>
                    <a:pt x="173" y="3"/>
                  </a:cubicBezTo>
                  <a:cubicBezTo>
                    <a:pt x="188" y="1"/>
                    <a:pt x="202" y="0"/>
                    <a:pt x="217" y="0"/>
                  </a:cubicBezTo>
                  <a:cubicBezTo>
                    <a:pt x="217" y="0"/>
                    <a:pt x="218" y="0"/>
                    <a:pt x="218" y="0"/>
                  </a:cubicBezTo>
                  <a:cubicBezTo>
                    <a:pt x="218" y="0"/>
                    <a:pt x="218" y="0"/>
                    <a:pt x="219" y="0"/>
                  </a:cubicBezTo>
                  <a:cubicBezTo>
                    <a:pt x="243" y="0"/>
                    <a:pt x="268" y="3"/>
                    <a:pt x="293" y="8"/>
                  </a:cubicBezTo>
                  <a:cubicBezTo>
                    <a:pt x="334" y="16"/>
                    <a:pt x="375" y="31"/>
                    <a:pt x="413" y="54"/>
                  </a:cubicBezTo>
                  <a:cubicBezTo>
                    <a:pt x="452" y="76"/>
                    <a:pt x="479" y="100"/>
                    <a:pt x="494" y="125"/>
                  </a:cubicBezTo>
                  <a:cubicBezTo>
                    <a:pt x="504" y="141"/>
                    <a:pt x="509" y="157"/>
                    <a:pt x="509" y="173"/>
                  </a:cubicBezTo>
                  <a:cubicBezTo>
                    <a:pt x="509" y="183"/>
                    <a:pt x="507" y="193"/>
                    <a:pt x="503" y="203"/>
                  </a:cubicBezTo>
                  <a:cubicBezTo>
                    <a:pt x="493" y="226"/>
                    <a:pt x="472" y="248"/>
                    <a:pt x="441" y="266"/>
                  </a:cubicBezTo>
                  <a:cubicBezTo>
                    <a:pt x="410" y="284"/>
                    <a:pt x="375" y="296"/>
                    <a:pt x="336" y="301"/>
                  </a:cubicBezTo>
                  <a:cubicBezTo>
                    <a:pt x="321" y="303"/>
                    <a:pt x="306" y="304"/>
                    <a:pt x="291" y="304"/>
                  </a:cubicBezTo>
                  <a:close/>
                  <a:moveTo>
                    <a:pt x="218" y="24"/>
                  </a:moveTo>
                  <a:cubicBezTo>
                    <a:pt x="218" y="24"/>
                    <a:pt x="218" y="24"/>
                    <a:pt x="217" y="24"/>
                  </a:cubicBezTo>
                  <a:cubicBezTo>
                    <a:pt x="204" y="24"/>
                    <a:pt x="190" y="25"/>
                    <a:pt x="176" y="27"/>
                  </a:cubicBezTo>
                  <a:cubicBezTo>
                    <a:pt x="141" y="32"/>
                    <a:pt x="109" y="42"/>
                    <a:pt x="81" y="58"/>
                  </a:cubicBezTo>
                  <a:cubicBezTo>
                    <a:pt x="54" y="74"/>
                    <a:pt x="36" y="92"/>
                    <a:pt x="28" y="110"/>
                  </a:cubicBezTo>
                  <a:cubicBezTo>
                    <a:pt x="25" y="117"/>
                    <a:pt x="24" y="124"/>
                    <a:pt x="24" y="131"/>
                  </a:cubicBezTo>
                  <a:cubicBezTo>
                    <a:pt x="24" y="143"/>
                    <a:pt x="28" y="154"/>
                    <a:pt x="35" y="167"/>
                  </a:cubicBezTo>
                  <a:cubicBezTo>
                    <a:pt x="48" y="188"/>
                    <a:pt x="73" y="209"/>
                    <a:pt x="108" y="230"/>
                  </a:cubicBezTo>
                  <a:cubicBezTo>
                    <a:pt x="144" y="250"/>
                    <a:pt x="182" y="265"/>
                    <a:pt x="221" y="273"/>
                  </a:cubicBezTo>
                  <a:cubicBezTo>
                    <a:pt x="259" y="281"/>
                    <a:pt x="297" y="282"/>
                    <a:pt x="333" y="277"/>
                  </a:cubicBezTo>
                  <a:cubicBezTo>
                    <a:pt x="368" y="272"/>
                    <a:pt x="400" y="261"/>
                    <a:pt x="429" y="245"/>
                  </a:cubicBezTo>
                  <a:cubicBezTo>
                    <a:pt x="455" y="230"/>
                    <a:pt x="473" y="212"/>
                    <a:pt x="481" y="193"/>
                  </a:cubicBezTo>
                  <a:cubicBezTo>
                    <a:pt x="484" y="187"/>
                    <a:pt x="485" y="180"/>
                    <a:pt x="485" y="173"/>
                  </a:cubicBezTo>
                  <a:cubicBezTo>
                    <a:pt x="485" y="161"/>
                    <a:pt x="481" y="150"/>
                    <a:pt x="474" y="137"/>
                  </a:cubicBezTo>
                  <a:cubicBezTo>
                    <a:pt x="461" y="116"/>
                    <a:pt x="436" y="95"/>
                    <a:pt x="401" y="74"/>
                  </a:cubicBezTo>
                  <a:cubicBezTo>
                    <a:pt x="365" y="54"/>
                    <a:pt x="327" y="39"/>
                    <a:pt x="288" y="31"/>
                  </a:cubicBezTo>
                  <a:cubicBezTo>
                    <a:pt x="265" y="26"/>
                    <a:pt x="241" y="24"/>
                    <a:pt x="219" y="24"/>
                  </a:cubicBezTo>
                  <a:cubicBezTo>
                    <a:pt x="218" y="24"/>
                    <a:pt x="218" y="24"/>
                    <a:pt x="218" y="2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3" name="Freeform 2223">
              <a:extLst>
                <a:ext uri="{FF2B5EF4-FFF2-40B4-BE49-F238E27FC236}">
                  <a16:creationId xmlns:a16="http://schemas.microsoft.com/office/drawing/2014/main" id="{A1E1158E-1119-4B69-B88E-A144DF2491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" y="3334"/>
              <a:ext cx="74" cy="45"/>
            </a:xfrm>
            <a:custGeom>
              <a:avLst/>
              <a:gdLst>
                <a:gd name="T0" fmla="*/ 191 w 270"/>
                <a:gd name="T1" fmla="*/ 162 h 162"/>
                <a:gd name="T2" fmla="*/ 169 w 270"/>
                <a:gd name="T3" fmla="*/ 160 h 162"/>
                <a:gd name="T4" fmla="*/ 74 w 270"/>
                <a:gd name="T5" fmla="*/ 124 h 162"/>
                <a:gd name="T6" fmla="*/ 8 w 270"/>
                <a:gd name="T7" fmla="*/ 66 h 162"/>
                <a:gd name="T8" fmla="*/ 29 w 270"/>
                <a:gd name="T9" fmla="*/ 14 h 162"/>
                <a:gd name="T10" fmla="*/ 100 w 270"/>
                <a:gd name="T11" fmla="*/ 3 h 162"/>
                <a:gd name="T12" fmla="*/ 195 w 270"/>
                <a:gd name="T13" fmla="*/ 40 h 162"/>
                <a:gd name="T14" fmla="*/ 261 w 270"/>
                <a:gd name="T15" fmla="*/ 98 h 162"/>
                <a:gd name="T16" fmla="*/ 241 w 270"/>
                <a:gd name="T17" fmla="*/ 150 h 162"/>
                <a:gd name="T18" fmla="*/ 191 w 270"/>
                <a:gd name="T19" fmla="*/ 162 h 162"/>
                <a:gd name="T20" fmla="*/ 78 w 270"/>
                <a:gd name="T21" fmla="*/ 26 h 162"/>
                <a:gd name="T22" fmla="*/ 41 w 270"/>
                <a:gd name="T23" fmla="*/ 35 h 162"/>
                <a:gd name="T24" fmla="*/ 30 w 270"/>
                <a:gd name="T25" fmla="*/ 56 h 162"/>
                <a:gd name="T26" fmla="*/ 86 w 270"/>
                <a:gd name="T27" fmla="*/ 103 h 162"/>
                <a:gd name="T28" fmla="*/ 173 w 270"/>
                <a:gd name="T29" fmla="*/ 137 h 162"/>
                <a:gd name="T30" fmla="*/ 229 w 270"/>
                <a:gd name="T31" fmla="*/ 129 h 162"/>
                <a:gd name="T32" fmla="*/ 239 w 270"/>
                <a:gd name="T33" fmla="*/ 108 h 162"/>
                <a:gd name="T34" fmla="*/ 183 w 270"/>
                <a:gd name="T35" fmla="*/ 61 h 162"/>
                <a:gd name="T36" fmla="*/ 97 w 270"/>
                <a:gd name="T37" fmla="*/ 27 h 162"/>
                <a:gd name="T38" fmla="*/ 78 w 270"/>
                <a:gd name="T39" fmla="*/ 26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0" h="162">
                  <a:moveTo>
                    <a:pt x="191" y="162"/>
                  </a:moveTo>
                  <a:cubicBezTo>
                    <a:pt x="184" y="162"/>
                    <a:pt x="177" y="161"/>
                    <a:pt x="169" y="160"/>
                  </a:cubicBezTo>
                  <a:cubicBezTo>
                    <a:pt x="142" y="157"/>
                    <a:pt x="110" y="144"/>
                    <a:pt x="74" y="124"/>
                  </a:cubicBezTo>
                  <a:cubicBezTo>
                    <a:pt x="37" y="102"/>
                    <a:pt x="16" y="83"/>
                    <a:pt x="8" y="66"/>
                  </a:cubicBezTo>
                  <a:cubicBezTo>
                    <a:pt x="0" y="45"/>
                    <a:pt x="7" y="26"/>
                    <a:pt x="29" y="14"/>
                  </a:cubicBezTo>
                  <a:cubicBezTo>
                    <a:pt x="48" y="3"/>
                    <a:pt x="72" y="0"/>
                    <a:pt x="100" y="3"/>
                  </a:cubicBezTo>
                  <a:cubicBezTo>
                    <a:pt x="127" y="7"/>
                    <a:pt x="159" y="20"/>
                    <a:pt x="195" y="40"/>
                  </a:cubicBezTo>
                  <a:cubicBezTo>
                    <a:pt x="232" y="62"/>
                    <a:pt x="254" y="81"/>
                    <a:pt x="261" y="98"/>
                  </a:cubicBezTo>
                  <a:cubicBezTo>
                    <a:pt x="266" y="110"/>
                    <a:pt x="270" y="133"/>
                    <a:pt x="241" y="150"/>
                  </a:cubicBezTo>
                  <a:cubicBezTo>
                    <a:pt x="227" y="158"/>
                    <a:pt x="210" y="162"/>
                    <a:pt x="191" y="162"/>
                  </a:cubicBezTo>
                  <a:close/>
                  <a:moveTo>
                    <a:pt x="78" y="26"/>
                  </a:moveTo>
                  <a:cubicBezTo>
                    <a:pt x="64" y="26"/>
                    <a:pt x="51" y="29"/>
                    <a:pt x="41" y="35"/>
                  </a:cubicBezTo>
                  <a:cubicBezTo>
                    <a:pt x="26" y="43"/>
                    <a:pt x="28" y="50"/>
                    <a:pt x="30" y="56"/>
                  </a:cubicBezTo>
                  <a:cubicBezTo>
                    <a:pt x="34" y="65"/>
                    <a:pt x="47" y="80"/>
                    <a:pt x="86" y="103"/>
                  </a:cubicBezTo>
                  <a:cubicBezTo>
                    <a:pt x="120" y="122"/>
                    <a:pt x="149" y="133"/>
                    <a:pt x="173" y="137"/>
                  </a:cubicBezTo>
                  <a:cubicBezTo>
                    <a:pt x="195" y="140"/>
                    <a:pt x="214" y="137"/>
                    <a:pt x="229" y="129"/>
                  </a:cubicBezTo>
                  <a:cubicBezTo>
                    <a:pt x="243" y="121"/>
                    <a:pt x="242" y="114"/>
                    <a:pt x="239" y="108"/>
                  </a:cubicBezTo>
                  <a:cubicBezTo>
                    <a:pt x="235" y="99"/>
                    <a:pt x="223" y="84"/>
                    <a:pt x="183" y="61"/>
                  </a:cubicBezTo>
                  <a:cubicBezTo>
                    <a:pt x="150" y="42"/>
                    <a:pt x="121" y="31"/>
                    <a:pt x="97" y="27"/>
                  </a:cubicBezTo>
                  <a:cubicBezTo>
                    <a:pt x="90" y="26"/>
                    <a:pt x="84" y="26"/>
                    <a:pt x="78" y="2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4" name="Freeform 2224">
              <a:extLst>
                <a:ext uri="{FF2B5EF4-FFF2-40B4-BE49-F238E27FC236}">
                  <a16:creationId xmlns:a16="http://schemas.microsoft.com/office/drawing/2014/main" id="{E98141D3-D5D3-44C1-8971-E14F78546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" y="3347"/>
              <a:ext cx="140" cy="81"/>
            </a:xfrm>
            <a:custGeom>
              <a:avLst/>
              <a:gdLst>
                <a:gd name="T0" fmla="*/ 291 w 509"/>
                <a:gd name="T1" fmla="*/ 292 h 292"/>
                <a:gd name="T2" fmla="*/ 216 w 509"/>
                <a:gd name="T3" fmla="*/ 284 h 292"/>
                <a:gd name="T4" fmla="*/ 96 w 509"/>
                <a:gd name="T5" fmla="*/ 239 h 292"/>
                <a:gd name="T6" fmla="*/ 15 w 509"/>
                <a:gd name="T7" fmla="*/ 167 h 292"/>
                <a:gd name="T8" fmla="*/ 0 w 509"/>
                <a:gd name="T9" fmla="*/ 119 h 292"/>
                <a:gd name="T10" fmla="*/ 0 w 509"/>
                <a:gd name="T11" fmla="*/ 12 h 292"/>
                <a:gd name="T12" fmla="*/ 12 w 509"/>
                <a:gd name="T13" fmla="*/ 0 h 292"/>
                <a:gd name="T14" fmla="*/ 24 w 509"/>
                <a:gd name="T15" fmla="*/ 12 h 292"/>
                <a:gd name="T16" fmla="*/ 24 w 509"/>
                <a:gd name="T17" fmla="*/ 119 h 292"/>
                <a:gd name="T18" fmla="*/ 35 w 509"/>
                <a:gd name="T19" fmla="*/ 155 h 292"/>
                <a:gd name="T20" fmla="*/ 108 w 509"/>
                <a:gd name="T21" fmla="*/ 218 h 292"/>
                <a:gd name="T22" fmla="*/ 221 w 509"/>
                <a:gd name="T23" fmla="*/ 261 h 292"/>
                <a:gd name="T24" fmla="*/ 333 w 509"/>
                <a:gd name="T25" fmla="*/ 265 h 292"/>
                <a:gd name="T26" fmla="*/ 429 w 509"/>
                <a:gd name="T27" fmla="*/ 234 h 292"/>
                <a:gd name="T28" fmla="*/ 481 w 509"/>
                <a:gd name="T29" fmla="*/ 182 h 292"/>
                <a:gd name="T30" fmla="*/ 485 w 509"/>
                <a:gd name="T31" fmla="*/ 161 h 292"/>
                <a:gd name="T32" fmla="*/ 485 w 509"/>
                <a:gd name="T33" fmla="*/ 54 h 292"/>
                <a:gd name="T34" fmla="*/ 497 w 509"/>
                <a:gd name="T35" fmla="*/ 42 h 292"/>
                <a:gd name="T36" fmla="*/ 509 w 509"/>
                <a:gd name="T37" fmla="*/ 54 h 292"/>
                <a:gd name="T38" fmla="*/ 509 w 509"/>
                <a:gd name="T39" fmla="*/ 161 h 292"/>
                <a:gd name="T40" fmla="*/ 503 w 509"/>
                <a:gd name="T41" fmla="*/ 191 h 292"/>
                <a:gd name="T42" fmla="*/ 441 w 509"/>
                <a:gd name="T43" fmla="*/ 254 h 292"/>
                <a:gd name="T44" fmla="*/ 336 w 509"/>
                <a:gd name="T45" fmla="*/ 289 h 292"/>
                <a:gd name="T46" fmla="*/ 291 w 509"/>
                <a:gd name="T47" fmla="*/ 2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9" h="292">
                  <a:moveTo>
                    <a:pt x="291" y="292"/>
                  </a:moveTo>
                  <a:cubicBezTo>
                    <a:pt x="266" y="292"/>
                    <a:pt x="241" y="290"/>
                    <a:pt x="216" y="284"/>
                  </a:cubicBezTo>
                  <a:cubicBezTo>
                    <a:pt x="175" y="276"/>
                    <a:pt x="134" y="261"/>
                    <a:pt x="96" y="239"/>
                  </a:cubicBezTo>
                  <a:cubicBezTo>
                    <a:pt x="57" y="216"/>
                    <a:pt x="30" y="192"/>
                    <a:pt x="15" y="167"/>
                  </a:cubicBezTo>
                  <a:cubicBezTo>
                    <a:pt x="5" y="152"/>
                    <a:pt x="0" y="135"/>
                    <a:pt x="0" y="11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6"/>
                    <a:pt x="24" y="12"/>
                  </a:cubicBezTo>
                  <a:cubicBezTo>
                    <a:pt x="24" y="119"/>
                    <a:pt x="24" y="119"/>
                    <a:pt x="24" y="119"/>
                  </a:cubicBezTo>
                  <a:cubicBezTo>
                    <a:pt x="24" y="131"/>
                    <a:pt x="28" y="143"/>
                    <a:pt x="35" y="155"/>
                  </a:cubicBezTo>
                  <a:cubicBezTo>
                    <a:pt x="48" y="176"/>
                    <a:pt x="73" y="197"/>
                    <a:pt x="108" y="218"/>
                  </a:cubicBezTo>
                  <a:cubicBezTo>
                    <a:pt x="144" y="239"/>
                    <a:pt x="182" y="253"/>
                    <a:pt x="221" y="261"/>
                  </a:cubicBezTo>
                  <a:cubicBezTo>
                    <a:pt x="259" y="269"/>
                    <a:pt x="297" y="270"/>
                    <a:pt x="333" y="265"/>
                  </a:cubicBezTo>
                  <a:cubicBezTo>
                    <a:pt x="368" y="261"/>
                    <a:pt x="400" y="250"/>
                    <a:pt x="429" y="234"/>
                  </a:cubicBezTo>
                  <a:cubicBezTo>
                    <a:pt x="455" y="218"/>
                    <a:pt x="473" y="201"/>
                    <a:pt x="481" y="182"/>
                  </a:cubicBezTo>
                  <a:cubicBezTo>
                    <a:pt x="484" y="175"/>
                    <a:pt x="485" y="168"/>
                    <a:pt x="485" y="161"/>
                  </a:cubicBezTo>
                  <a:cubicBezTo>
                    <a:pt x="485" y="54"/>
                    <a:pt x="485" y="54"/>
                    <a:pt x="485" y="54"/>
                  </a:cubicBezTo>
                  <a:cubicBezTo>
                    <a:pt x="485" y="47"/>
                    <a:pt x="490" y="42"/>
                    <a:pt x="497" y="42"/>
                  </a:cubicBezTo>
                  <a:cubicBezTo>
                    <a:pt x="504" y="42"/>
                    <a:pt x="509" y="47"/>
                    <a:pt x="509" y="54"/>
                  </a:cubicBezTo>
                  <a:cubicBezTo>
                    <a:pt x="509" y="161"/>
                    <a:pt x="509" y="161"/>
                    <a:pt x="509" y="161"/>
                  </a:cubicBezTo>
                  <a:cubicBezTo>
                    <a:pt x="509" y="171"/>
                    <a:pt x="507" y="181"/>
                    <a:pt x="503" y="191"/>
                  </a:cubicBezTo>
                  <a:cubicBezTo>
                    <a:pt x="493" y="215"/>
                    <a:pt x="472" y="236"/>
                    <a:pt x="441" y="254"/>
                  </a:cubicBezTo>
                  <a:cubicBezTo>
                    <a:pt x="410" y="272"/>
                    <a:pt x="375" y="284"/>
                    <a:pt x="336" y="289"/>
                  </a:cubicBezTo>
                  <a:cubicBezTo>
                    <a:pt x="321" y="291"/>
                    <a:pt x="306" y="292"/>
                    <a:pt x="291" y="29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5" name="Freeform 2225">
              <a:extLst>
                <a:ext uri="{FF2B5EF4-FFF2-40B4-BE49-F238E27FC236}">
                  <a16:creationId xmlns:a16="http://schemas.microsoft.com/office/drawing/2014/main" id="{7F029A94-5444-4BD6-95D1-A03B01C7B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6" y="2653"/>
              <a:ext cx="365" cy="513"/>
            </a:xfrm>
            <a:custGeom>
              <a:avLst/>
              <a:gdLst>
                <a:gd name="T0" fmla="*/ 766 w 1321"/>
                <a:gd name="T1" fmla="*/ 863 h 1858"/>
                <a:gd name="T2" fmla="*/ 949 w 1321"/>
                <a:gd name="T3" fmla="*/ 287 h 1858"/>
                <a:gd name="T4" fmla="*/ 981 w 1321"/>
                <a:gd name="T5" fmla="*/ 257 h 1858"/>
                <a:gd name="T6" fmla="*/ 1021 w 1321"/>
                <a:gd name="T7" fmla="*/ 276 h 1858"/>
                <a:gd name="T8" fmla="*/ 974 w 1321"/>
                <a:gd name="T9" fmla="*/ 697 h 1858"/>
                <a:gd name="T10" fmla="*/ 876 w 1321"/>
                <a:gd name="T11" fmla="*/ 1174 h 1858"/>
                <a:gd name="T12" fmla="*/ 882 w 1321"/>
                <a:gd name="T13" fmla="*/ 1188 h 1858"/>
                <a:gd name="T14" fmla="*/ 898 w 1321"/>
                <a:gd name="T15" fmla="*/ 1191 h 1858"/>
                <a:gd name="T16" fmla="*/ 1129 w 1321"/>
                <a:gd name="T17" fmla="*/ 1050 h 1858"/>
                <a:gd name="T18" fmla="*/ 1287 w 1321"/>
                <a:gd name="T19" fmla="*/ 1018 h 1858"/>
                <a:gd name="T20" fmla="*/ 1317 w 1321"/>
                <a:gd name="T21" fmla="*/ 1049 h 1858"/>
                <a:gd name="T22" fmla="*/ 1308 w 1321"/>
                <a:gd name="T23" fmla="*/ 1091 h 1858"/>
                <a:gd name="T24" fmla="*/ 1184 w 1321"/>
                <a:gd name="T25" fmla="*/ 1231 h 1858"/>
                <a:gd name="T26" fmla="*/ 1117 w 1321"/>
                <a:gd name="T27" fmla="*/ 1290 h 1858"/>
                <a:gd name="T28" fmla="*/ 917 w 1321"/>
                <a:gd name="T29" fmla="*/ 1449 h 1858"/>
                <a:gd name="T30" fmla="*/ 691 w 1321"/>
                <a:gd name="T31" fmla="*/ 1612 h 1858"/>
                <a:gd name="T32" fmla="*/ 266 w 1321"/>
                <a:gd name="T33" fmla="*/ 1858 h 1858"/>
                <a:gd name="T34" fmla="*/ 269 w 1321"/>
                <a:gd name="T35" fmla="*/ 1814 h 1858"/>
                <a:gd name="T36" fmla="*/ 203 w 1321"/>
                <a:gd name="T37" fmla="*/ 1590 h 1858"/>
                <a:gd name="T38" fmla="*/ 38 w 1321"/>
                <a:gd name="T39" fmla="*/ 1414 h 1858"/>
                <a:gd name="T40" fmla="*/ 0 w 1321"/>
                <a:gd name="T41" fmla="*/ 1396 h 1858"/>
                <a:gd name="T42" fmla="*/ 12 w 1321"/>
                <a:gd name="T43" fmla="*/ 1389 h 1858"/>
                <a:gd name="T44" fmla="*/ 185 w 1321"/>
                <a:gd name="T45" fmla="*/ 1196 h 1858"/>
                <a:gd name="T46" fmla="*/ 262 w 1321"/>
                <a:gd name="T47" fmla="*/ 967 h 1858"/>
                <a:gd name="T48" fmla="*/ 293 w 1321"/>
                <a:gd name="T49" fmla="*/ 235 h 1858"/>
                <a:gd name="T50" fmla="*/ 321 w 1321"/>
                <a:gd name="T51" fmla="*/ 194 h 1858"/>
                <a:gd name="T52" fmla="*/ 369 w 1321"/>
                <a:gd name="T53" fmla="*/ 207 h 1858"/>
                <a:gd name="T54" fmla="*/ 407 w 1321"/>
                <a:gd name="T55" fmla="*/ 321 h 1858"/>
                <a:gd name="T56" fmla="*/ 448 w 1321"/>
                <a:gd name="T57" fmla="*/ 723 h 1858"/>
                <a:gd name="T58" fmla="*/ 515 w 1321"/>
                <a:gd name="T59" fmla="*/ 64 h 1858"/>
                <a:gd name="T60" fmla="*/ 545 w 1321"/>
                <a:gd name="T61" fmla="*/ 20 h 1858"/>
                <a:gd name="T62" fmla="*/ 598 w 1321"/>
                <a:gd name="T63" fmla="*/ 30 h 1858"/>
                <a:gd name="T64" fmla="*/ 651 w 1321"/>
                <a:gd name="T65" fmla="*/ 241 h 1858"/>
                <a:gd name="T66" fmla="*/ 608 w 1321"/>
                <a:gd name="T67" fmla="*/ 778 h 1858"/>
                <a:gd name="T68" fmla="*/ 746 w 1321"/>
                <a:gd name="T69" fmla="*/ 44 h 1858"/>
                <a:gd name="T70" fmla="*/ 771 w 1321"/>
                <a:gd name="T71" fmla="*/ 7 h 1858"/>
                <a:gd name="T72" fmla="*/ 815 w 1321"/>
                <a:gd name="T73" fmla="*/ 10 h 1858"/>
                <a:gd name="T74" fmla="*/ 857 w 1321"/>
                <a:gd name="T75" fmla="*/ 282 h 1858"/>
                <a:gd name="T76" fmla="*/ 766 w 1321"/>
                <a:gd name="T77" fmla="*/ 863 h 1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21" h="1858">
                  <a:moveTo>
                    <a:pt x="766" y="863"/>
                  </a:moveTo>
                  <a:cubicBezTo>
                    <a:pt x="848" y="643"/>
                    <a:pt x="898" y="502"/>
                    <a:pt x="949" y="287"/>
                  </a:cubicBezTo>
                  <a:cubicBezTo>
                    <a:pt x="953" y="271"/>
                    <a:pt x="965" y="260"/>
                    <a:pt x="981" y="257"/>
                  </a:cubicBezTo>
                  <a:cubicBezTo>
                    <a:pt x="997" y="255"/>
                    <a:pt x="1012" y="262"/>
                    <a:pt x="1021" y="276"/>
                  </a:cubicBezTo>
                  <a:cubicBezTo>
                    <a:pt x="1066" y="351"/>
                    <a:pt x="1021" y="534"/>
                    <a:pt x="974" y="697"/>
                  </a:cubicBezTo>
                  <a:cubicBezTo>
                    <a:pt x="919" y="887"/>
                    <a:pt x="890" y="1041"/>
                    <a:pt x="876" y="1174"/>
                  </a:cubicBezTo>
                  <a:cubicBezTo>
                    <a:pt x="875" y="1179"/>
                    <a:pt x="878" y="1185"/>
                    <a:pt x="882" y="1188"/>
                  </a:cubicBezTo>
                  <a:cubicBezTo>
                    <a:pt x="886" y="1192"/>
                    <a:pt x="892" y="1193"/>
                    <a:pt x="898" y="1191"/>
                  </a:cubicBezTo>
                  <a:cubicBezTo>
                    <a:pt x="982" y="1162"/>
                    <a:pt x="1087" y="1093"/>
                    <a:pt x="1129" y="1050"/>
                  </a:cubicBezTo>
                  <a:cubicBezTo>
                    <a:pt x="1182" y="1006"/>
                    <a:pt x="1245" y="1004"/>
                    <a:pt x="1287" y="1018"/>
                  </a:cubicBezTo>
                  <a:cubicBezTo>
                    <a:pt x="1302" y="1022"/>
                    <a:pt x="1313" y="1034"/>
                    <a:pt x="1317" y="1049"/>
                  </a:cubicBezTo>
                  <a:cubicBezTo>
                    <a:pt x="1321" y="1063"/>
                    <a:pt x="1318" y="1079"/>
                    <a:pt x="1308" y="1091"/>
                  </a:cubicBezTo>
                  <a:cubicBezTo>
                    <a:pt x="1184" y="1231"/>
                    <a:pt x="1184" y="1231"/>
                    <a:pt x="1184" y="1231"/>
                  </a:cubicBezTo>
                  <a:cubicBezTo>
                    <a:pt x="1164" y="1253"/>
                    <a:pt x="1141" y="1274"/>
                    <a:pt x="1117" y="1290"/>
                  </a:cubicBezTo>
                  <a:cubicBezTo>
                    <a:pt x="1036" y="1347"/>
                    <a:pt x="978" y="1394"/>
                    <a:pt x="917" y="1449"/>
                  </a:cubicBezTo>
                  <a:cubicBezTo>
                    <a:pt x="848" y="1510"/>
                    <a:pt x="771" y="1566"/>
                    <a:pt x="691" y="1612"/>
                  </a:cubicBezTo>
                  <a:cubicBezTo>
                    <a:pt x="266" y="1858"/>
                    <a:pt x="266" y="1858"/>
                    <a:pt x="266" y="1858"/>
                  </a:cubicBezTo>
                  <a:cubicBezTo>
                    <a:pt x="268" y="1844"/>
                    <a:pt x="269" y="1830"/>
                    <a:pt x="269" y="1814"/>
                  </a:cubicBezTo>
                  <a:cubicBezTo>
                    <a:pt x="269" y="1742"/>
                    <a:pt x="244" y="1661"/>
                    <a:pt x="203" y="1590"/>
                  </a:cubicBezTo>
                  <a:cubicBezTo>
                    <a:pt x="161" y="1516"/>
                    <a:pt x="103" y="1451"/>
                    <a:pt x="38" y="1414"/>
                  </a:cubicBezTo>
                  <a:cubicBezTo>
                    <a:pt x="25" y="1407"/>
                    <a:pt x="13" y="1401"/>
                    <a:pt x="0" y="1396"/>
                  </a:cubicBezTo>
                  <a:cubicBezTo>
                    <a:pt x="12" y="1389"/>
                    <a:pt x="12" y="1389"/>
                    <a:pt x="12" y="1389"/>
                  </a:cubicBezTo>
                  <a:cubicBezTo>
                    <a:pt x="89" y="1345"/>
                    <a:pt x="149" y="1277"/>
                    <a:pt x="185" y="1196"/>
                  </a:cubicBezTo>
                  <a:cubicBezTo>
                    <a:pt x="215" y="1127"/>
                    <a:pt x="248" y="1041"/>
                    <a:pt x="262" y="967"/>
                  </a:cubicBezTo>
                  <a:cubicBezTo>
                    <a:pt x="293" y="834"/>
                    <a:pt x="296" y="422"/>
                    <a:pt x="293" y="235"/>
                  </a:cubicBezTo>
                  <a:cubicBezTo>
                    <a:pt x="292" y="217"/>
                    <a:pt x="304" y="200"/>
                    <a:pt x="321" y="194"/>
                  </a:cubicBezTo>
                  <a:cubicBezTo>
                    <a:pt x="338" y="187"/>
                    <a:pt x="357" y="193"/>
                    <a:pt x="369" y="207"/>
                  </a:cubicBezTo>
                  <a:cubicBezTo>
                    <a:pt x="390" y="233"/>
                    <a:pt x="403" y="268"/>
                    <a:pt x="407" y="321"/>
                  </a:cubicBezTo>
                  <a:cubicBezTo>
                    <a:pt x="418" y="460"/>
                    <a:pt x="434" y="558"/>
                    <a:pt x="448" y="723"/>
                  </a:cubicBezTo>
                  <a:cubicBezTo>
                    <a:pt x="490" y="464"/>
                    <a:pt x="514" y="298"/>
                    <a:pt x="515" y="64"/>
                  </a:cubicBezTo>
                  <a:cubicBezTo>
                    <a:pt x="515" y="45"/>
                    <a:pt x="527" y="27"/>
                    <a:pt x="545" y="20"/>
                  </a:cubicBezTo>
                  <a:cubicBezTo>
                    <a:pt x="563" y="12"/>
                    <a:pt x="584" y="16"/>
                    <a:pt x="598" y="30"/>
                  </a:cubicBezTo>
                  <a:cubicBezTo>
                    <a:pt x="642" y="73"/>
                    <a:pt x="656" y="132"/>
                    <a:pt x="651" y="241"/>
                  </a:cubicBezTo>
                  <a:cubicBezTo>
                    <a:pt x="643" y="415"/>
                    <a:pt x="634" y="560"/>
                    <a:pt x="608" y="778"/>
                  </a:cubicBezTo>
                  <a:cubicBezTo>
                    <a:pt x="682" y="494"/>
                    <a:pt x="731" y="295"/>
                    <a:pt x="746" y="44"/>
                  </a:cubicBezTo>
                  <a:cubicBezTo>
                    <a:pt x="747" y="28"/>
                    <a:pt x="757" y="14"/>
                    <a:pt x="771" y="7"/>
                  </a:cubicBezTo>
                  <a:cubicBezTo>
                    <a:pt x="785" y="0"/>
                    <a:pt x="802" y="1"/>
                    <a:pt x="815" y="10"/>
                  </a:cubicBezTo>
                  <a:cubicBezTo>
                    <a:pt x="876" y="53"/>
                    <a:pt x="877" y="167"/>
                    <a:pt x="857" y="282"/>
                  </a:cubicBezTo>
                  <a:cubicBezTo>
                    <a:pt x="822" y="475"/>
                    <a:pt x="768" y="852"/>
                    <a:pt x="766" y="863"/>
                  </a:cubicBezTo>
                  <a:close/>
                </a:path>
              </a:pathLst>
            </a:custGeom>
            <a:solidFill>
              <a:srgbClr val="1BD7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6" name="Freeform 2226">
              <a:extLst>
                <a:ext uri="{FF2B5EF4-FFF2-40B4-BE49-F238E27FC236}">
                  <a16:creationId xmlns:a16="http://schemas.microsoft.com/office/drawing/2014/main" id="{18A848C8-336E-496E-96E6-9ED6830C55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8" y="3033"/>
              <a:ext cx="212" cy="222"/>
            </a:xfrm>
            <a:custGeom>
              <a:avLst/>
              <a:gdLst>
                <a:gd name="T0" fmla="*/ 767 w 767"/>
                <a:gd name="T1" fmla="*/ 437 h 802"/>
                <a:gd name="T2" fmla="*/ 764 w 767"/>
                <a:gd name="T3" fmla="*/ 481 h 802"/>
                <a:gd name="T4" fmla="*/ 699 w 767"/>
                <a:gd name="T5" fmla="*/ 587 h 802"/>
                <a:gd name="T6" fmla="*/ 327 w 767"/>
                <a:gd name="T7" fmla="*/ 802 h 802"/>
                <a:gd name="T8" fmla="*/ 394 w 767"/>
                <a:gd name="T9" fmla="*/ 652 h 802"/>
                <a:gd name="T10" fmla="*/ 328 w 767"/>
                <a:gd name="T11" fmla="*/ 428 h 802"/>
                <a:gd name="T12" fmla="*/ 163 w 767"/>
                <a:gd name="T13" fmla="*/ 252 h 802"/>
                <a:gd name="T14" fmla="*/ 0 w 767"/>
                <a:gd name="T15" fmla="*/ 236 h 802"/>
                <a:gd name="T16" fmla="*/ 373 w 767"/>
                <a:gd name="T17" fmla="*/ 21 h 802"/>
                <a:gd name="T18" fmla="*/ 498 w 767"/>
                <a:gd name="T19" fmla="*/ 19 h 802"/>
                <a:gd name="T20" fmla="*/ 536 w 767"/>
                <a:gd name="T21" fmla="*/ 37 h 802"/>
                <a:gd name="T22" fmla="*/ 701 w 767"/>
                <a:gd name="T23" fmla="*/ 213 h 802"/>
                <a:gd name="T24" fmla="*/ 767 w 767"/>
                <a:gd name="T25" fmla="*/ 437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7" h="802">
                  <a:moveTo>
                    <a:pt x="767" y="437"/>
                  </a:moveTo>
                  <a:cubicBezTo>
                    <a:pt x="767" y="453"/>
                    <a:pt x="766" y="467"/>
                    <a:pt x="764" y="481"/>
                  </a:cubicBezTo>
                  <a:cubicBezTo>
                    <a:pt x="755" y="531"/>
                    <a:pt x="732" y="568"/>
                    <a:pt x="699" y="587"/>
                  </a:cubicBezTo>
                  <a:cubicBezTo>
                    <a:pt x="327" y="802"/>
                    <a:pt x="327" y="802"/>
                    <a:pt x="327" y="802"/>
                  </a:cubicBezTo>
                  <a:cubicBezTo>
                    <a:pt x="368" y="778"/>
                    <a:pt x="394" y="726"/>
                    <a:pt x="394" y="652"/>
                  </a:cubicBezTo>
                  <a:cubicBezTo>
                    <a:pt x="394" y="580"/>
                    <a:pt x="369" y="500"/>
                    <a:pt x="328" y="428"/>
                  </a:cubicBezTo>
                  <a:cubicBezTo>
                    <a:pt x="287" y="354"/>
                    <a:pt x="228" y="290"/>
                    <a:pt x="163" y="252"/>
                  </a:cubicBezTo>
                  <a:cubicBezTo>
                    <a:pt x="99" y="216"/>
                    <a:pt x="42" y="212"/>
                    <a:pt x="0" y="236"/>
                  </a:cubicBezTo>
                  <a:cubicBezTo>
                    <a:pt x="373" y="21"/>
                    <a:pt x="373" y="21"/>
                    <a:pt x="373" y="21"/>
                  </a:cubicBezTo>
                  <a:cubicBezTo>
                    <a:pt x="406" y="2"/>
                    <a:pt x="450" y="0"/>
                    <a:pt x="498" y="19"/>
                  </a:cubicBezTo>
                  <a:cubicBezTo>
                    <a:pt x="511" y="24"/>
                    <a:pt x="523" y="30"/>
                    <a:pt x="536" y="37"/>
                  </a:cubicBezTo>
                  <a:cubicBezTo>
                    <a:pt x="601" y="74"/>
                    <a:pt x="659" y="139"/>
                    <a:pt x="701" y="213"/>
                  </a:cubicBezTo>
                  <a:cubicBezTo>
                    <a:pt x="742" y="284"/>
                    <a:pt x="767" y="365"/>
                    <a:pt x="767" y="437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7" name="Freeform 2227">
              <a:extLst>
                <a:ext uri="{FF2B5EF4-FFF2-40B4-BE49-F238E27FC236}">
                  <a16:creationId xmlns:a16="http://schemas.microsoft.com/office/drawing/2014/main" id="{FBE21245-B805-4FEF-8298-0D385A08C2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9" y="3092"/>
              <a:ext cx="128" cy="169"/>
            </a:xfrm>
            <a:custGeom>
              <a:avLst/>
              <a:gdLst>
                <a:gd name="T0" fmla="*/ 396 w 462"/>
                <a:gd name="T1" fmla="*/ 216 h 614"/>
                <a:gd name="T2" fmla="*/ 462 w 462"/>
                <a:gd name="T3" fmla="*/ 440 h 614"/>
                <a:gd name="T4" fmla="*/ 395 w 462"/>
                <a:gd name="T5" fmla="*/ 590 h 614"/>
                <a:gd name="T6" fmla="*/ 231 w 462"/>
                <a:gd name="T7" fmla="*/ 574 h 614"/>
                <a:gd name="T8" fmla="*/ 68 w 462"/>
                <a:gd name="T9" fmla="*/ 401 h 614"/>
                <a:gd name="T10" fmla="*/ 0 w 462"/>
                <a:gd name="T11" fmla="*/ 174 h 614"/>
                <a:gd name="T12" fmla="*/ 68 w 462"/>
                <a:gd name="T13" fmla="*/ 24 h 614"/>
                <a:gd name="T14" fmla="*/ 231 w 462"/>
                <a:gd name="T15" fmla="*/ 40 h 614"/>
                <a:gd name="T16" fmla="*/ 396 w 462"/>
                <a:gd name="T17" fmla="*/ 216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2" h="614">
                  <a:moveTo>
                    <a:pt x="396" y="216"/>
                  </a:moveTo>
                  <a:cubicBezTo>
                    <a:pt x="437" y="288"/>
                    <a:pt x="462" y="368"/>
                    <a:pt x="462" y="440"/>
                  </a:cubicBezTo>
                  <a:cubicBezTo>
                    <a:pt x="462" y="514"/>
                    <a:pt x="436" y="566"/>
                    <a:pt x="395" y="590"/>
                  </a:cubicBezTo>
                  <a:cubicBezTo>
                    <a:pt x="353" y="614"/>
                    <a:pt x="295" y="611"/>
                    <a:pt x="231" y="574"/>
                  </a:cubicBezTo>
                  <a:cubicBezTo>
                    <a:pt x="167" y="537"/>
                    <a:pt x="110" y="474"/>
                    <a:pt x="68" y="401"/>
                  </a:cubicBezTo>
                  <a:cubicBezTo>
                    <a:pt x="26" y="329"/>
                    <a:pt x="0" y="247"/>
                    <a:pt x="0" y="174"/>
                  </a:cubicBezTo>
                  <a:cubicBezTo>
                    <a:pt x="0" y="100"/>
                    <a:pt x="26" y="48"/>
                    <a:pt x="68" y="24"/>
                  </a:cubicBezTo>
                  <a:cubicBezTo>
                    <a:pt x="110" y="0"/>
                    <a:pt x="167" y="4"/>
                    <a:pt x="231" y="40"/>
                  </a:cubicBezTo>
                  <a:cubicBezTo>
                    <a:pt x="296" y="78"/>
                    <a:pt x="355" y="142"/>
                    <a:pt x="396" y="216"/>
                  </a:cubicBez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8" name="Freeform 2228">
              <a:extLst>
                <a:ext uri="{FF2B5EF4-FFF2-40B4-BE49-F238E27FC236}">
                  <a16:creationId xmlns:a16="http://schemas.microsoft.com/office/drawing/2014/main" id="{55F3503A-421D-48B6-95E9-73FF65058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2" y="2649"/>
              <a:ext cx="250" cy="393"/>
            </a:xfrm>
            <a:custGeom>
              <a:avLst/>
              <a:gdLst>
                <a:gd name="T0" fmla="*/ 13 w 906"/>
                <a:gd name="T1" fmla="*/ 1421 h 1421"/>
                <a:gd name="T2" fmla="*/ 3 w 906"/>
                <a:gd name="T3" fmla="*/ 1415 h 1421"/>
                <a:gd name="T4" fmla="*/ 7 w 906"/>
                <a:gd name="T5" fmla="*/ 1398 h 1421"/>
                <a:gd name="T6" fmla="*/ 19 w 906"/>
                <a:gd name="T7" fmla="*/ 1392 h 1421"/>
                <a:gd name="T8" fmla="*/ 187 w 906"/>
                <a:gd name="T9" fmla="*/ 1204 h 1421"/>
                <a:gd name="T10" fmla="*/ 263 w 906"/>
                <a:gd name="T11" fmla="*/ 977 h 1421"/>
                <a:gd name="T12" fmla="*/ 294 w 906"/>
                <a:gd name="T13" fmla="*/ 248 h 1421"/>
                <a:gd name="T14" fmla="*/ 330 w 906"/>
                <a:gd name="T15" fmla="*/ 196 h 1421"/>
                <a:gd name="T16" fmla="*/ 391 w 906"/>
                <a:gd name="T17" fmla="*/ 212 h 1421"/>
                <a:gd name="T18" fmla="*/ 432 w 906"/>
                <a:gd name="T19" fmla="*/ 333 h 1421"/>
                <a:gd name="T20" fmla="*/ 451 w 906"/>
                <a:gd name="T21" fmla="*/ 520 h 1421"/>
                <a:gd name="T22" fmla="*/ 464 w 906"/>
                <a:gd name="T23" fmla="*/ 640 h 1421"/>
                <a:gd name="T24" fmla="*/ 516 w 906"/>
                <a:gd name="T25" fmla="*/ 77 h 1421"/>
                <a:gd name="T26" fmla="*/ 553 w 906"/>
                <a:gd name="T27" fmla="*/ 21 h 1421"/>
                <a:gd name="T28" fmla="*/ 619 w 906"/>
                <a:gd name="T29" fmla="*/ 34 h 1421"/>
                <a:gd name="T30" fmla="*/ 676 w 906"/>
                <a:gd name="T31" fmla="*/ 254 h 1421"/>
                <a:gd name="T32" fmla="*/ 651 w 906"/>
                <a:gd name="T33" fmla="*/ 624 h 1421"/>
                <a:gd name="T34" fmla="*/ 747 w 906"/>
                <a:gd name="T35" fmla="*/ 56 h 1421"/>
                <a:gd name="T36" fmla="*/ 779 w 906"/>
                <a:gd name="T37" fmla="*/ 9 h 1421"/>
                <a:gd name="T38" fmla="*/ 835 w 906"/>
                <a:gd name="T39" fmla="*/ 14 h 1421"/>
                <a:gd name="T40" fmla="*/ 882 w 906"/>
                <a:gd name="T41" fmla="*/ 297 h 1421"/>
                <a:gd name="T42" fmla="*/ 791 w 906"/>
                <a:gd name="T43" fmla="*/ 878 h 1421"/>
                <a:gd name="T44" fmla="*/ 777 w 906"/>
                <a:gd name="T45" fmla="*/ 888 h 1421"/>
                <a:gd name="T46" fmla="*/ 767 w 906"/>
                <a:gd name="T47" fmla="*/ 875 h 1421"/>
                <a:gd name="T48" fmla="*/ 858 w 906"/>
                <a:gd name="T49" fmla="*/ 293 h 1421"/>
                <a:gd name="T50" fmla="*/ 821 w 906"/>
                <a:gd name="T51" fmla="*/ 33 h 1421"/>
                <a:gd name="T52" fmla="*/ 789 w 906"/>
                <a:gd name="T53" fmla="*/ 31 h 1421"/>
                <a:gd name="T54" fmla="*/ 771 w 906"/>
                <a:gd name="T55" fmla="*/ 57 h 1421"/>
                <a:gd name="T56" fmla="*/ 633 w 906"/>
                <a:gd name="T57" fmla="*/ 794 h 1421"/>
                <a:gd name="T58" fmla="*/ 619 w 906"/>
                <a:gd name="T59" fmla="*/ 803 h 1421"/>
                <a:gd name="T60" fmla="*/ 609 w 906"/>
                <a:gd name="T61" fmla="*/ 790 h 1421"/>
                <a:gd name="T62" fmla="*/ 652 w 906"/>
                <a:gd name="T63" fmla="*/ 253 h 1421"/>
                <a:gd name="T64" fmla="*/ 602 w 906"/>
                <a:gd name="T65" fmla="*/ 51 h 1421"/>
                <a:gd name="T66" fmla="*/ 563 w 906"/>
                <a:gd name="T67" fmla="*/ 44 h 1421"/>
                <a:gd name="T68" fmla="*/ 540 w 906"/>
                <a:gd name="T69" fmla="*/ 77 h 1421"/>
                <a:gd name="T70" fmla="*/ 472 w 906"/>
                <a:gd name="T71" fmla="*/ 738 h 1421"/>
                <a:gd name="T72" fmla="*/ 460 w 906"/>
                <a:gd name="T73" fmla="*/ 748 h 1421"/>
                <a:gd name="T74" fmla="*/ 449 w 906"/>
                <a:gd name="T75" fmla="*/ 737 h 1421"/>
                <a:gd name="T76" fmla="*/ 427 w 906"/>
                <a:gd name="T77" fmla="*/ 523 h 1421"/>
                <a:gd name="T78" fmla="*/ 408 w 906"/>
                <a:gd name="T79" fmla="*/ 335 h 1421"/>
                <a:gd name="T80" fmla="*/ 373 w 906"/>
                <a:gd name="T81" fmla="*/ 227 h 1421"/>
                <a:gd name="T82" fmla="*/ 338 w 906"/>
                <a:gd name="T83" fmla="*/ 218 h 1421"/>
                <a:gd name="T84" fmla="*/ 318 w 906"/>
                <a:gd name="T85" fmla="*/ 248 h 1421"/>
                <a:gd name="T86" fmla="*/ 287 w 906"/>
                <a:gd name="T87" fmla="*/ 982 h 1421"/>
                <a:gd name="T88" fmla="*/ 209 w 906"/>
                <a:gd name="T89" fmla="*/ 1214 h 1421"/>
                <a:gd name="T90" fmla="*/ 31 w 906"/>
                <a:gd name="T91" fmla="*/ 1413 h 1421"/>
                <a:gd name="T92" fmla="*/ 19 w 906"/>
                <a:gd name="T93" fmla="*/ 1419 h 1421"/>
                <a:gd name="T94" fmla="*/ 13 w 906"/>
                <a:gd name="T95" fmla="*/ 142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06" h="1421">
                  <a:moveTo>
                    <a:pt x="13" y="1421"/>
                  </a:moveTo>
                  <a:cubicBezTo>
                    <a:pt x="9" y="1421"/>
                    <a:pt x="5" y="1419"/>
                    <a:pt x="3" y="1415"/>
                  </a:cubicBezTo>
                  <a:cubicBezTo>
                    <a:pt x="0" y="1409"/>
                    <a:pt x="2" y="1402"/>
                    <a:pt x="7" y="1398"/>
                  </a:cubicBezTo>
                  <a:cubicBezTo>
                    <a:pt x="19" y="1392"/>
                    <a:pt x="19" y="1392"/>
                    <a:pt x="19" y="1392"/>
                  </a:cubicBezTo>
                  <a:cubicBezTo>
                    <a:pt x="93" y="1349"/>
                    <a:pt x="152" y="1282"/>
                    <a:pt x="187" y="1204"/>
                  </a:cubicBezTo>
                  <a:cubicBezTo>
                    <a:pt x="226" y="1115"/>
                    <a:pt x="251" y="1039"/>
                    <a:pt x="263" y="977"/>
                  </a:cubicBezTo>
                  <a:cubicBezTo>
                    <a:pt x="296" y="838"/>
                    <a:pt x="296" y="404"/>
                    <a:pt x="294" y="248"/>
                  </a:cubicBezTo>
                  <a:cubicBezTo>
                    <a:pt x="293" y="225"/>
                    <a:pt x="308" y="204"/>
                    <a:pt x="330" y="196"/>
                  </a:cubicBezTo>
                  <a:cubicBezTo>
                    <a:pt x="351" y="187"/>
                    <a:pt x="376" y="194"/>
                    <a:pt x="391" y="212"/>
                  </a:cubicBezTo>
                  <a:cubicBezTo>
                    <a:pt x="415" y="240"/>
                    <a:pt x="427" y="279"/>
                    <a:pt x="432" y="333"/>
                  </a:cubicBezTo>
                  <a:cubicBezTo>
                    <a:pt x="437" y="401"/>
                    <a:pt x="444" y="459"/>
                    <a:pt x="451" y="520"/>
                  </a:cubicBezTo>
                  <a:cubicBezTo>
                    <a:pt x="455" y="558"/>
                    <a:pt x="459" y="597"/>
                    <a:pt x="464" y="640"/>
                  </a:cubicBezTo>
                  <a:cubicBezTo>
                    <a:pt x="496" y="437"/>
                    <a:pt x="515" y="284"/>
                    <a:pt x="516" y="77"/>
                  </a:cubicBezTo>
                  <a:cubicBezTo>
                    <a:pt x="516" y="53"/>
                    <a:pt x="531" y="31"/>
                    <a:pt x="553" y="21"/>
                  </a:cubicBezTo>
                  <a:cubicBezTo>
                    <a:pt x="576" y="12"/>
                    <a:pt x="602" y="17"/>
                    <a:pt x="619" y="34"/>
                  </a:cubicBezTo>
                  <a:cubicBezTo>
                    <a:pt x="665" y="79"/>
                    <a:pt x="681" y="141"/>
                    <a:pt x="676" y="254"/>
                  </a:cubicBezTo>
                  <a:cubicBezTo>
                    <a:pt x="670" y="377"/>
                    <a:pt x="664" y="487"/>
                    <a:pt x="651" y="624"/>
                  </a:cubicBezTo>
                  <a:cubicBezTo>
                    <a:pt x="703" y="416"/>
                    <a:pt x="736" y="254"/>
                    <a:pt x="747" y="56"/>
                  </a:cubicBezTo>
                  <a:cubicBezTo>
                    <a:pt x="749" y="36"/>
                    <a:pt x="761" y="18"/>
                    <a:pt x="779" y="9"/>
                  </a:cubicBezTo>
                  <a:cubicBezTo>
                    <a:pt x="797" y="0"/>
                    <a:pt x="819" y="2"/>
                    <a:pt x="835" y="14"/>
                  </a:cubicBezTo>
                  <a:cubicBezTo>
                    <a:pt x="906" y="64"/>
                    <a:pt x="900" y="195"/>
                    <a:pt x="882" y="297"/>
                  </a:cubicBezTo>
                  <a:cubicBezTo>
                    <a:pt x="846" y="495"/>
                    <a:pt x="791" y="875"/>
                    <a:pt x="791" y="878"/>
                  </a:cubicBezTo>
                  <a:cubicBezTo>
                    <a:pt x="790" y="885"/>
                    <a:pt x="784" y="889"/>
                    <a:pt x="777" y="888"/>
                  </a:cubicBezTo>
                  <a:cubicBezTo>
                    <a:pt x="771" y="887"/>
                    <a:pt x="766" y="881"/>
                    <a:pt x="767" y="875"/>
                  </a:cubicBezTo>
                  <a:cubicBezTo>
                    <a:pt x="768" y="872"/>
                    <a:pt x="823" y="491"/>
                    <a:pt x="858" y="293"/>
                  </a:cubicBezTo>
                  <a:cubicBezTo>
                    <a:pt x="882" y="159"/>
                    <a:pt x="869" y="67"/>
                    <a:pt x="821" y="33"/>
                  </a:cubicBezTo>
                  <a:cubicBezTo>
                    <a:pt x="812" y="27"/>
                    <a:pt x="800" y="26"/>
                    <a:pt x="789" y="31"/>
                  </a:cubicBezTo>
                  <a:cubicBezTo>
                    <a:pt x="779" y="36"/>
                    <a:pt x="772" y="46"/>
                    <a:pt x="771" y="57"/>
                  </a:cubicBezTo>
                  <a:cubicBezTo>
                    <a:pt x="756" y="307"/>
                    <a:pt x="709" y="500"/>
                    <a:pt x="633" y="794"/>
                  </a:cubicBezTo>
                  <a:cubicBezTo>
                    <a:pt x="631" y="800"/>
                    <a:pt x="625" y="804"/>
                    <a:pt x="619" y="803"/>
                  </a:cubicBezTo>
                  <a:cubicBezTo>
                    <a:pt x="612" y="802"/>
                    <a:pt x="608" y="796"/>
                    <a:pt x="609" y="790"/>
                  </a:cubicBezTo>
                  <a:cubicBezTo>
                    <a:pt x="636" y="568"/>
                    <a:pt x="644" y="421"/>
                    <a:pt x="652" y="253"/>
                  </a:cubicBezTo>
                  <a:cubicBezTo>
                    <a:pt x="657" y="146"/>
                    <a:pt x="644" y="91"/>
                    <a:pt x="602" y="51"/>
                  </a:cubicBezTo>
                  <a:cubicBezTo>
                    <a:pt x="592" y="41"/>
                    <a:pt x="576" y="38"/>
                    <a:pt x="563" y="44"/>
                  </a:cubicBezTo>
                  <a:cubicBezTo>
                    <a:pt x="549" y="49"/>
                    <a:pt x="540" y="62"/>
                    <a:pt x="540" y="77"/>
                  </a:cubicBezTo>
                  <a:cubicBezTo>
                    <a:pt x="539" y="317"/>
                    <a:pt x="513" y="484"/>
                    <a:pt x="472" y="738"/>
                  </a:cubicBezTo>
                  <a:cubicBezTo>
                    <a:pt x="471" y="744"/>
                    <a:pt x="466" y="748"/>
                    <a:pt x="460" y="748"/>
                  </a:cubicBezTo>
                  <a:cubicBezTo>
                    <a:pt x="454" y="748"/>
                    <a:pt x="449" y="743"/>
                    <a:pt x="449" y="737"/>
                  </a:cubicBezTo>
                  <a:cubicBezTo>
                    <a:pt x="442" y="653"/>
                    <a:pt x="434" y="587"/>
                    <a:pt x="427" y="523"/>
                  </a:cubicBezTo>
                  <a:cubicBezTo>
                    <a:pt x="420" y="461"/>
                    <a:pt x="414" y="403"/>
                    <a:pt x="408" y="335"/>
                  </a:cubicBezTo>
                  <a:cubicBezTo>
                    <a:pt x="404" y="286"/>
                    <a:pt x="393" y="252"/>
                    <a:pt x="373" y="227"/>
                  </a:cubicBezTo>
                  <a:cubicBezTo>
                    <a:pt x="364" y="217"/>
                    <a:pt x="350" y="214"/>
                    <a:pt x="338" y="218"/>
                  </a:cubicBezTo>
                  <a:cubicBezTo>
                    <a:pt x="326" y="223"/>
                    <a:pt x="317" y="235"/>
                    <a:pt x="318" y="248"/>
                  </a:cubicBezTo>
                  <a:cubicBezTo>
                    <a:pt x="320" y="404"/>
                    <a:pt x="320" y="841"/>
                    <a:pt x="287" y="982"/>
                  </a:cubicBezTo>
                  <a:cubicBezTo>
                    <a:pt x="275" y="1045"/>
                    <a:pt x="248" y="1123"/>
                    <a:pt x="209" y="1214"/>
                  </a:cubicBezTo>
                  <a:cubicBezTo>
                    <a:pt x="172" y="1297"/>
                    <a:pt x="109" y="1367"/>
                    <a:pt x="31" y="1413"/>
                  </a:cubicBezTo>
                  <a:cubicBezTo>
                    <a:pt x="19" y="1419"/>
                    <a:pt x="19" y="1419"/>
                    <a:pt x="19" y="1419"/>
                  </a:cubicBezTo>
                  <a:cubicBezTo>
                    <a:pt x="17" y="1420"/>
                    <a:pt x="15" y="1421"/>
                    <a:pt x="13" y="142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9" name="Freeform 2229">
              <a:extLst>
                <a:ext uri="{FF2B5EF4-FFF2-40B4-BE49-F238E27FC236}">
                  <a16:creationId xmlns:a16="http://schemas.microsoft.com/office/drawing/2014/main" id="{99B3C9F4-B036-44A3-A448-D4EBF788BA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5" y="2719"/>
              <a:ext cx="299" cy="450"/>
            </a:xfrm>
            <a:custGeom>
              <a:avLst/>
              <a:gdLst>
                <a:gd name="T0" fmla="*/ 14 w 1082"/>
                <a:gd name="T1" fmla="*/ 1628 h 1628"/>
                <a:gd name="T2" fmla="*/ 3 w 1082"/>
                <a:gd name="T3" fmla="*/ 1622 h 1628"/>
                <a:gd name="T4" fmla="*/ 8 w 1082"/>
                <a:gd name="T5" fmla="*/ 1606 h 1628"/>
                <a:gd name="T6" fmla="*/ 433 w 1082"/>
                <a:gd name="T7" fmla="*/ 1360 h 1628"/>
                <a:gd name="T8" fmla="*/ 657 w 1082"/>
                <a:gd name="T9" fmla="*/ 1198 h 1628"/>
                <a:gd name="T10" fmla="*/ 858 w 1082"/>
                <a:gd name="T11" fmla="*/ 1039 h 1628"/>
                <a:gd name="T12" fmla="*/ 923 w 1082"/>
                <a:gd name="T13" fmla="*/ 981 h 1628"/>
                <a:gd name="T14" fmla="*/ 1047 w 1082"/>
                <a:gd name="T15" fmla="*/ 841 h 1628"/>
                <a:gd name="T16" fmla="*/ 1054 w 1082"/>
                <a:gd name="T17" fmla="*/ 810 h 1628"/>
                <a:gd name="T18" fmla="*/ 1032 w 1082"/>
                <a:gd name="T19" fmla="*/ 787 h 1628"/>
                <a:gd name="T20" fmla="*/ 886 w 1082"/>
                <a:gd name="T21" fmla="*/ 817 h 1628"/>
                <a:gd name="T22" fmla="*/ 650 w 1082"/>
                <a:gd name="T23" fmla="*/ 960 h 1628"/>
                <a:gd name="T24" fmla="*/ 623 w 1082"/>
                <a:gd name="T25" fmla="*/ 956 h 1628"/>
                <a:gd name="T26" fmla="*/ 612 w 1082"/>
                <a:gd name="T27" fmla="*/ 930 h 1628"/>
                <a:gd name="T28" fmla="*/ 710 w 1082"/>
                <a:gd name="T29" fmla="*/ 452 h 1628"/>
                <a:gd name="T30" fmla="*/ 758 w 1082"/>
                <a:gd name="T31" fmla="*/ 40 h 1628"/>
                <a:gd name="T32" fmla="*/ 731 w 1082"/>
                <a:gd name="T33" fmla="*/ 27 h 1628"/>
                <a:gd name="T34" fmla="*/ 709 w 1082"/>
                <a:gd name="T35" fmla="*/ 48 h 1628"/>
                <a:gd name="T36" fmla="*/ 525 w 1082"/>
                <a:gd name="T37" fmla="*/ 625 h 1628"/>
                <a:gd name="T38" fmla="*/ 514 w 1082"/>
                <a:gd name="T39" fmla="*/ 634 h 1628"/>
                <a:gd name="T40" fmla="*/ 502 w 1082"/>
                <a:gd name="T41" fmla="*/ 622 h 1628"/>
                <a:gd name="T42" fmla="*/ 503 w 1082"/>
                <a:gd name="T43" fmla="*/ 618 h 1628"/>
                <a:gd name="T44" fmla="*/ 503 w 1082"/>
                <a:gd name="T45" fmla="*/ 617 h 1628"/>
                <a:gd name="T46" fmla="*/ 685 w 1082"/>
                <a:gd name="T47" fmla="*/ 42 h 1628"/>
                <a:gd name="T48" fmla="*/ 727 w 1082"/>
                <a:gd name="T49" fmla="*/ 3 h 1628"/>
                <a:gd name="T50" fmla="*/ 779 w 1082"/>
                <a:gd name="T51" fmla="*/ 27 h 1628"/>
                <a:gd name="T52" fmla="*/ 734 w 1082"/>
                <a:gd name="T53" fmla="*/ 458 h 1628"/>
                <a:gd name="T54" fmla="*/ 636 w 1082"/>
                <a:gd name="T55" fmla="*/ 933 h 1628"/>
                <a:gd name="T56" fmla="*/ 638 w 1082"/>
                <a:gd name="T57" fmla="*/ 937 h 1628"/>
                <a:gd name="T58" fmla="*/ 642 w 1082"/>
                <a:gd name="T59" fmla="*/ 938 h 1628"/>
                <a:gd name="T60" fmla="*/ 869 w 1082"/>
                <a:gd name="T61" fmla="*/ 800 h 1628"/>
                <a:gd name="T62" fmla="*/ 870 w 1082"/>
                <a:gd name="T63" fmla="*/ 799 h 1628"/>
                <a:gd name="T64" fmla="*/ 1039 w 1082"/>
                <a:gd name="T65" fmla="*/ 764 h 1628"/>
                <a:gd name="T66" fmla="*/ 1077 w 1082"/>
                <a:gd name="T67" fmla="*/ 804 h 1628"/>
                <a:gd name="T68" fmla="*/ 1065 w 1082"/>
                <a:gd name="T69" fmla="*/ 857 h 1628"/>
                <a:gd name="T70" fmla="*/ 941 w 1082"/>
                <a:gd name="T71" fmla="*/ 997 h 1628"/>
                <a:gd name="T72" fmla="*/ 872 w 1082"/>
                <a:gd name="T73" fmla="*/ 1058 h 1628"/>
                <a:gd name="T74" fmla="*/ 673 w 1082"/>
                <a:gd name="T75" fmla="*/ 1216 h 1628"/>
                <a:gd name="T76" fmla="*/ 445 w 1082"/>
                <a:gd name="T77" fmla="*/ 1381 h 1628"/>
                <a:gd name="T78" fmla="*/ 20 w 1082"/>
                <a:gd name="T79" fmla="*/ 1626 h 1628"/>
                <a:gd name="T80" fmla="*/ 14 w 1082"/>
                <a:gd name="T81" fmla="*/ 1628 h 1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82" h="1628">
                  <a:moveTo>
                    <a:pt x="14" y="1628"/>
                  </a:moveTo>
                  <a:cubicBezTo>
                    <a:pt x="9" y="1628"/>
                    <a:pt x="5" y="1626"/>
                    <a:pt x="3" y="1622"/>
                  </a:cubicBezTo>
                  <a:cubicBezTo>
                    <a:pt x="0" y="1616"/>
                    <a:pt x="2" y="1609"/>
                    <a:pt x="8" y="1606"/>
                  </a:cubicBezTo>
                  <a:cubicBezTo>
                    <a:pt x="433" y="1360"/>
                    <a:pt x="433" y="1360"/>
                    <a:pt x="433" y="1360"/>
                  </a:cubicBezTo>
                  <a:cubicBezTo>
                    <a:pt x="512" y="1314"/>
                    <a:pt x="589" y="1258"/>
                    <a:pt x="657" y="1198"/>
                  </a:cubicBezTo>
                  <a:cubicBezTo>
                    <a:pt x="723" y="1139"/>
                    <a:pt x="781" y="1093"/>
                    <a:pt x="858" y="1039"/>
                  </a:cubicBezTo>
                  <a:cubicBezTo>
                    <a:pt x="882" y="1022"/>
                    <a:pt x="904" y="1002"/>
                    <a:pt x="923" y="981"/>
                  </a:cubicBezTo>
                  <a:cubicBezTo>
                    <a:pt x="1047" y="841"/>
                    <a:pt x="1047" y="841"/>
                    <a:pt x="1047" y="841"/>
                  </a:cubicBezTo>
                  <a:cubicBezTo>
                    <a:pt x="1054" y="832"/>
                    <a:pt x="1057" y="821"/>
                    <a:pt x="1054" y="810"/>
                  </a:cubicBezTo>
                  <a:cubicBezTo>
                    <a:pt x="1051" y="799"/>
                    <a:pt x="1042" y="791"/>
                    <a:pt x="1032" y="787"/>
                  </a:cubicBezTo>
                  <a:cubicBezTo>
                    <a:pt x="993" y="775"/>
                    <a:pt x="934" y="776"/>
                    <a:pt x="886" y="817"/>
                  </a:cubicBezTo>
                  <a:cubicBezTo>
                    <a:pt x="842" y="862"/>
                    <a:pt x="734" y="932"/>
                    <a:pt x="650" y="960"/>
                  </a:cubicBezTo>
                  <a:cubicBezTo>
                    <a:pt x="640" y="963"/>
                    <a:pt x="630" y="962"/>
                    <a:pt x="623" y="956"/>
                  </a:cubicBezTo>
                  <a:cubicBezTo>
                    <a:pt x="615" y="949"/>
                    <a:pt x="611" y="940"/>
                    <a:pt x="612" y="930"/>
                  </a:cubicBezTo>
                  <a:cubicBezTo>
                    <a:pt x="628" y="781"/>
                    <a:pt x="661" y="624"/>
                    <a:pt x="710" y="452"/>
                  </a:cubicBezTo>
                  <a:cubicBezTo>
                    <a:pt x="758" y="287"/>
                    <a:pt x="801" y="110"/>
                    <a:pt x="758" y="40"/>
                  </a:cubicBezTo>
                  <a:cubicBezTo>
                    <a:pt x="753" y="30"/>
                    <a:pt x="742" y="25"/>
                    <a:pt x="731" y="27"/>
                  </a:cubicBezTo>
                  <a:cubicBezTo>
                    <a:pt x="720" y="29"/>
                    <a:pt x="711" y="37"/>
                    <a:pt x="709" y="48"/>
                  </a:cubicBezTo>
                  <a:cubicBezTo>
                    <a:pt x="657" y="266"/>
                    <a:pt x="605" y="411"/>
                    <a:pt x="525" y="625"/>
                  </a:cubicBezTo>
                  <a:cubicBezTo>
                    <a:pt x="524" y="630"/>
                    <a:pt x="519" y="634"/>
                    <a:pt x="514" y="634"/>
                  </a:cubicBezTo>
                  <a:cubicBezTo>
                    <a:pt x="507" y="634"/>
                    <a:pt x="502" y="628"/>
                    <a:pt x="502" y="622"/>
                  </a:cubicBezTo>
                  <a:cubicBezTo>
                    <a:pt x="502" y="620"/>
                    <a:pt x="502" y="619"/>
                    <a:pt x="503" y="618"/>
                  </a:cubicBezTo>
                  <a:cubicBezTo>
                    <a:pt x="503" y="617"/>
                    <a:pt x="503" y="617"/>
                    <a:pt x="503" y="617"/>
                  </a:cubicBezTo>
                  <a:cubicBezTo>
                    <a:pt x="582" y="404"/>
                    <a:pt x="634" y="259"/>
                    <a:pt x="685" y="42"/>
                  </a:cubicBezTo>
                  <a:cubicBezTo>
                    <a:pt x="690" y="22"/>
                    <a:pt x="707" y="6"/>
                    <a:pt x="727" y="3"/>
                  </a:cubicBezTo>
                  <a:cubicBezTo>
                    <a:pt x="748" y="0"/>
                    <a:pt x="768" y="9"/>
                    <a:pt x="779" y="27"/>
                  </a:cubicBezTo>
                  <a:cubicBezTo>
                    <a:pt x="826" y="105"/>
                    <a:pt x="785" y="280"/>
                    <a:pt x="734" y="458"/>
                  </a:cubicBezTo>
                  <a:cubicBezTo>
                    <a:pt x="684" y="629"/>
                    <a:pt x="652" y="785"/>
                    <a:pt x="636" y="933"/>
                  </a:cubicBezTo>
                  <a:cubicBezTo>
                    <a:pt x="636" y="934"/>
                    <a:pt x="636" y="936"/>
                    <a:pt x="638" y="937"/>
                  </a:cubicBezTo>
                  <a:cubicBezTo>
                    <a:pt x="639" y="938"/>
                    <a:pt x="640" y="938"/>
                    <a:pt x="642" y="938"/>
                  </a:cubicBezTo>
                  <a:cubicBezTo>
                    <a:pt x="723" y="910"/>
                    <a:pt x="827" y="843"/>
                    <a:pt x="869" y="800"/>
                  </a:cubicBezTo>
                  <a:cubicBezTo>
                    <a:pt x="869" y="800"/>
                    <a:pt x="869" y="799"/>
                    <a:pt x="870" y="799"/>
                  </a:cubicBezTo>
                  <a:cubicBezTo>
                    <a:pt x="926" y="751"/>
                    <a:pt x="994" y="750"/>
                    <a:pt x="1039" y="764"/>
                  </a:cubicBezTo>
                  <a:cubicBezTo>
                    <a:pt x="1058" y="770"/>
                    <a:pt x="1072" y="785"/>
                    <a:pt x="1077" y="804"/>
                  </a:cubicBezTo>
                  <a:cubicBezTo>
                    <a:pt x="1082" y="822"/>
                    <a:pt x="1077" y="842"/>
                    <a:pt x="1065" y="857"/>
                  </a:cubicBezTo>
                  <a:cubicBezTo>
                    <a:pt x="941" y="997"/>
                    <a:pt x="941" y="997"/>
                    <a:pt x="941" y="997"/>
                  </a:cubicBezTo>
                  <a:cubicBezTo>
                    <a:pt x="921" y="1020"/>
                    <a:pt x="897" y="1041"/>
                    <a:pt x="872" y="1058"/>
                  </a:cubicBezTo>
                  <a:cubicBezTo>
                    <a:pt x="795" y="1112"/>
                    <a:pt x="738" y="1158"/>
                    <a:pt x="673" y="1216"/>
                  </a:cubicBezTo>
                  <a:cubicBezTo>
                    <a:pt x="604" y="1277"/>
                    <a:pt x="525" y="1334"/>
                    <a:pt x="445" y="1381"/>
                  </a:cubicBezTo>
                  <a:cubicBezTo>
                    <a:pt x="20" y="1626"/>
                    <a:pt x="20" y="1626"/>
                    <a:pt x="20" y="1626"/>
                  </a:cubicBezTo>
                  <a:cubicBezTo>
                    <a:pt x="18" y="1627"/>
                    <a:pt x="16" y="1628"/>
                    <a:pt x="14" y="1628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0" name="Freeform 2230">
              <a:extLst>
                <a:ext uri="{FF2B5EF4-FFF2-40B4-BE49-F238E27FC236}">
                  <a16:creationId xmlns:a16="http://schemas.microsoft.com/office/drawing/2014/main" id="{29318FB6-58BC-4ED5-B4FB-0147D24130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6" y="3088"/>
              <a:ext cx="134" cy="174"/>
            </a:xfrm>
            <a:custGeom>
              <a:avLst/>
              <a:gdLst>
                <a:gd name="T0" fmla="*/ 346 w 486"/>
                <a:gd name="T1" fmla="*/ 631 h 631"/>
                <a:gd name="T2" fmla="*/ 237 w 486"/>
                <a:gd name="T3" fmla="*/ 598 h 631"/>
                <a:gd name="T4" fmla="*/ 70 w 486"/>
                <a:gd name="T5" fmla="*/ 421 h 631"/>
                <a:gd name="T6" fmla="*/ 0 w 486"/>
                <a:gd name="T7" fmla="*/ 188 h 631"/>
                <a:gd name="T8" fmla="*/ 74 w 486"/>
                <a:gd name="T9" fmla="*/ 28 h 631"/>
                <a:gd name="T10" fmla="*/ 249 w 486"/>
                <a:gd name="T11" fmla="*/ 44 h 631"/>
                <a:gd name="T12" fmla="*/ 419 w 486"/>
                <a:gd name="T13" fmla="*/ 224 h 631"/>
                <a:gd name="T14" fmla="*/ 486 w 486"/>
                <a:gd name="T15" fmla="*/ 454 h 631"/>
                <a:gd name="T16" fmla="*/ 413 w 486"/>
                <a:gd name="T17" fmla="*/ 614 h 631"/>
                <a:gd name="T18" fmla="*/ 346 w 486"/>
                <a:gd name="T19" fmla="*/ 631 h 631"/>
                <a:gd name="T20" fmla="*/ 86 w 486"/>
                <a:gd name="T21" fmla="*/ 49 h 631"/>
                <a:gd name="T22" fmla="*/ 24 w 486"/>
                <a:gd name="T23" fmla="*/ 188 h 631"/>
                <a:gd name="T24" fmla="*/ 90 w 486"/>
                <a:gd name="T25" fmla="*/ 409 h 631"/>
                <a:gd name="T26" fmla="*/ 249 w 486"/>
                <a:gd name="T27" fmla="*/ 577 h 631"/>
                <a:gd name="T28" fmla="*/ 401 w 486"/>
                <a:gd name="T29" fmla="*/ 593 h 631"/>
                <a:gd name="T30" fmla="*/ 462 w 486"/>
                <a:gd name="T31" fmla="*/ 454 h 631"/>
                <a:gd name="T32" fmla="*/ 398 w 486"/>
                <a:gd name="T33" fmla="*/ 236 h 631"/>
                <a:gd name="T34" fmla="*/ 237 w 486"/>
                <a:gd name="T35" fmla="*/ 65 h 631"/>
                <a:gd name="T36" fmla="*/ 86 w 486"/>
                <a:gd name="T37" fmla="*/ 49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6" h="631">
                  <a:moveTo>
                    <a:pt x="346" y="631"/>
                  </a:moveTo>
                  <a:cubicBezTo>
                    <a:pt x="313" y="631"/>
                    <a:pt x="275" y="620"/>
                    <a:pt x="237" y="598"/>
                  </a:cubicBezTo>
                  <a:cubicBezTo>
                    <a:pt x="174" y="561"/>
                    <a:pt x="114" y="499"/>
                    <a:pt x="70" y="421"/>
                  </a:cubicBezTo>
                  <a:cubicBezTo>
                    <a:pt x="25" y="344"/>
                    <a:pt x="0" y="261"/>
                    <a:pt x="0" y="188"/>
                  </a:cubicBezTo>
                  <a:cubicBezTo>
                    <a:pt x="0" y="112"/>
                    <a:pt x="27" y="55"/>
                    <a:pt x="74" y="28"/>
                  </a:cubicBezTo>
                  <a:cubicBezTo>
                    <a:pt x="121" y="0"/>
                    <a:pt x="184" y="6"/>
                    <a:pt x="249" y="44"/>
                  </a:cubicBezTo>
                  <a:cubicBezTo>
                    <a:pt x="314" y="81"/>
                    <a:pt x="374" y="145"/>
                    <a:pt x="419" y="224"/>
                  </a:cubicBezTo>
                  <a:cubicBezTo>
                    <a:pt x="462" y="301"/>
                    <a:pt x="486" y="382"/>
                    <a:pt x="486" y="454"/>
                  </a:cubicBezTo>
                  <a:cubicBezTo>
                    <a:pt x="486" y="530"/>
                    <a:pt x="460" y="587"/>
                    <a:pt x="413" y="614"/>
                  </a:cubicBezTo>
                  <a:cubicBezTo>
                    <a:pt x="393" y="626"/>
                    <a:pt x="370" y="631"/>
                    <a:pt x="346" y="631"/>
                  </a:cubicBezTo>
                  <a:close/>
                  <a:moveTo>
                    <a:pt x="86" y="49"/>
                  </a:moveTo>
                  <a:cubicBezTo>
                    <a:pt x="46" y="72"/>
                    <a:pt x="24" y="121"/>
                    <a:pt x="24" y="188"/>
                  </a:cubicBezTo>
                  <a:cubicBezTo>
                    <a:pt x="24" y="257"/>
                    <a:pt x="48" y="336"/>
                    <a:pt x="90" y="409"/>
                  </a:cubicBezTo>
                  <a:cubicBezTo>
                    <a:pt x="133" y="483"/>
                    <a:pt x="189" y="543"/>
                    <a:pt x="249" y="577"/>
                  </a:cubicBezTo>
                  <a:cubicBezTo>
                    <a:pt x="307" y="611"/>
                    <a:pt x="361" y="616"/>
                    <a:pt x="401" y="593"/>
                  </a:cubicBezTo>
                  <a:cubicBezTo>
                    <a:pt x="440" y="571"/>
                    <a:pt x="462" y="521"/>
                    <a:pt x="462" y="454"/>
                  </a:cubicBezTo>
                  <a:cubicBezTo>
                    <a:pt x="462" y="386"/>
                    <a:pt x="439" y="309"/>
                    <a:pt x="398" y="236"/>
                  </a:cubicBezTo>
                  <a:cubicBezTo>
                    <a:pt x="355" y="161"/>
                    <a:pt x="298" y="100"/>
                    <a:pt x="237" y="65"/>
                  </a:cubicBezTo>
                  <a:cubicBezTo>
                    <a:pt x="179" y="31"/>
                    <a:pt x="126" y="26"/>
                    <a:pt x="86" y="4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1" name="Freeform 2231">
              <a:extLst>
                <a:ext uri="{FF2B5EF4-FFF2-40B4-BE49-F238E27FC236}">
                  <a16:creationId xmlns:a16="http://schemas.microsoft.com/office/drawing/2014/main" id="{94B75D9A-1264-4CC8-AE2C-DD536F5569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4" y="3030"/>
              <a:ext cx="219" cy="228"/>
            </a:xfrm>
            <a:custGeom>
              <a:avLst/>
              <a:gdLst>
                <a:gd name="T0" fmla="*/ 341 w 793"/>
                <a:gd name="T1" fmla="*/ 826 h 826"/>
                <a:gd name="T2" fmla="*/ 330 w 793"/>
                <a:gd name="T3" fmla="*/ 820 h 826"/>
                <a:gd name="T4" fmla="*/ 335 w 793"/>
                <a:gd name="T5" fmla="*/ 803 h 826"/>
                <a:gd name="T6" fmla="*/ 707 w 793"/>
                <a:gd name="T7" fmla="*/ 588 h 826"/>
                <a:gd name="T8" fmla="*/ 766 w 793"/>
                <a:gd name="T9" fmla="*/ 491 h 826"/>
                <a:gd name="T10" fmla="*/ 769 w 793"/>
                <a:gd name="T11" fmla="*/ 449 h 826"/>
                <a:gd name="T12" fmla="*/ 705 w 793"/>
                <a:gd name="T13" fmla="*/ 231 h 826"/>
                <a:gd name="T14" fmla="*/ 544 w 793"/>
                <a:gd name="T15" fmla="*/ 59 h 826"/>
                <a:gd name="T16" fmla="*/ 508 w 793"/>
                <a:gd name="T17" fmla="*/ 42 h 826"/>
                <a:gd name="T18" fmla="*/ 393 w 793"/>
                <a:gd name="T19" fmla="*/ 43 h 826"/>
                <a:gd name="T20" fmla="*/ 20 w 793"/>
                <a:gd name="T21" fmla="*/ 259 h 826"/>
                <a:gd name="T22" fmla="*/ 4 w 793"/>
                <a:gd name="T23" fmla="*/ 254 h 826"/>
                <a:gd name="T24" fmla="*/ 8 w 793"/>
                <a:gd name="T25" fmla="*/ 238 h 826"/>
                <a:gd name="T26" fmla="*/ 381 w 793"/>
                <a:gd name="T27" fmla="*/ 23 h 826"/>
                <a:gd name="T28" fmla="*/ 517 w 793"/>
                <a:gd name="T29" fmla="*/ 20 h 826"/>
                <a:gd name="T30" fmla="*/ 556 w 793"/>
                <a:gd name="T31" fmla="*/ 39 h 826"/>
                <a:gd name="T32" fmla="*/ 726 w 793"/>
                <a:gd name="T33" fmla="*/ 219 h 826"/>
                <a:gd name="T34" fmla="*/ 793 w 793"/>
                <a:gd name="T35" fmla="*/ 449 h 826"/>
                <a:gd name="T36" fmla="*/ 789 w 793"/>
                <a:gd name="T37" fmla="*/ 495 h 826"/>
                <a:gd name="T38" fmla="*/ 719 w 793"/>
                <a:gd name="T39" fmla="*/ 609 h 826"/>
                <a:gd name="T40" fmla="*/ 347 w 793"/>
                <a:gd name="T41" fmla="*/ 824 h 826"/>
                <a:gd name="T42" fmla="*/ 341 w 793"/>
                <a:gd name="T43" fmla="*/ 826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93" h="826">
                  <a:moveTo>
                    <a:pt x="341" y="826"/>
                  </a:moveTo>
                  <a:cubicBezTo>
                    <a:pt x="336" y="826"/>
                    <a:pt x="332" y="824"/>
                    <a:pt x="330" y="820"/>
                  </a:cubicBezTo>
                  <a:cubicBezTo>
                    <a:pt x="327" y="814"/>
                    <a:pt x="329" y="807"/>
                    <a:pt x="335" y="803"/>
                  </a:cubicBezTo>
                  <a:cubicBezTo>
                    <a:pt x="707" y="588"/>
                    <a:pt x="707" y="588"/>
                    <a:pt x="707" y="588"/>
                  </a:cubicBezTo>
                  <a:cubicBezTo>
                    <a:pt x="738" y="571"/>
                    <a:pt x="758" y="537"/>
                    <a:pt x="766" y="491"/>
                  </a:cubicBezTo>
                  <a:cubicBezTo>
                    <a:pt x="768" y="478"/>
                    <a:pt x="769" y="464"/>
                    <a:pt x="769" y="449"/>
                  </a:cubicBezTo>
                  <a:cubicBezTo>
                    <a:pt x="769" y="381"/>
                    <a:pt x="746" y="303"/>
                    <a:pt x="705" y="231"/>
                  </a:cubicBezTo>
                  <a:cubicBezTo>
                    <a:pt x="662" y="156"/>
                    <a:pt x="605" y="95"/>
                    <a:pt x="544" y="59"/>
                  </a:cubicBezTo>
                  <a:cubicBezTo>
                    <a:pt x="532" y="52"/>
                    <a:pt x="519" y="46"/>
                    <a:pt x="508" y="42"/>
                  </a:cubicBezTo>
                  <a:cubicBezTo>
                    <a:pt x="464" y="25"/>
                    <a:pt x="424" y="25"/>
                    <a:pt x="393" y="43"/>
                  </a:cubicBezTo>
                  <a:cubicBezTo>
                    <a:pt x="20" y="259"/>
                    <a:pt x="20" y="259"/>
                    <a:pt x="20" y="259"/>
                  </a:cubicBezTo>
                  <a:cubicBezTo>
                    <a:pt x="14" y="262"/>
                    <a:pt x="7" y="260"/>
                    <a:pt x="4" y="254"/>
                  </a:cubicBezTo>
                  <a:cubicBezTo>
                    <a:pt x="0" y="249"/>
                    <a:pt x="2" y="241"/>
                    <a:pt x="8" y="238"/>
                  </a:cubicBezTo>
                  <a:cubicBezTo>
                    <a:pt x="381" y="23"/>
                    <a:pt x="381" y="23"/>
                    <a:pt x="381" y="23"/>
                  </a:cubicBezTo>
                  <a:cubicBezTo>
                    <a:pt x="418" y="1"/>
                    <a:pt x="465" y="0"/>
                    <a:pt x="517" y="20"/>
                  </a:cubicBezTo>
                  <a:cubicBezTo>
                    <a:pt x="529" y="24"/>
                    <a:pt x="542" y="31"/>
                    <a:pt x="556" y="39"/>
                  </a:cubicBezTo>
                  <a:cubicBezTo>
                    <a:pt x="621" y="76"/>
                    <a:pt x="681" y="140"/>
                    <a:pt x="726" y="219"/>
                  </a:cubicBezTo>
                  <a:cubicBezTo>
                    <a:pt x="769" y="295"/>
                    <a:pt x="793" y="377"/>
                    <a:pt x="793" y="449"/>
                  </a:cubicBezTo>
                  <a:cubicBezTo>
                    <a:pt x="793" y="465"/>
                    <a:pt x="792" y="480"/>
                    <a:pt x="789" y="495"/>
                  </a:cubicBezTo>
                  <a:cubicBezTo>
                    <a:pt x="781" y="548"/>
                    <a:pt x="757" y="588"/>
                    <a:pt x="719" y="609"/>
                  </a:cubicBezTo>
                  <a:cubicBezTo>
                    <a:pt x="347" y="824"/>
                    <a:pt x="347" y="824"/>
                    <a:pt x="347" y="824"/>
                  </a:cubicBezTo>
                  <a:cubicBezTo>
                    <a:pt x="345" y="825"/>
                    <a:pt x="343" y="826"/>
                    <a:pt x="341" y="82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2" name="Freeform 2232">
              <a:extLst>
                <a:ext uri="{FF2B5EF4-FFF2-40B4-BE49-F238E27FC236}">
                  <a16:creationId xmlns:a16="http://schemas.microsoft.com/office/drawing/2014/main" id="{04C35642-C4A8-4246-9F7B-480C55694B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8" y="3580"/>
              <a:ext cx="347" cy="200"/>
            </a:xfrm>
            <a:custGeom>
              <a:avLst/>
              <a:gdLst>
                <a:gd name="T0" fmla="*/ 763 w 1256"/>
                <a:gd name="T1" fmla="*/ 0 h 725"/>
                <a:gd name="T2" fmla="*/ 1256 w 1256"/>
                <a:gd name="T3" fmla="*/ 285 h 725"/>
                <a:gd name="T4" fmla="*/ 493 w 1256"/>
                <a:gd name="T5" fmla="*/ 725 h 725"/>
                <a:gd name="T6" fmla="*/ 0 w 1256"/>
                <a:gd name="T7" fmla="*/ 441 h 725"/>
                <a:gd name="T8" fmla="*/ 763 w 1256"/>
                <a:gd name="T9" fmla="*/ 0 h 725"/>
                <a:gd name="T10" fmla="*/ 685 w 1256"/>
                <a:gd name="T11" fmla="*/ 447 h 725"/>
                <a:gd name="T12" fmla="*/ 624 w 1256"/>
                <a:gd name="T13" fmla="*/ 360 h 725"/>
                <a:gd name="T14" fmla="*/ 329 w 1256"/>
                <a:gd name="T15" fmla="*/ 360 h 725"/>
                <a:gd name="T16" fmla="*/ 329 w 1256"/>
                <a:gd name="T17" fmla="*/ 530 h 725"/>
                <a:gd name="T18" fmla="*/ 479 w 1256"/>
                <a:gd name="T19" fmla="*/ 566 h 725"/>
                <a:gd name="T20" fmla="*/ 624 w 1256"/>
                <a:gd name="T21" fmla="*/ 530 h 725"/>
                <a:gd name="T22" fmla="*/ 685 w 1256"/>
                <a:gd name="T23" fmla="*/ 447 h 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6" h="725">
                  <a:moveTo>
                    <a:pt x="763" y="0"/>
                  </a:moveTo>
                  <a:cubicBezTo>
                    <a:pt x="1256" y="285"/>
                    <a:pt x="1256" y="285"/>
                    <a:pt x="1256" y="285"/>
                  </a:cubicBezTo>
                  <a:cubicBezTo>
                    <a:pt x="493" y="725"/>
                    <a:pt x="493" y="725"/>
                    <a:pt x="493" y="725"/>
                  </a:cubicBezTo>
                  <a:cubicBezTo>
                    <a:pt x="0" y="441"/>
                    <a:pt x="0" y="441"/>
                    <a:pt x="0" y="441"/>
                  </a:cubicBezTo>
                  <a:lnTo>
                    <a:pt x="763" y="0"/>
                  </a:lnTo>
                  <a:close/>
                  <a:moveTo>
                    <a:pt x="685" y="447"/>
                  </a:moveTo>
                  <a:cubicBezTo>
                    <a:pt x="686" y="416"/>
                    <a:pt x="665" y="384"/>
                    <a:pt x="624" y="360"/>
                  </a:cubicBezTo>
                  <a:cubicBezTo>
                    <a:pt x="542" y="313"/>
                    <a:pt x="410" y="313"/>
                    <a:pt x="329" y="360"/>
                  </a:cubicBezTo>
                  <a:cubicBezTo>
                    <a:pt x="248" y="407"/>
                    <a:pt x="248" y="483"/>
                    <a:pt x="329" y="530"/>
                  </a:cubicBezTo>
                  <a:cubicBezTo>
                    <a:pt x="370" y="554"/>
                    <a:pt x="425" y="566"/>
                    <a:pt x="479" y="566"/>
                  </a:cubicBezTo>
                  <a:cubicBezTo>
                    <a:pt x="532" y="565"/>
                    <a:pt x="584" y="554"/>
                    <a:pt x="624" y="530"/>
                  </a:cubicBezTo>
                  <a:cubicBezTo>
                    <a:pt x="664" y="507"/>
                    <a:pt x="684" y="477"/>
                    <a:pt x="685" y="4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3" name="Freeform 2233">
              <a:extLst>
                <a:ext uri="{FF2B5EF4-FFF2-40B4-BE49-F238E27FC236}">
                  <a16:creationId xmlns:a16="http://schemas.microsoft.com/office/drawing/2014/main" id="{620C59FA-A0E2-4339-83A9-31E3CCBF64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0" y="3604"/>
              <a:ext cx="87" cy="50"/>
            </a:xfrm>
            <a:custGeom>
              <a:avLst/>
              <a:gdLst>
                <a:gd name="T0" fmla="*/ 219 w 315"/>
                <a:gd name="T1" fmla="*/ 28 h 182"/>
                <a:gd name="T2" fmla="*/ 315 w 315"/>
                <a:gd name="T3" fmla="*/ 83 h 182"/>
                <a:gd name="T4" fmla="*/ 143 w 315"/>
                <a:gd name="T5" fmla="*/ 182 h 182"/>
                <a:gd name="T6" fmla="*/ 47 w 315"/>
                <a:gd name="T7" fmla="*/ 127 h 182"/>
                <a:gd name="T8" fmla="*/ 47 w 315"/>
                <a:gd name="T9" fmla="*/ 28 h 182"/>
                <a:gd name="T10" fmla="*/ 219 w 315"/>
                <a:gd name="T11" fmla="*/ 28 h 182"/>
                <a:gd name="T12" fmla="*/ 172 w 315"/>
                <a:gd name="T13" fmla="*/ 61 h 182"/>
                <a:gd name="T14" fmla="*/ 105 w 315"/>
                <a:gd name="T15" fmla="*/ 61 h 182"/>
                <a:gd name="T16" fmla="*/ 105 w 315"/>
                <a:gd name="T17" fmla="*/ 99 h 182"/>
                <a:gd name="T18" fmla="*/ 172 w 315"/>
                <a:gd name="T19" fmla="*/ 99 h 182"/>
                <a:gd name="T20" fmla="*/ 172 w 315"/>
                <a:gd name="T21" fmla="*/ 6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5" h="182">
                  <a:moveTo>
                    <a:pt x="219" y="28"/>
                  </a:moveTo>
                  <a:cubicBezTo>
                    <a:pt x="315" y="83"/>
                    <a:pt x="315" y="83"/>
                    <a:pt x="315" y="83"/>
                  </a:cubicBezTo>
                  <a:cubicBezTo>
                    <a:pt x="143" y="182"/>
                    <a:pt x="143" y="182"/>
                    <a:pt x="143" y="182"/>
                  </a:cubicBezTo>
                  <a:cubicBezTo>
                    <a:pt x="47" y="127"/>
                    <a:pt x="47" y="127"/>
                    <a:pt x="47" y="127"/>
                  </a:cubicBezTo>
                  <a:cubicBezTo>
                    <a:pt x="0" y="100"/>
                    <a:pt x="0" y="55"/>
                    <a:pt x="47" y="28"/>
                  </a:cubicBezTo>
                  <a:cubicBezTo>
                    <a:pt x="95" y="0"/>
                    <a:pt x="172" y="0"/>
                    <a:pt x="219" y="28"/>
                  </a:cubicBezTo>
                  <a:close/>
                  <a:moveTo>
                    <a:pt x="172" y="61"/>
                  </a:moveTo>
                  <a:cubicBezTo>
                    <a:pt x="153" y="50"/>
                    <a:pt x="123" y="50"/>
                    <a:pt x="105" y="61"/>
                  </a:cubicBezTo>
                  <a:cubicBezTo>
                    <a:pt x="86" y="71"/>
                    <a:pt x="86" y="89"/>
                    <a:pt x="105" y="99"/>
                  </a:cubicBezTo>
                  <a:cubicBezTo>
                    <a:pt x="123" y="110"/>
                    <a:pt x="153" y="110"/>
                    <a:pt x="172" y="99"/>
                  </a:cubicBezTo>
                  <a:cubicBezTo>
                    <a:pt x="190" y="89"/>
                    <a:pt x="190" y="71"/>
                    <a:pt x="172" y="61"/>
                  </a:cubicBezTo>
                  <a:close/>
                </a:path>
              </a:pathLst>
            </a:custGeom>
            <a:solidFill>
              <a:srgbClr val="C2C7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" name="Freeform 2234">
              <a:extLst>
                <a:ext uri="{FF2B5EF4-FFF2-40B4-BE49-F238E27FC236}">
                  <a16:creationId xmlns:a16="http://schemas.microsoft.com/office/drawing/2014/main" id="{8CB13B75-3568-4194-9EDF-ADADB8233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6" y="3666"/>
              <a:ext cx="121" cy="70"/>
            </a:xfrm>
            <a:custGeom>
              <a:avLst/>
              <a:gdLst>
                <a:gd name="T0" fmla="*/ 376 w 438"/>
                <a:gd name="T1" fmla="*/ 47 h 253"/>
                <a:gd name="T2" fmla="*/ 437 w 438"/>
                <a:gd name="T3" fmla="*/ 134 h 253"/>
                <a:gd name="T4" fmla="*/ 269 w 438"/>
                <a:gd name="T5" fmla="*/ 132 h 253"/>
                <a:gd name="T6" fmla="*/ 269 w 438"/>
                <a:gd name="T7" fmla="*/ 132 h 253"/>
                <a:gd name="T8" fmla="*/ 255 w 438"/>
                <a:gd name="T9" fmla="*/ 108 h 253"/>
                <a:gd name="T10" fmla="*/ 186 w 438"/>
                <a:gd name="T11" fmla="*/ 108 h 253"/>
                <a:gd name="T12" fmla="*/ 186 w 438"/>
                <a:gd name="T13" fmla="*/ 148 h 253"/>
                <a:gd name="T14" fmla="*/ 228 w 438"/>
                <a:gd name="T15" fmla="*/ 156 h 253"/>
                <a:gd name="T16" fmla="*/ 231 w 438"/>
                <a:gd name="T17" fmla="*/ 253 h 253"/>
                <a:gd name="T18" fmla="*/ 81 w 438"/>
                <a:gd name="T19" fmla="*/ 217 h 253"/>
                <a:gd name="T20" fmla="*/ 81 w 438"/>
                <a:gd name="T21" fmla="*/ 47 h 253"/>
                <a:gd name="T22" fmla="*/ 376 w 438"/>
                <a:gd name="T23" fmla="*/ 47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8" h="253">
                  <a:moveTo>
                    <a:pt x="376" y="47"/>
                  </a:moveTo>
                  <a:cubicBezTo>
                    <a:pt x="417" y="71"/>
                    <a:pt x="438" y="103"/>
                    <a:pt x="437" y="134"/>
                  </a:cubicBezTo>
                  <a:cubicBezTo>
                    <a:pt x="368" y="122"/>
                    <a:pt x="304" y="127"/>
                    <a:pt x="269" y="132"/>
                  </a:cubicBezTo>
                  <a:cubicBezTo>
                    <a:pt x="269" y="132"/>
                    <a:pt x="269" y="132"/>
                    <a:pt x="269" y="132"/>
                  </a:cubicBezTo>
                  <a:cubicBezTo>
                    <a:pt x="271" y="123"/>
                    <a:pt x="267" y="114"/>
                    <a:pt x="255" y="108"/>
                  </a:cubicBezTo>
                  <a:cubicBezTo>
                    <a:pt x="236" y="97"/>
                    <a:pt x="205" y="97"/>
                    <a:pt x="186" y="108"/>
                  </a:cubicBezTo>
                  <a:cubicBezTo>
                    <a:pt x="167" y="119"/>
                    <a:pt x="167" y="137"/>
                    <a:pt x="186" y="148"/>
                  </a:cubicBezTo>
                  <a:cubicBezTo>
                    <a:pt x="197" y="155"/>
                    <a:pt x="213" y="157"/>
                    <a:pt x="228" y="156"/>
                  </a:cubicBezTo>
                  <a:cubicBezTo>
                    <a:pt x="220" y="176"/>
                    <a:pt x="211" y="213"/>
                    <a:pt x="231" y="253"/>
                  </a:cubicBezTo>
                  <a:cubicBezTo>
                    <a:pt x="177" y="253"/>
                    <a:pt x="122" y="241"/>
                    <a:pt x="81" y="217"/>
                  </a:cubicBezTo>
                  <a:cubicBezTo>
                    <a:pt x="0" y="170"/>
                    <a:pt x="0" y="94"/>
                    <a:pt x="81" y="47"/>
                  </a:cubicBezTo>
                  <a:cubicBezTo>
                    <a:pt x="162" y="0"/>
                    <a:pt x="294" y="0"/>
                    <a:pt x="376" y="47"/>
                  </a:cubicBezTo>
                  <a:close/>
                </a:path>
              </a:pathLst>
            </a:custGeom>
            <a:solidFill>
              <a:srgbClr val="DAE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5" name="Freeform 2235">
              <a:extLst>
                <a:ext uri="{FF2B5EF4-FFF2-40B4-BE49-F238E27FC236}">
                  <a16:creationId xmlns:a16="http://schemas.microsoft.com/office/drawing/2014/main" id="{AE8A7105-1E1F-46EA-A923-E887ECF06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4" y="3700"/>
              <a:ext cx="63" cy="36"/>
            </a:xfrm>
            <a:custGeom>
              <a:avLst/>
              <a:gdLst>
                <a:gd name="T0" fmla="*/ 58 w 226"/>
                <a:gd name="T1" fmla="*/ 10 h 131"/>
                <a:gd name="T2" fmla="*/ 226 w 226"/>
                <a:gd name="T3" fmla="*/ 12 h 131"/>
                <a:gd name="T4" fmla="*/ 165 w 226"/>
                <a:gd name="T5" fmla="*/ 95 h 131"/>
                <a:gd name="T6" fmla="*/ 20 w 226"/>
                <a:gd name="T7" fmla="*/ 131 h 131"/>
                <a:gd name="T8" fmla="*/ 17 w 226"/>
                <a:gd name="T9" fmla="*/ 34 h 131"/>
                <a:gd name="T10" fmla="*/ 44 w 226"/>
                <a:gd name="T11" fmla="*/ 26 h 131"/>
                <a:gd name="T12" fmla="*/ 58 w 226"/>
                <a:gd name="T13" fmla="*/ 1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6" h="131">
                  <a:moveTo>
                    <a:pt x="58" y="10"/>
                  </a:moveTo>
                  <a:cubicBezTo>
                    <a:pt x="93" y="5"/>
                    <a:pt x="157" y="0"/>
                    <a:pt x="226" y="12"/>
                  </a:cubicBezTo>
                  <a:cubicBezTo>
                    <a:pt x="225" y="42"/>
                    <a:pt x="205" y="72"/>
                    <a:pt x="165" y="95"/>
                  </a:cubicBezTo>
                  <a:cubicBezTo>
                    <a:pt x="125" y="119"/>
                    <a:pt x="73" y="130"/>
                    <a:pt x="20" y="131"/>
                  </a:cubicBezTo>
                  <a:cubicBezTo>
                    <a:pt x="0" y="91"/>
                    <a:pt x="9" y="54"/>
                    <a:pt x="17" y="34"/>
                  </a:cubicBezTo>
                  <a:cubicBezTo>
                    <a:pt x="27" y="33"/>
                    <a:pt x="37" y="30"/>
                    <a:pt x="44" y="26"/>
                  </a:cubicBezTo>
                  <a:cubicBezTo>
                    <a:pt x="52" y="21"/>
                    <a:pt x="57" y="16"/>
                    <a:pt x="58" y="10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6" name="Freeform 2236">
              <a:extLst>
                <a:ext uri="{FF2B5EF4-FFF2-40B4-BE49-F238E27FC236}">
                  <a16:creationId xmlns:a16="http://schemas.microsoft.com/office/drawing/2014/main" id="{4E289DC0-13F0-42F3-B657-3906FDDA2D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2" y="3693"/>
              <a:ext cx="29" cy="16"/>
            </a:xfrm>
            <a:custGeom>
              <a:avLst/>
              <a:gdLst>
                <a:gd name="T0" fmla="*/ 88 w 104"/>
                <a:gd name="T1" fmla="*/ 11 h 60"/>
                <a:gd name="T2" fmla="*/ 102 w 104"/>
                <a:gd name="T3" fmla="*/ 35 h 60"/>
                <a:gd name="T4" fmla="*/ 88 w 104"/>
                <a:gd name="T5" fmla="*/ 51 h 60"/>
                <a:gd name="T6" fmla="*/ 61 w 104"/>
                <a:gd name="T7" fmla="*/ 59 h 60"/>
                <a:gd name="T8" fmla="*/ 19 w 104"/>
                <a:gd name="T9" fmla="*/ 51 h 60"/>
                <a:gd name="T10" fmla="*/ 19 w 104"/>
                <a:gd name="T11" fmla="*/ 11 h 60"/>
                <a:gd name="T12" fmla="*/ 88 w 104"/>
                <a:gd name="T13" fmla="*/ 11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60">
                  <a:moveTo>
                    <a:pt x="88" y="11"/>
                  </a:moveTo>
                  <a:cubicBezTo>
                    <a:pt x="100" y="17"/>
                    <a:pt x="104" y="26"/>
                    <a:pt x="102" y="35"/>
                  </a:cubicBezTo>
                  <a:cubicBezTo>
                    <a:pt x="101" y="41"/>
                    <a:pt x="96" y="46"/>
                    <a:pt x="88" y="51"/>
                  </a:cubicBezTo>
                  <a:cubicBezTo>
                    <a:pt x="81" y="55"/>
                    <a:pt x="71" y="58"/>
                    <a:pt x="61" y="59"/>
                  </a:cubicBezTo>
                  <a:cubicBezTo>
                    <a:pt x="46" y="60"/>
                    <a:pt x="30" y="58"/>
                    <a:pt x="19" y="51"/>
                  </a:cubicBezTo>
                  <a:cubicBezTo>
                    <a:pt x="0" y="40"/>
                    <a:pt x="0" y="22"/>
                    <a:pt x="19" y="11"/>
                  </a:cubicBezTo>
                  <a:cubicBezTo>
                    <a:pt x="38" y="0"/>
                    <a:pt x="69" y="0"/>
                    <a:pt x="88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7" name="Freeform 2237">
              <a:extLst>
                <a:ext uri="{FF2B5EF4-FFF2-40B4-BE49-F238E27FC236}">
                  <a16:creationId xmlns:a16="http://schemas.microsoft.com/office/drawing/2014/main" id="{6DF412C4-3D6B-41D7-B3CB-7590EA975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4" y="3576"/>
              <a:ext cx="354" cy="207"/>
            </a:xfrm>
            <a:custGeom>
              <a:avLst/>
              <a:gdLst>
                <a:gd name="T0" fmla="*/ 505 w 1280"/>
                <a:gd name="T1" fmla="*/ 749 h 749"/>
                <a:gd name="T2" fmla="*/ 499 w 1280"/>
                <a:gd name="T3" fmla="*/ 748 h 749"/>
                <a:gd name="T4" fmla="*/ 6 w 1280"/>
                <a:gd name="T5" fmla="*/ 463 h 749"/>
                <a:gd name="T6" fmla="*/ 0 w 1280"/>
                <a:gd name="T7" fmla="*/ 453 h 749"/>
                <a:gd name="T8" fmla="*/ 6 w 1280"/>
                <a:gd name="T9" fmla="*/ 442 h 749"/>
                <a:gd name="T10" fmla="*/ 769 w 1280"/>
                <a:gd name="T11" fmla="*/ 2 h 749"/>
                <a:gd name="T12" fmla="*/ 781 w 1280"/>
                <a:gd name="T13" fmla="*/ 2 h 749"/>
                <a:gd name="T14" fmla="*/ 1274 w 1280"/>
                <a:gd name="T15" fmla="*/ 286 h 749"/>
                <a:gd name="T16" fmla="*/ 1280 w 1280"/>
                <a:gd name="T17" fmla="*/ 297 h 749"/>
                <a:gd name="T18" fmla="*/ 1274 w 1280"/>
                <a:gd name="T19" fmla="*/ 307 h 749"/>
                <a:gd name="T20" fmla="*/ 511 w 1280"/>
                <a:gd name="T21" fmla="*/ 748 h 749"/>
                <a:gd name="T22" fmla="*/ 505 w 1280"/>
                <a:gd name="T23" fmla="*/ 749 h 749"/>
                <a:gd name="T24" fmla="*/ 36 w 1280"/>
                <a:gd name="T25" fmla="*/ 453 h 749"/>
                <a:gd name="T26" fmla="*/ 505 w 1280"/>
                <a:gd name="T27" fmla="*/ 724 h 749"/>
                <a:gd name="T28" fmla="*/ 1244 w 1280"/>
                <a:gd name="T29" fmla="*/ 297 h 749"/>
                <a:gd name="T30" fmla="*/ 775 w 1280"/>
                <a:gd name="T31" fmla="*/ 26 h 749"/>
                <a:gd name="T32" fmla="*/ 36 w 1280"/>
                <a:gd name="T33" fmla="*/ 453 h 749"/>
                <a:gd name="T34" fmla="*/ 480 w 1280"/>
                <a:gd name="T35" fmla="*/ 183 h 749"/>
                <a:gd name="T36" fmla="*/ 480 w 1280"/>
                <a:gd name="T37" fmla="*/ 183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0" h="749">
                  <a:moveTo>
                    <a:pt x="505" y="749"/>
                  </a:moveTo>
                  <a:cubicBezTo>
                    <a:pt x="503" y="749"/>
                    <a:pt x="501" y="749"/>
                    <a:pt x="499" y="748"/>
                  </a:cubicBezTo>
                  <a:cubicBezTo>
                    <a:pt x="6" y="463"/>
                    <a:pt x="6" y="463"/>
                    <a:pt x="6" y="463"/>
                  </a:cubicBezTo>
                  <a:cubicBezTo>
                    <a:pt x="2" y="461"/>
                    <a:pt x="0" y="457"/>
                    <a:pt x="0" y="453"/>
                  </a:cubicBezTo>
                  <a:cubicBezTo>
                    <a:pt x="0" y="448"/>
                    <a:pt x="2" y="444"/>
                    <a:pt x="6" y="442"/>
                  </a:cubicBezTo>
                  <a:cubicBezTo>
                    <a:pt x="769" y="2"/>
                    <a:pt x="769" y="2"/>
                    <a:pt x="769" y="2"/>
                  </a:cubicBezTo>
                  <a:cubicBezTo>
                    <a:pt x="773" y="0"/>
                    <a:pt x="778" y="0"/>
                    <a:pt x="781" y="2"/>
                  </a:cubicBezTo>
                  <a:cubicBezTo>
                    <a:pt x="1274" y="286"/>
                    <a:pt x="1274" y="286"/>
                    <a:pt x="1274" y="286"/>
                  </a:cubicBezTo>
                  <a:cubicBezTo>
                    <a:pt x="1278" y="289"/>
                    <a:pt x="1280" y="293"/>
                    <a:pt x="1280" y="297"/>
                  </a:cubicBezTo>
                  <a:cubicBezTo>
                    <a:pt x="1280" y="301"/>
                    <a:pt x="1278" y="305"/>
                    <a:pt x="1274" y="307"/>
                  </a:cubicBezTo>
                  <a:cubicBezTo>
                    <a:pt x="511" y="748"/>
                    <a:pt x="511" y="748"/>
                    <a:pt x="511" y="748"/>
                  </a:cubicBezTo>
                  <a:cubicBezTo>
                    <a:pt x="509" y="749"/>
                    <a:pt x="507" y="749"/>
                    <a:pt x="505" y="749"/>
                  </a:cubicBezTo>
                  <a:close/>
                  <a:moveTo>
                    <a:pt x="36" y="453"/>
                  </a:moveTo>
                  <a:cubicBezTo>
                    <a:pt x="505" y="724"/>
                    <a:pt x="505" y="724"/>
                    <a:pt x="505" y="724"/>
                  </a:cubicBezTo>
                  <a:cubicBezTo>
                    <a:pt x="1244" y="297"/>
                    <a:pt x="1244" y="297"/>
                    <a:pt x="1244" y="297"/>
                  </a:cubicBezTo>
                  <a:cubicBezTo>
                    <a:pt x="775" y="26"/>
                    <a:pt x="775" y="26"/>
                    <a:pt x="775" y="26"/>
                  </a:cubicBezTo>
                  <a:lnTo>
                    <a:pt x="36" y="453"/>
                  </a:lnTo>
                  <a:close/>
                  <a:moveTo>
                    <a:pt x="480" y="183"/>
                  </a:moveTo>
                  <a:cubicBezTo>
                    <a:pt x="480" y="183"/>
                    <a:pt x="480" y="183"/>
                    <a:pt x="480" y="18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8" name="Freeform 2238">
              <a:extLst>
                <a:ext uri="{FF2B5EF4-FFF2-40B4-BE49-F238E27FC236}">
                  <a16:creationId xmlns:a16="http://schemas.microsoft.com/office/drawing/2014/main" id="{B3EAA39C-75B2-4942-9AC4-95062299A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0" y="3601"/>
              <a:ext cx="91" cy="57"/>
            </a:xfrm>
            <a:custGeom>
              <a:avLst/>
              <a:gdLst>
                <a:gd name="T0" fmla="*/ 143 w 328"/>
                <a:gd name="T1" fmla="*/ 206 h 206"/>
                <a:gd name="T2" fmla="*/ 137 w 328"/>
                <a:gd name="T3" fmla="*/ 204 h 206"/>
                <a:gd name="T4" fmla="*/ 41 w 328"/>
                <a:gd name="T5" fmla="*/ 149 h 206"/>
                <a:gd name="T6" fmla="*/ 0 w 328"/>
                <a:gd name="T7" fmla="*/ 89 h 206"/>
                <a:gd name="T8" fmla="*/ 41 w 328"/>
                <a:gd name="T9" fmla="*/ 29 h 206"/>
                <a:gd name="T10" fmla="*/ 225 w 328"/>
                <a:gd name="T11" fmla="*/ 29 h 206"/>
                <a:gd name="T12" fmla="*/ 321 w 328"/>
                <a:gd name="T13" fmla="*/ 84 h 206"/>
                <a:gd name="T14" fmla="*/ 325 w 328"/>
                <a:gd name="T15" fmla="*/ 101 h 206"/>
                <a:gd name="T16" fmla="*/ 309 w 328"/>
                <a:gd name="T17" fmla="*/ 105 h 206"/>
                <a:gd name="T18" fmla="*/ 213 w 328"/>
                <a:gd name="T19" fmla="*/ 50 h 206"/>
                <a:gd name="T20" fmla="*/ 53 w 328"/>
                <a:gd name="T21" fmla="*/ 50 h 206"/>
                <a:gd name="T22" fmla="*/ 24 w 328"/>
                <a:gd name="T23" fmla="*/ 89 h 206"/>
                <a:gd name="T24" fmla="*/ 53 w 328"/>
                <a:gd name="T25" fmla="*/ 129 h 206"/>
                <a:gd name="T26" fmla="*/ 149 w 328"/>
                <a:gd name="T27" fmla="*/ 184 h 206"/>
                <a:gd name="T28" fmla="*/ 153 w 328"/>
                <a:gd name="T29" fmla="*/ 200 h 206"/>
                <a:gd name="T30" fmla="*/ 143 w 328"/>
                <a:gd name="T31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8" h="206">
                  <a:moveTo>
                    <a:pt x="143" y="206"/>
                  </a:moveTo>
                  <a:cubicBezTo>
                    <a:pt x="141" y="206"/>
                    <a:pt x="139" y="206"/>
                    <a:pt x="137" y="204"/>
                  </a:cubicBezTo>
                  <a:cubicBezTo>
                    <a:pt x="41" y="149"/>
                    <a:pt x="41" y="149"/>
                    <a:pt x="41" y="149"/>
                  </a:cubicBezTo>
                  <a:cubicBezTo>
                    <a:pt x="15" y="134"/>
                    <a:pt x="0" y="113"/>
                    <a:pt x="0" y="89"/>
                  </a:cubicBezTo>
                  <a:cubicBezTo>
                    <a:pt x="0" y="66"/>
                    <a:pt x="15" y="45"/>
                    <a:pt x="41" y="29"/>
                  </a:cubicBezTo>
                  <a:cubicBezTo>
                    <a:pt x="93" y="0"/>
                    <a:pt x="174" y="0"/>
                    <a:pt x="225" y="29"/>
                  </a:cubicBezTo>
                  <a:cubicBezTo>
                    <a:pt x="321" y="84"/>
                    <a:pt x="321" y="84"/>
                    <a:pt x="321" y="84"/>
                  </a:cubicBezTo>
                  <a:cubicBezTo>
                    <a:pt x="326" y="88"/>
                    <a:pt x="328" y="95"/>
                    <a:pt x="325" y="101"/>
                  </a:cubicBezTo>
                  <a:cubicBezTo>
                    <a:pt x="322" y="107"/>
                    <a:pt x="314" y="109"/>
                    <a:pt x="309" y="105"/>
                  </a:cubicBezTo>
                  <a:cubicBezTo>
                    <a:pt x="213" y="50"/>
                    <a:pt x="213" y="50"/>
                    <a:pt x="213" y="50"/>
                  </a:cubicBezTo>
                  <a:cubicBezTo>
                    <a:pt x="169" y="25"/>
                    <a:pt x="97" y="25"/>
                    <a:pt x="53" y="50"/>
                  </a:cubicBezTo>
                  <a:cubicBezTo>
                    <a:pt x="34" y="61"/>
                    <a:pt x="24" y="75"/>
                    <a:pt x="24" y="89"/>
                  </a:cubicBezTo>
                  <a:cubicBezTo>
                    <a:pt x="24" y="104"/>
                    <a:pt x="34" y="118"/>
                    <a:pt x="53" y="129"/>
                  </a:cubicBezTo>
                  <a:cubicBezTo>
                    <a:pt x="149" y="184"/>
                    <a:pt x="149" y="184"/>
                    <a:pt x="149" y="184"/>
                  </a:cubicBezTo>
                  <a:cubicBezTo>
                    <a:pt x="155" y="187"/>
                    <a:pt x="157" y="194"/>
                    <a:pt x="153" y="200"/>
                  </a:cubicBezTo>
                  <a:cubicBezTo>
                    <a:pt x="151" y="204"/>
                    <a:pt x="147" y="206"/>
                    <a:pt x="143" y="20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9" name="Freeform 2239">
              <a:extLst>
                <a:ext uri="{FF2B5EF4-FFF2-40B4-BE49-F238E27FC236}">
                  <a16:creationId xmlns:a16="http://schemas.microsoft.com/office/drawing/2014/main" id="{FF88E3AE-74C5-40BA-BDD6-A0B890179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92" y="3614"/>
              <a:ext cx="32" cy="23"/>
            </a:xfrm>
            <a:custGeom>
              <a:avLst/>
              <a:gdLst>
                <a:gd name="T0" fmla="*/ 59 w 118"/>
                <a:gd name="T1" fmla="*/ 81 h 81"/>
                <a:gd name="T2" fmla="*/ 20 w 118"/>
                <a:gd name="T3" fmla="*/ 72 h 81"/>
                <a:gd name="T4" fmla="*/ 0 w 118"/>
                <a:gd name="T5" fmla="*/ 42 h 81"/>
                <a:gd name="T6" fmla="*/ 20 w 118"/>
                <a:gd name="T7" fmla="*/ 12 h 81"/>
                <a:gd name="T8" fmla="*/ 99 w 118"/>
                <a:gd name="T9" fmla="*/ 12 h 81"/>
                <a:gd name="T10" fmla="*/ 118 w 118"/>
                <a:gd name="T11" fmla="*/ 42 h 81"/>
                <a:gd name="T12" fmla="*/ 99 w 118"/>
                <a:gd name="T13" fmla="*/ 72 h 81"/>
                <a:gd name="T14" fmla="*/ 59 w 118"/>
                <a:gd name="T15" fmla="*/ 81 h 81"/>
                <a:gd name="T16" fmla="*/ 59 w 118"/>
                <a:gd name="T17" fmla="*/ 27 h 81"/>
                <a:gd name="T18" fmla="*/ 32 w 118"/>
                <a:gd name="T19" fmla="*/ 33 h 81"/>
                <a:gd name="T20" fmla="*/ 24 w 118"/>
                <a:gd name="T21" fmla="*/ 42 h 81"/>
                <a:gd name="T22" fmla="*/ 32 w 118"/>
                <a:gd name="T23" fmla="*/ 51 h 81"/>
                <a:gd name="T24" fmla="*/ 87 w 118"/>
                <a:gd name="T25" fmla="*/ 51 h 81"/>
                <a:gd name="T26" fmla="*/ 94 w 118"/>
                <a:gd name="T27" fmla="*/ 42 h 81"/>
                <a:gd name="T28" fmla="*/ 87 w 118"/>
                <a:gd name="T29" fmla="*/ 33 h 81"/>
                <a:gd name="T30" fmla="*/ 59 w 118"/>
                <a:gd name="T31" fmla="*/ 2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81">
                  <a:moveTo>
                    <a:pt x="59" y="81"/>
                  </a:moveTo>
                  <a:cubicBezTo>
                    <a:pt x="45" y="81"/>
                    <a:pt x="31" y="78"/>
                    <a:pt x="20" y="72"/>
                  </a:cubicBezTo>
                  <a:cubicBezTo>
                    <a:pt x="7" y="65"/>
                    <a:pt x="0" y="54"/>
                    <a:pt x="0" y="42"/>
                  </a:cubicBezTo>
                  <a:cubicBezTo>
                    <a:pt x="0" y="31"/>
                    <a:pt x="7" y="20"/>
                    <a:pt x="20" y="12"/>
                  </a:cubicBezTo>
                  <a:cubicBezTo>
                    <a:pt x="42" y="0"/>
                    <a:pt x="76" y="0"/>
                    <a:pt x="99" y="12"/>
                  </a:cubicBezTo>
                  <a:cubicBezTo>
                    <a:pt x="111" y="20"/>
                    <a:pt x="118" y="31"/>
                    <a:pt x="118" y="42"/>
                  </a:cubicBezTo>
                  <a:cubicBezTo>
                    <a:pt x="118" y="54"/>
                    <a:pt x="111" y="65"/>
                    <a:pt x="99" y="72"/>
                  </a:cubicBezTo>
                  <a:cubicBezTo>
                    <a:pt x="87" y="78"/>
                    <a:pt x="73" y="81"/>
                    <a:pt x="59" y="81"/>
                  </a:cubicBezTo>
                  <a:close/>
                  <a:moveTo>
                    <a:pt x="59" y="27"/>
                  </a:moveTo>
                  <a:cubicBezTo>
                    <a:pt x="49" y="27"/>
                    <a:pt x="39" y="29"/>
                    <a:pt x="32" y="33"/>
                  </a:cubicBezTo>
                  <a:cubicBezTo>
                    <a:pt x="27" y="36"/>
                    <a:pt x="24" y="39"/>
                    <a:pt x="24" y="42"/>
                  </a:cubicBezTo>
                  <a:cubicBezTo>
                    <a:pt x="24" y="45"/>
                    <a:pt x="27" y="48"/>
                    <a:pt x="32" y="51"/>
                  </a:cubicBezTo>
                  <a:cubicBezTo>
                    <a:pt x="46" y="59"/>
                    <a:pt x="72" y="59"/>
                    <a:pt x="87" y="51"/>
                  </a:cubicBezTo>
                  <a:cubicBezTo>
                    <a:pt x="91" y="48"/>
                    <a:pt x="94" y="45"/>
                    <a:pt x="94" y="42"/>
                  </a:cubicBezTo>
                  <a:cubicBezTo>
                    <a:pt x="94" y="39"/>
                    <a:pt x="91" y="36"/>
                    <a:pt x="87" y="33"/>
                  </a:cubicBezTo>
                  <a:cubicBezTo>
                    <a:pt x="79" y="29"/>
                    <a:pt x="69" y="27"/>
                    <a:pt x="59" y="27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0" name="Freeform 2240">
              <a:extLst>
                <a:ext uri="{FF2B5EF4-FFF2-40B4-BE49-F238E27FC236}">
                  <a16:creationId xmlns:a16="http://schemas.microsoft.com/office/drawing/2014/main" id="{D5F6488D-0B99-41E3-A80B-7CA2B80D88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98" y="3663"/>
              <a:ext cx="122" cy="76"/>
            </a:xfrm>
            <a:custGeom>
              <a:avLst/>
              <a:gdLst>
                <a:gd name="T0" fmla="*/ 220 w 442"/>
                <a:gd name="T1" fmla="*/ 277 h 277"/>
                <a:gd name="T2" fmla="*/ 67 w 442"/>
                <a:gd name="T3" fmla="*/ 240 h 277"/>
                <a:gd name="T4" fmla="*/ 0 w 442"/>
                <a:gd name="T5" fmla="*/ 144 h 277"/>
                <a:gd name="T6" fmla="*/ 67 w 442"/>
                <a:gd name="T7" fmla="*/ 49 h 277"/>
                <a:gd name="T8" fmla="*/ 374 w 442"/>
                <a:gd name="T9" fmla="*/ 49 h 277"/>
                <a:gd name="T10" fmla="*/ 441 w 442"/>
                <a:gd name="T11" fmla="*/ 146 h 277"/>
                <a:gd name="T12" fmla="*/ 374 w 442"/>
                <a:gd name="T13" fmla="*/ 240 h 277"/>
                <a:gd name="T14" fmla="*/ 223 w 442"/>
                <a:gd name="T15" fmla="*/ 277 h 277"/>
                <a:gd name="T16" fmla="*/ 220 w 442"/>
                <a:gd name="T17" fmla="*/ 277 h 277"/>
                <a:gd name="T18" fmla="*/ 220 w 442"/>
                <a:gd name="T19" fmla="*/ 36 h 277"/>
                <a:gd name="T20" fmla="*/ 79 w 442"/>
                <a:gd name="T21" fmla="*/ 70 h 277"/>
                <a:gd name="T22" fmla="*/ 24 w 442"/>
                <a:gd name="T23" fmla="*/ 144 h 277"/>
                <a:gd name="T24" fmla="*/ 79 w 442"/>
                <a:gd name="T25" fmla="*/ 219 h 277"/>
                <a:gd name="T26" fmla="*/ 223 w 442"/>
                <a:gd name="T27" fmla="*/ 253 h 277"/>
                <a:gd name="T28" fmla="*/ 362 w 442"/>
                <a:gd name="T29" fmla="*/ 219 h 277"/>
                <a:gd name="T30" fmla="*/ 417 w 442"/>
                <a:gd name="T31" fmla="*/ 146 h 277"/>
                <a:gd name="T32" fmla="*/ 362 w 442"/>
                <a:gd name="T33" fmla="*/ 70 h 277"/>
                <a:gd name="T34" fmla="*/ 220 w 442"/>
                <a:gd name="T35" fmla="*/ 3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2" h="277">
                  <a:moveTo>
                    <a:pt x="220" y="277"/>
                  </a:moveTo>
                  <a:cubicBezTo>
                    <a:pt x="163" y="277"/>
                    <a:pt x="108" y="264"/>
                    <a:pt x="67" y="240"/>
                  </a:cubicBezTo>
                  <a:cubicBezTo>
                    <a:pt x="24" y="215"/>
                    <a:pt x="0" y="181"/>
                    <a:pt x="0" y="144"/>
                  </a:cubicBezTo>
                  <a:cubicBezTo>
                    <a:pt x="0" y="108"/>
                    <a:pt x="24" y="74"/>
                    <a:pt x="67" y="49"/>
                  </a:cubicBezTo>
                  <a:cubicBezTo>
                    <a:pt x="152" y="0"/>
                    <a:pt x="289" y="0"/>
                    <a:pt x="374" y="49"/>
                  </a:cubicBezTo>
                  <a:cubicBezTo>
                    <a:pt x="418" y="74"/>
                    <a:pt x="442" y="109"/>
                    <a:pt x="441" y="146"/>
                  </a:cubicBezTo>
                  <a:cubicBezTo>
                    <a:pt x="440" y="182"/>
                    <a:pt x="416" y="215"/>
                    <a:pt x="374" y="240"/>
                  </a:cubicBezTo>
                  <a:cubicBezTo>
                    <a:pt x="333" y="263"/>
                    <a:pt x="280" y="276"/>
                    <a:pt x="223" y="277"/>
                  </a:cubicBezTo>
                  <a:cubicBezTo>
                    <a:pt x="222" y="277"/>
                    <a:pt x="221" y="277"/>
                    <a:pt x="220" y="277"/>
                  </a:cubicBezTo>
                  <a:close/>
                  <a:moveTo>
                    <a:pt x="220" y="36"/>
                  </a:moveTo>
                  <a:cubicBezTo>
                    <a:pt x="169" y="36"/>
                    <a:pt x="118" y="47"/>
                    <a:pt x="79" y="70"/>
                  </a:cubicBezTo>
                  <a:cubicBezTo>
                    <a:pt x="43" y="90"/>
                    <a:pt x="24" y="117"/>
                    <a:pt x="24" y="144"/>
                  </a:cubicBezTo>
                  <a:cubicBezTo>
                    <a:pt x="24" y="172"/>
                    <a:pt x="43" y="199"/>
                    <a:pt x="79" y="219"/>
                  </a:cubicBezTo>
                  <a:cubicBezTo>
                    <a:pt x="117" y="241"/>
                    <a:pt x="169" y="253"/>
                    <a:pt x="223" y="253"/>
                  </a:cubicBezTo>
                  <a:cubicBezTo>
                    <a:pt x="276" y="252"/>
                    <a:pt x="325" y="240"/>
                    <a:pt x="362" y="219"/>
                  </a:cubicBezTo>
                  <a:cubicBezTo>
                    <a:pt x="397" y="199"/>
                    <a:pt x="416" y="173"/>
                    <a:pt x="417" y="146"/>
                  </a:cubicBezTo>
                  <a:cubicBezTo>
                    <a:pt x="418" y="118"/>
                    <a:pt x="398" y="91"/>
                    <a:pt x="362" y="70"/>
                  </a:cubicBezTo>
                  <a:cubicBezTo>
                    <a:pt x="323" y="47"/>
                    <a:pt x="272" y="36"/>
                    <a:pt x="220" y="3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1" name="Freeform 2241">
              <a:extLst>
                <a:ext uri="{FF2B5EF4-FFF2-40B4-BE49-F238E27FC236}">
                  <a16:creationId xmlns:a16="http://schemas.microsoft.com/office/drawing/2014/main" id="{7AA982D2-D8B2-4AB0-B780-F15B0DAAD9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0" y="3689"/>
              <a:ext cx="35" cy="24"/>
            </a:xfrm>
            <a:custGeom>
              <a:avLst/>
              <a:gdLst>
                <a:gd name="T0" fmla="*/ 62 w 125"/>
                <a:gd name="T1" fmla="*/ 84 h 84"/>
                <a:gd name="T2" fmla="*/ 21 w 125"/>
                <a:gd name="T3" fmla="*/ 74 h 84"/>
                <a:gd name="T4" fmla="*/ 0 w 125"/>
                <a:gd name="T5" fmla="*/ 44 h 84"/>
                <a:gd name="T6" fmla="*/ 21 w 125"/>
                <a:gd name="T7" fmla="*/ 13 h 84"/>
                <a:gd name="T8" fmla="*/ 102 w 125"/>
                <a:gd name="T9" fmla="*/ 13 h 84"/>
                <a:gd name="T10" fmla="*/ 122 w 125"/>
                <a:gd name="T11" fmla="*/ 51 h 84"/>
                <a:gd name="T12" fmla="*/ 122 w 125"/>
                <a:gd name="T13" fmla="*/ 51 h 84"/>
                <a:gd name="T14" fmla="*/ 102 w 125"/>
                <a:gd name="T15" fmla="*/ 74 h 84"/>
                <a:gd name="T16" fmla="*/ 70 w 125"/>
                <a:gd name="T17" fmla="*/ 84 h 84"/>
                <a:gd name="T18" fmla="*/ 62 w 125"/>
                <a:gd name="T19" fmla="*/ 84 h 84"/>
                <a:gd name="T20" fmla="*/ 62 w 125"/>
                <a:gd name="T21" fmla="*/ 27 h 84"/>
                <a:gd name="T22" fmla="*/ 33 w 125"/>
                <a:gd name="T23" fmla="*/ 34 h 84"/>
                <a:gd name="T24" fmla="*/ 24 w 125"/>
                <a:gd name="T25" fmla="*/ 44 h 84"/>
                <a:gd name="T26" fmla="*/ 33 w 125"/>
                <a:gd name="T27" fmla="*/ 54 h 84"/>
                <a:gd name="T28" fmla="*/ 68 w 125"/>
                <a:gd name="T29" fmla="*/ 60 h 84"/>
                <a:gd name="T30" fmla="*/ 90 w 125"/>
                <a:gd name="T31" fmla="*/ 54 h 84"/>
                <a:gd name="T32" fmla="*/ 98 w 125"/>
                <a:gd name="T33" fmla="*/ 45 h 84"/>
                <a:gd name="T34" fmla="*/ 90 w 125"/>
                <a:gd name="T35" fmla="*/ 34 h 84"/>
                <a:gd name="T36" fmla="*/ 62 w 125"/>
                <a:gd name="T37" fmla="*/ 27 h 84"/>
                <a:gd name="T38" fmla="*/ 110 w 125"/>
                <a:gd name="T39" fmla="*/ 48 h 84"/>
                <a:gd name="T40" fmla="*/ 110 w 125"/>
                <a:gd name="T41" fmla="*/ 4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5" h="84">
                  <a:moveTo>
                    <a:pt x="62" y="84"/>
                  </a:moveTo>
                  <a:cubicBezTo>
                    <a:pt x="46" y="84"/>
                    <a:pt x="32" y="81"/>
                    <a:pt x="21" y="74"/>
                  </a:cubicBezTo>
                  <a:cubicBezTo>
                    <a:pt x="8" y="67"/>
                    <a:pt x="0" y="56"/>
                    <a:pt x="0" y="44"/>
                  </a:cubicBezTo>
                  <a:cubicBezTo>
                    <a:pt x="0" y="32"/>
                    <a:pt x="8" y="21"/>
                    <a:pt x="21" y="13"/>
                  </a:cubicBezTo>
                  <a:cubicBezTo>
                    <a:pt x="44" y="0"/>
                    <a:pt x="80" y="0"/>
                    <a:pt x="102" y="13"/>
                  </a:cubicBezTo>
                  <a:cubicBezTo>
                    <a:pt x="118" y="22"/>
                    <a:pt x="125" y="37"/>
                    <a:pt x="122" y="51"/>
                  </a:cubicBezTo>
                  <a:cubicBezTo>
                    <a:pt x="122" y="51"/>
                    <a:pt x="122" y="51"/>
                    <a:pt x="122" y="51"/>
                  </a:cubicBezTo>
                  <a:cubicBezTo>
                    <a:pt x="119" y="60"/>
                    <a:pt x="113" y="68"/>
                    <a:pt x="102" y="74"/>
                  </a:cubicBezTo>
                  <a:cubicBezTo>
                    <a:pt x="93" y="79"/>
                    <a:pt x="82" y="83"/>
                    <a:pt x="70" y="84"/>
                  </a:cubicBezTo>
                  <a:cubicBezTo>
                    <a:pt x="67" y="84"/>
                    <a:pt x="64" y="84"/>
                    <a:pt x="62" y="84"/>
                  </a:cubicBezTo>
                  <a:close/>
                  <a:moveTo>
                    <a:pt x="62" y="27"/>
                  </a:moveTo>
                  <a:cubicBezTo>
                    <a:pt x="51" y="27"/>
                    <a:pt x="41" y="30"/>
                    <a:pt x="33" y="34"/>
                  </a:cubicBezTo>
                  <a:cubicBezTo>
                    <a:pt x="28" y="37"/>
                    <a:pt x="24" y="41"/>
                    <a:pt x="24" y="44"/>
                  </a:cubicBezTo>
                  <a:cubicBezTo>
                    <a:pt x="24" y="47"/>
                    <a:pt x="28" y="51"/>
                    <a:pt x="33" y="54"/>
                  </a:cubicBezTo>
                  <a:cubicBezTo>
                    <a:pt x="42" y="59"/>
                    <a:pt x="55" y="61"/>
                    <a:pt x="68" y="60"/>
                  </a:cubicBezTo>
                  <a:cubicBezTo>
                    <a:pt x="77" y="59"/>
                    <a:pt x="84" y="57"/>
                    <a:pt x="90" y="54"/>
                  </a:cubicBezTo>
                  <a:cubicBezTo>
                    <a:pt x="95" y="51"/>
                    <a:pt x="98" y="48"/>
                    <a:pt x="98" y="45"/>
                  </a:cubicBezTo>
                  <a:cubicBezTo>
                    <a:pt x="100" y="40"/>
                    <a:pt x="93" y="35"/>
                    <a:pt x="90" y="34"/>
                  </a:cubicBezTo>
                  <a:cubicBezTo>
                    <a:pt x="83" y="30"/>
                    <a:pt x="72" y="27"/>
                    <a:pt x="62" y="27"/>
                  </a:cubicBezTo>
                  <a:close/>
                  <a:moveTo>
                    <a:pt x="110" y="48"/>
                  </a:moveTo>
                  <a:cubicBezTo>
                    <a:pt x="110" y="48"/>
                    <a:pt x="110" y="48"/>
                    <a:pt x="110" y="48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2" name="Freeform 2242">
              <a:extLst>
                <a:ext uri="{FF2B5EF4-FFF2-40B4-BE49-F238E27FC236}">
                  <a16:creationId xmlns:a16="http://schemas.microsoft.com/office/drawing/2014/main" id="{D964BF9B-EDE7-46E5-98C5-86EB04852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1" y="3705"/>
              <a:ext cx="13" cy="34"/>
            </a:xfrm>
            <a:custGeom>
              <a:avLst/>
              <a:gdLst>
                <a:gd name="T0" fmla="*/ 33 w 47"/>
                <a:gd name="T1" fmla="*/ 123 h 123"/>
                <a:gd name="T2" fmla="*/ 23 w 47"/>
                <a:gd name="T3" fmla="*/ 116 h 123"/>
                <a:gd name="T4" fmla="*/ 19 w 47"/>
                <a:gd name="T5" fmla="*/ 9 h 123"/>
                <a:gd name="T6" fmla="*/ 35 w 47"/>
                <a:gd name="T7" fmla="*/ 3 h 123"/>
                <a:gd name="T8" fmla="*/ 41 w 47"/>
                <a:gd name="T9" fmla="*/ 18 h 123"/>
                <a:gd name="T10" fmla="*/ 44 w 47"/>
                <a:gd name="T11" fmla="*/ 105 h 123"/>
                <a:gd name="T12" fmla="*/ 39 w 47"/>
                <a:gd name="T13" fmla="*/ 121 h 123"/>
                <a:gd name="T14" fmla="*/ 33 w 47"/>
                <a:gd name="T15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123">
                  <a:moveTo>
                    <a:pt x="33" y="123"/>
                  </a:moveTo>
                  <a:cubicBezTo>
                    <a:pt x="29" y="123"/>
                    <a:pt x="25" y="120"/>
                    <a:pt x="23" y="116"/>
                  </a:cubicBezTo>
                  <a:cubicBezTo>
                    <a:pt x="0" y="71"/>
                    <a:pt x="11" y="30"/>
                    <a:pt x="19" y="9"/>
                  </a:cubicBezTo>
                  <a:cubicBezTo>
                    <a:pt x="21" y="3"/>
                    <a:pt x="28" y="0"/>
                    <a:pt x="35" y="3"/>
                  </a:cubicBezTo>
                  <a:cubicBezTo>
                    <a:pt x="41" y="5"/>
                    <a:pt x="44" y="12"/>
                    <a:pt x="41" y="18"/>
                  </a:cubicBezTo>
                  <a:cubicBezTo>
                    <a:pt x="34" y="35"/>
                    <a:pt x="25" y="69"/>
                    <a:pt x="44" y="105"/>
                  </a:cubicBezTo>
                  <a:cubicBezTo>
                    <a:pt x="47" y="111"/>
                    <a:pt x="45" y="118"/>
                    <a:pt x="39" y="121"/>
                  </a:cubicBezTo>
                  <a:cubicBezTo>
                    <a:pt x="37" y="122"/>
                    <a:pt x="35" y="123"/>
                    <a:pt x="33" y="12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3" name="Freeform 2243">
              <a:extLst>
                <a:ext uri="{FF2B5EF4-FFF2-40B4-BE49-F238E27FC236}">
                  <a16:creationId xmlns:a16="http://schemas.microsoft.com/office/drawing/2014/main" id="{77AD8CEA-A9DD-4776-992E-5935EB18F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7" y="3696"/>
              <a:ext cx="53" cy="10"/>
            </a:xfrm>
            <a:custGeom>
              <a:avLst/>
              <a:gdLst>
                <a:gd name="T0" fmla="*/ 181 w 194"/>
                <a:gd name="T1" fmla="*/ 36 h 36"/>
                <a:gd name="T2" fmla="*/ 179 w 194"/>
                <a:gd name="T3" fmla="*/ 36 h 36"/>
                <a:gd name="T4" fmla="*/ 15 w 194"/>
                <a:gd name="T5" fmla="*/ 34 h 36"/>
                <a:gd name="T6" fmla="*/ 1 w 194"/>
                <a:gd name="T7" fmla="*/ 24 h 36"/>
                <a:gd name="T8" fmla="*/ 12 w 194"/>
                <a:gd name="T9" fmla="*/ 10 h 36"/>
                <a:gd name="T10" fmla="*/ 183 w 194"/>
                <a:gd name="T11" fmla="*/ 12 h 36"/>
                <a:gd name="T12" fmla="*/ 193 w 194"/>
                <a:gd name="T13" fmla="*/ 26 h 36"/>
                <a:gd name="T14" fmla="*/ 181 w 194"/>
                <a:gd name="T1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4" h="36">
                  <a:moveTo>
                    <a:pt x="181" y="36"/>
                  </a:moveTo>
                  <a:cubicBezTo>
                    <a:pt x="180" y="36"/>
                    <a:pt x="180" y="36"/>
                    <a:pt x="179" y="36"/>
                  </a:cubicBezTo>
                  <a:cubicBezTo>
                    <a:pt x="110" y="24"/>
                    <a:pt x="47" y="30"/>
                    <a:pt x="15" y="34"/>
                  </a:cubicBezTo>
                  <a:cubicBezTo>
                    <a:pt x="8" y="35"/>
                    <a:pt x="2" y="30"/>
                    <a:pt x="1" y="24"/>
                  </a:cubicBezTo>
                  <a:cubicBezTo>
                    <a:pt x="0" y="17"/>
                    <a:pt x="5" y="11"/>
                    <a:pt x="12" y="10"/>
                  </a:cubicBezTo>
                  <a:cubicBezTo>
                    <a:pt x="45" y="6"/>
                    <a:pt x="111" y="0"/>
                    <a:pt x="183" y="12"/>
                  </a:cubicBezTo>
                  <a:cubicBezTo>
                    <a:pt x="189" y="13"/>
                    <a:pt x="194" y="19"/>
                    <a:pt x="193" y="26"/>
                  </a:cubicBezTo>
                  <a:cubicBezTo>
                    <a:pt x="192" y="32"/>
                    <a:pt x="187" y="36"/>
                    <a:pt x="181" y="3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4" name="Freeform 2244">
              <a:extLst>
                <a:ext uri="{FF2B5EF4-FFF2-40B4-BE49-F238E27FC236}">
                  <a16:creationId xmlns:a16="http://schemas.microsoft.com/office/drawing/2014/main" id="{516F664B-A534-4F65-A2B6-BDC9609D1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4" y="3614"/>
              <a:ext cx="64" cy="40"/>
            </a:xfrm>
            <a:custGeom>
              <a:avLst/>
              <a:gdLst>
                <a:gd name="T0" fmla="*/ 14 w 232"/>
                <a:gd name="T1" fmla="*/ 144 h 144"/>
                <a:gd name="T2" fmla="*/ 3 w 232"/>
                <a:gd name="T3" fmla="*/ 138 h 144"/>
                <a:gd name="T4" fmla="*/ 8 w 232"/>
                <a:gd name="T5" fmla="*/ 121 h 144"/>
                <a:gd name="T6" fmla="*/ 212 w 232"/>
                <a:gd name="T7" fmla="*/ 3 h 144"/>
                <a:gd name="T8" fmla="*/ 229 w 232"/>
                <a:gd name="T9" fmla="*/ 7 h 144"/>
                <a:gd name="T10" fmla="*/ 224 w 232"/>
                <a:gd name="T11" fmla="*/ 24 h 144"/>
                <a:gd name="T12" fmla="*/ 20 w 232"/>
                <a:gd name="T13" fmla="*/ 142 h 144"/>
                <a:gd name="T14" fmla="*/ 14 w 232"/>
                <a:gd name="T15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2" h="144">
                  <a:moveTo>
                    <a:pt x="14" y="144"/>
                  </a:moveTo>
                  <a:cubicBezTo>
                    <a:pt x="9" y="144"/>
                    <a:pt x="5" y="142"/>
                    <a:pt x="3" y="138"/>
                  </a:cubicBezTo>
                  <a:cubicBezTo>
                    <a:pt x="0" y="132"/>
                    <a:pt x="2" y="125"/>
                    <a:pt x="8" y="121"/>
                  </a:cubicBezTo>
                  <a:cubicBezTo>
                    <a:pt x="212" y="3"/>
                    <a:pt x="212" y="3"/>
                    <a:pt x="212" y="3"/>
                  </a:cubicBezTo>
                  <a:cubicBezTo>
                    <a:pt x="218" y="0"/>
                    <a:pt x="226" y="2"/>
                    <a:pt x="229" y="7"/>
                  </a:cubicBezTo>
                  <a:cubicBezTo>
                    <a:pt x="232" y="13"/>
                    <a:pt x="230" y="21"/>
                    <a:pt x="224" y="24"/>
                  </a:cubicBezTo>
                  <a:cubicBezTo>
                    <a:pt x="20" y="142"/>
                    <a:pt x="20" y="142"/>
                    <a:pt x="20" y="142"/>
                  </a:cubicBezTo>
                  <a:cubicBezTo>
                    <a:pt x="18" y="143"/>
                    <a:pt x="16" y="144"/>
                    <a:pt x="14" y="14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5" name="Freeform 2245">
              <a:extLst>
                <a:ext uri="{FF2B5EF4-FFF2-40B4-BE49-F238E27FC236}">
                  <a16:creationId xmlns:a16="http://schemas.microsoft.com/office/drawing/2014/main" id="{C64FF5BC-CDDF-4507-9D0C-2B8CF8F7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1" y="3636"/>
              <a:ext cx="44" cy="28"/>
            </a:xfrm>
            <a:custGeom>
              <a:avLst/>
              <a:gdLst>
                <a:gd name="T0" fmla="*/ 14 w 157"/>
                <a:gd name="T1" fmla="*/ 101 h 101"/>
                <a:gd name="T2" fmla="*/ 3 w 157"/>
                <a:gd name="T3" fmla="*/ 95 h 101"/>
                <a:gd name="T4" fmla="*/ 8 w 157"/>
                <a:gd name="T5" fmla="*/ 78 h 101"/>
                <a:gd name="T6" fmla="*/ 137 w 157"/>
                <a:gd name="T7" fmla="*/ 4 h 101"/>
                <a:gd name="T8" fmla="*/ 153 w 157"/>
                <a:gd name="T9" fmla="*/ 8 h 101"/>
                <a:gd name="T10" fmla="*/ 149 w 157"/>
                <a:gd name="T11" fmla="*/ 25 h 101"/>
                <a:gd name="T12" fmla="*/ 20 w 157"/>
                <a:gd name="T13" fmla="*/ 99 h 101"/>
                <a:gd name="T14" fmla="*/ 14 w 157"/>
                <a:gd name="T1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7" h="101">
                  <a:moveTo>
                    <a:pt x="14" y="101"/>
                  </a:moveTo>
                  <a:cubicBezTo>
                    <a:pt x="10" y="101"/>
                    <a:pt x="6" y="99"/>
                    <a:pt x="3" y="95"/>
                  </a:cubicBezTo>
                  <a:cubicBezTo>
                    <a:pt x="0" y="89"/>
                    <a:pt x="2" y="82"/>
                    <a:pt x="8" y="78"/>
                  </a:cubicBezTo>
                  <a:cubicBezTo>
                    <a:pt x="137" y="4"/>
                    <a:pt x="137" y="4"/>
                    <a:pt x="137" y="4"/>
                  </a:cubicBezTo>
                  <a:cubicBezTo>
                    <a:pt x="143" y="0"/>
                    <a:pt x="150" y="2"/>
                    <a:pt x="153" y="8"/>
                  </a:cubicBezTo>
                  <a:cubicBezTo>
                    <a:pt x="157" y="14"/>
                    <a:pt x="155" y="21"/>
                    <a:pt x="149" y="25"/>
                  </a:cubicBezTo>
                  <a:cubicBezTo>
                    <a:pt x="20" y="99"/>
                    <a:pt x="20" y="99"/>
                    <a:pt x="20" y="99"/>
                  </a:cubicBezTo>
                  <a:cubicBezTo>
                    <a:pt x="18" y="100"/>
                    <a:pt x="16" y="101"/>
                    <a:pt x="14" y="10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6" name="Freeform 2246">
              <a:extLst>
                <a:ext uri="{FF2B5EF4-FFF2-40B4-BE49-F238E27FC236}">
                  <a16:creationId xmlns:a16="http://schemas.microsoft.com/office/drawing/2014/main" id="{88CEE5B0-AE1B-458F-A12F-1C954F35C8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9" y="3624"/>
              <a:ext cx="17" cy="13"/>
            </a:xfrm>
            <a:custGeom>
              <a:avLst/>
              <a:gdLst>
                <a:gd name="T0" fmla="*/ 13 w 61"/>
                <a:gd name="T1" fmla="*/ 45 h 45"/>
                <a:gd name="T2" fmla="*/ 3 w 61"/>
                <a:gd name="T3" fmla="*/ 39 h 45"/>
                <a:gd name="T4" fmla="*/ 7 w 61"/>
                <a:gd name="T5" fmla="*/ 22 h 45"/>
                <a:gd name="T6" fmla="*/ 41 w 61"/>
                <a:gd name="T7" fmla="*/ 3 h 45"/>
                <a:gd name="T8" fmla="*/ 57 w 61"/>
                <a:gd name="T9" fmla="*/ 7 h 45"/>
                <a:gd name="T10" fmla="*/ 53 w 61"/>
                <a:gd name="T11" fmla="*/ 24 h 45"/>
                <a:gd name="T12" fmla="*/ 19 w 61"/>
                <a:gd name="T13" fmla="*/ 43 h 45"/>
                <a:gd name="T14" fmla="*/ 13 w 61"/>
                <a:gd name="T1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45">
                  <a:moveTo>
                    <a:pt x="13" y="45"/>
                  </a:moveTo>
                  <a:cubicBezTo>
                    <a:pt x="9" y="45"/>
                    <a:pt x="5" y="43"/>
                    <a:pt x="3" y="39"/>
                  </a:cubicBezTo>
                  <a:cubicBezTo>
                    <a:pt x="0" y="33"/>
                    <a:pt x="2" y="26"/>
                    <a:pt x="7" y="22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7" y="0"/>
                    <a:pt x="54" y="2"/>
                    <a:pt x="57" y="7"/>
                  </a:cubicBezTo>
                  <a:cubicBezTo>
                    <a:pt x="61" y="13"/>
                    <a:pt x="59" y="21"/>
                    <a:pt x="53" y="24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7" y="44"/>
                    <a:pt x="15" y="45"/>
                    <a:pt x="13" y="45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7" name="Freeform 2247">
              <a:extLst>
                <a:ext uri="{FF2B5EF4-FFF2-40B4-BE49-F238E27FC236}">
                  <a16:creationId xmlns:a16="http://schemas.microsoft.com/office/drawing/2014/main" id="{12C10176-AF5C-4696-841E-1BC316B8D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9" y="3634"/>
              <a:ext cx="64" cy="40"/>
            </a:xfrm>
            <a:custGeom>
              <a:avLst/>
              <a:gdLst>
                <a:gd name="T0" fmla="*/ 13 w 232"/>
                <a:gd name="T1" fmla="*/ 144 h 144"/>
                <a:gd name="T2" fmla="*/ 3 w 232"/>
                <a:gd name="T3" fmla="*/ 138 h 144"/>
                <a:gd name="T4" fmla="*/ 7 w 232"/>
                <a:gd name="T5" fmla="*/ 121 h 144"/>
                <a:gd name="T6" fmla="*/ 212 w 232"/>
                <a:gd name="T7" fmla="*/ 3 h 144"/>
                <a:gd name="T8" fmla="*/ 229 w 232"/>
                <a:gd name="T9" fmla="*/ 7 h 144"/>
                <a:gd name="T10" fmla="*/ 224 w 232"/>
                <a:gd name="T11" fmla="*/ 24 h 144"/>
                <a:gd name="T12" fmla="*/ 19 w 232"/>
                <a:gd name="T13" fmla="*/ 142 h 144"/>
                <a:gd name="T14" fmla="*/ 13 w 232"/>
                <a:gd name="T15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2" h="144">
                  <a:moveTo>
                    <a:pt x="13" y="144"/>
                  </a:moveTo>
                  <a:cubicBezTo>
                    <a:pt x="9" y="144"/>
                    <a:pt x="5" y="142"/>
                    <a:pt x="3" y="138"/>
                  </a:cubicBezTo>
                  <a:cubicBezTo>
                    <a:pt x="0" y="132"/>
                    <a:pt x="2" y="125"/>
                    <a:pt x="7" y="121"/>
                  </a:cubicBezTo>
                  <a:cubicBezTo>
                    <a:pt x="212" y="3"/>
                    <a:pt x="212" y="3"/>
                    <a:pt x="212" y="3"/>
                  </a:cubicBezTo>
                  <a:cubicBezTo>
                    <a:pt x="218" y="0"/>
                    <a:pt x="225" y="2"/>
                    <a:pt x="229" y="7"/>
                  </a:cubicBezTo>
                  <a:cubicBezTo>
                    <a:pt x="232" y="13"/>
                    <a:pt x="230" y="21"/>
                    <a:pt x="224" y="24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17" y="143"/>
                    <a:pt x="15" y="144"/>
                    <a:pt x="13" y="14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8" name="Freeform 2248">
              <a:extLst>
                <a:ext uri="{FF2B5EF4-FFF2-40B4-BE49-F238E27FC236}">
                  <a16:creationId xmlns:a16="http://schemas.microsoft.com/office/drawing/2014/main" id="{D764F9FC-3C04-4E79-B649-F28162EB2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6" y="3666"/>
              <a:ext cx="25" cy="18"/>
            </a:xfrm>
            <a:custGeom>
              <a:avLst/>
              <a:gdLst>
                <a:gd name="T0" fmla="*/ 14 w 92"/>
                <a:gd name="T1" fmla="*/ 63 h 63"/>
                <a:gd name="T2" fmla="*/ 3 w 92"/>
                <a:gd name="T3" fmla="*/ 57 h 63"/>
                <a:gd name="T4" fmla="*/ 8 w 92"/>
                <a:gd name="T5" fmla="*/ 40 h 63"/>
                <a:gd name="T6" fmla="*/ 72 w 92"/>
                <a:gd name="T7" fmla="*/ 3 h 63"/>
                <a:gd name="T8" fmla="*/ 88 w 92"/>
                <a:gd name="T9" fmla="*/ 8 h 63"/>
                <a:gd name="T10" fmla="*/ 84 w 92"/>
                <a:gd name="T11" fmla="*/ 24 h 63"/>
                <a:gd name="T12" fmla="*/ 20 w 92"/>
                <a:gd name="T13" fmla="*/ 61 h 63"/>
                <a:gd name="T14" fmla="*/ 14 w 92"/>
                <a:gd name="T1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63">
                  <a:moveTo>
                    <a:pt x="14" y="63"/>
                  </a:moveTo>
                  <a:cubicBezTo>
                    <a:pt x="9" y="63"/>
                    <a:pt x="5" y="61"/>
                    <a:pt x="3" y="57"/>
                  </a:cubicBezTo>
                  <a:cubicBezTo>
                    <a:pt x="0" y="51"/>
                    <a:pt x="2" y="44"/>
                    <a:pt x="8" y="40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8" y="0"/>
                    <a:pt x="85" y="2"/>
                    <a:pt x="88" y="8"/>
                  </a:cubicBezTo>
                  <a:cubicBezTo>
                    <a:pt x="92" y="13"/>
                    <a:pt x="90" y="21"/>
                    <a:pt x="84" y="24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18" y="62"/>
                    <a:pt x="16" y="63"/>
                    <a:pt x="14" y="6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9" name="Freeform 2249">
              <a:extLst>
                <a:ext uri="{FF2B5EF4-FFF2-40B4-BE49-F238E27FC236}">
                  <a16:creationId xmlns:a16="http://schemas.microsoft.com/office/drawing/2014/main" id="{E71479B0-49A2-494E-83B4-E6AE80171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3" y="3644"/>
              <a:ext cx="37" cy="24"/>
            </a:xfrm>
            <a:custGeom>
              <a:avLst/>
              <a:gdLst>
                <a:gd name="T0" fmla="*/ 14 w 133"/>
                <a:gd name="T1" fmla="*/ 86 h 86"/>
                <a:gd name="T2" fmla="*/ 4 w 133"/>
                <a:gd name="T3" fmla="*/ 80 h 86"/>
                <a:gd name="T4" fmla="*/ 8 w 133"/>
                <a:gd name="T5" fmla="*/ 64 h 86"/>
                <a:gd name="T6" fmla="*/ 114 w 133"/>
                <a:gd name="T7" fmla="*/ 3 h 86"/>
                <a:gd name="T8" fmla="*/ 130 w 133"/>
                <a:gd name="T9" fmla="*/ 7 h 86"/>
                <a:gd name="T10" fmla="*/ 126 w 133"/>
                <a:gd name="T11" fmla="*/ 24 h 86"/>
                <a:gd name="T12" fmla="*/ 20 w 133"/>
                <a:gd name="T13" fmla="*/ 85 h 86"/>
                <a:gd name="T14" fmla="*/ 14 w 133"/>
                <a:gd name="T1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86">
                  <a:moveTo>
                    <a:pt x="14" y="86"/>
                  </a:moveTo>
                  <a:cubicBezTo>
                    <a:pt x="10" y="86"/>
                    <a:pt x="6" y="84"/>
                    <a:pt x="4" y="80"/>
                  </a:cubicBezTo>
                  <a:cubicBezTo>
                    <a:pt x="0" y="75"/>
                    <a:pt x="2" y="67"/>
                    <a:pt x="8" y="6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9" y="0"/>
                    <a:pt x="127" y="2"/>
                    <a:pt x="130" y="7"/>
                  </a:cubicBezTo>
                  <a:cubicBezTo>
                    <a:pt x="133" y="13"/>
                    <a:pt x="131" y="21"/>
                    <a:pt x="126" y="24"/>
                  </a:cubicBezTo>
                  <a:cubicBezTo>
                    <a:pt x="20" y="85"/>
                    <a:pt x="20" y="85"/>
                    <a:pt x="20" y="85"/>
                  </a:cubicBezTo>
                  <a:cubicBezTo>
                    <a:pt x="18" y="86"/>
                    <a:pt x="16" y="86"/>
                    <a:pt x="14" y="8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0" name="Freeform 2250">
              <a:extLst>
                <a:ext uri="{FF2B5EF4-FFF2-40B4-BE49-F238E27FC236}">
                  <a16:creationId xmlns:a16="http://schemas.microsoft.com/office/drawing/2014/main" id="{C5744131-D58F-4DE6-8951-6EC515F763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5" y="3738"/>
              <a:ext cx="187" cy="142"/>
            </a:xfrm>
            <a:custGeom>
              <a:avLst/>
              <a:gdLst>
                <a:gd name="T0" fmla="*/ 654 w 676"/>
                <a:gd name="T1" fmla="*/ 74 h 514"/>
                <a:gd name="T2" fmla="*/ 676 w 676"/>
                <a:gd name="T3" fmla="*/ 150 h 514"/>
                <a:gd name="T4" fmla="*/ 653 w 676"/>
                <a:gd name="T5" fmla="*/ 201 h 514"/>
                <a:gd name="T6" fmla="*/ 112 w 676"/>
                <a:gd name="T7" fmla="*/ 514 h 514"/>
                <a:gd name="T8" fmla="*/ 135 w 676"/>
                <a:gd name="T9" fmla="*/ 463 h 514"/>
                <a:gd name="T10" fmla="*/ 112 w 676"/>
                <a:gd name="T11" fmla="*/ 386 h 514"/>
                <a:gd name="T12" fmla="*/ 56 w 676"/>
                <a:gd name="T13" fmla="*/ 326 h 514"/>
                <a:gd name="T14" fmla="*/ 0 w 676"/>
                <a:gd name="T15" fmla="*/ 321 h 514"/>
                <a:gd name="T16" fmla="*/ 541 w 676"/>
                <a:gd name="T17" fmla="*/ 8 h 514"/>
                <a:gd name="T18" fmla="*/ 597 w 676"/>
                <a:gd name="T19" fmla="*/ 14 h 514"/>
                <a:gd name="T20" fmla="*/ 654 w 676"/>
                <a:gd name="T21" fmla="*/ 7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6" h="514">
                  <a:moveTo>
                    <a:pt x="654" y="74"/>
                  </a:moveTo>
                  <a:cubicBezTo>
                    <a:pt x="667" y="98"/>
                    <a:pt x="676" y="126"/>
                    <a:pt x="676" y="150"/>
                  </a:cubicBezTo>
                  <a:cubicBezTo>
                    <a:pt x="676" y="175"/>
                    <a:pt x="667" y="193"/>
                    <a:pt x="653" y="201"/>
                  </a:cubicBezTo>
                  <a:cubicBezTo>
                    <a:pt x="112" y="514"/>
                    <a:pt x="112" y="514"/>
                    <a:pt x="112" y="514"/>
                  </a:cubicBezTo>
                  <a:cubicBezTo>
                    <a:pt x="126" y="505"/>
                    <a:pt x="135" y="488"/>
                    <a:pt x="135" y="463"/>
                  </a:cubicBezTo>
                  <a:cubicBezTo>
                    <a:pt x="135" y="438"/>
                    <a:pt x="126" y="411"/>
                    <a:pt x="112" y="386"/>
                  </a:cubicBezTo>
                  <a:cubicBezTo>
                    <a:pt x="98" y="361"/>
                    <a:pt x="78" y="339"/>
                    <a:pt x="56" y="326"/>
                  </a:cubicBezTo>
                  <a:cubicBezTo>
                    <a:pt x="34" y="314"/>
                    <a:pt x="15" y="312"/>
                    <a:pt x="0" y="321"/>
                  </a:cubicBezTo>
                  <a:cubicBezTo>
                    <a:pt x="541" y="8"/>
                    <a:pt x="541" y="8"/>
                    <a:pt x="541" y="8"/>
                  </a:cubicBezTo>
                  <a:cubicBezTo>
                    <a:pt x="556" y="0"/>
                    <a:pt x="575" y="1"/>
                    <a:pt x="597" y="14"/>
                  </a:cubicBezTo>
                  <a:cubicBezTo>
                    <a:pt x="619" y="27"/>
                    <a:pt x="639" y="49"/>
                    <a:pt x="654" y="74"/>
                  </a:cubicBezTo>
                  <a:close/>
                </a:path>
              </a:pathLst>
            </a:custGeom>
            <a:solidFill>
              <a:srgbClr val="C2C7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1" name="Freeform 2251">
              <a:extLst>
                <a:ext uri="{FF2B5EF4-FFF2-40B4-BE49-F238E27FC236}">
                  <a16:creationId xmlns:a16="http://schemas.microsoft.com/office/drawing/2014/main" id="{D80A5C01-CE19-45C4-860B-D42EAA0245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9" y="3824"/>
              <a:ext cx="44" cy="58"/>
            </a:xfrm>
            <a:custGeom>
              <a:avLst/>
              <a:gdLst>
                <a:gd name="T0" fmla="*/ 135 w 158"/>
                <a:gd name="T1" fmla="*/ 74 h 210"/>
                <a:gd name="T2" fmla="*/ 158 w 158"/>
                <a:gd name="T3" fmla="*/ 151 h 210"/>
                <a:gd name="T4" fmla="*/ 135 w 158"/>
                <a:gd name="T5" fmla="*/ 202 h 210"/>
                <a:gd name="T6" fmla="*/ 79 w 158"/>
                <a:gd name="T7" fmla="*/ 196 h 210"/>
                <a:gd name="T8" fmla="*/ 23 w 158"/>
                <a:gd name="T9" fmla="*/ 137 h 210"/>
                <a:gd name="T10" fmla="*/ 0 w 158"/>
                <a:gd name="T11" fmla="*/ 60 h 210"/>
                <a:gd name="T12" fmla="*/ 23 w 158"/>
                <a:gd name="T13" fmla="*/ 9 h 210"/>
                <a:gd name="T14" fmla="*/ 79 w 158"/>
                <a:gd name="T15" fmla="*/ 14 h 210"/>
                <a:gd name="T16" fmla="*/ 135 w 158"/>
                <a:gd name="T17" fmla="*/ 7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210">
                  <a:moveTo>
                    <a:pt x="135" y="74"/>
                  </a:moveTo>
                  <a:cubicBezTo>
                    <a:pt x="149" y="99"/>
                    <a:pt x="158" y="126"/>
                    <a:pt x="158" y="151"/>
                  </a:cubicBezTo>
                  <a:cubicBezTo>
                    <a:pt x="158" y="176"/>
                    <a:pt x="149" y="193"/>
                    <a:pt x="135" y="202"/>
                  </a:cubicBezTo>
                  <a:cubicBezTo>
                    <a:pt x="120" y="210"/>
                    <a:pt x="101" y="209"/>
                    <a:pt x="79" y="196"/>
                  </a:cubicBezTo>
                  <a:cubicBezTo>
                    <a:pt x="57" y="184"/>
                    <a:pt x="37" y="162"/>
                    <a:pt x="23" y="137"/>
                  </a:cubicBezTo>
                  <a:cubicBezTo>
                    <a:pt x="9" y="113"/>
                    <a:pt x="0" y="85"/>
                    <a:pt x="0" y="60"/>
                  </a:cubicBezTo>
                  <a:cubicBezTo>
                    <a:pt x="0" y="35"/>
                    <a:pt x="9" y="17"/>
                    <a:pt x="23" y="9"/>
                  </a:cubicBezTo>
                  <a:cubicBezTo>
                    <a:pt x="38" y="0"/>
                    <a:pt x="57" y="2"/>
                    <a:pt x="79" y="14"/>
                  </a:cubicBezTo>
                  <a:cubicBezTo>
                    <a:pt x="101" y="27"/>
                    <a:pt x="121" y="49"/>
                    <a:pt x="135" y="7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2" name="Freeform 2252">
              <a:extLst>
                <a:ext uri="{FF2B5EF4-FFF2-40B4-BE49-F238E27FC236}">
                  <a16:creationId xmlns:a16="http://schemas.microsoft.com/office/drawing/2014/main" id="{2FA5037C-95AB-44B7-94D9-CE72486988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6" y="3821"/>
              <a:ext cx="50" cy="64"/>
            </a:xfrm>
            <a:custGeom>
              <a:avLst/>
              <a:gdLst>
                <a:gd name="T0" fmla="*/ 126 w 182"/>
                <a:gd name="T1" fmla="*/ 232 h 232"/>
                <a:gd name="T2" fmla="*/ 85 w 182"/>
                <a:gd name="T3" fmla="*/ 220 h 232"/>
                <a:gd name="T4" fmla="*/ 25 w 182"/>
                <a:gd name="T5" fmla="*/ 156 h 232"/>
                <a:gd name="T6" fmla="*/ 0 w 182"/>
                <a:gd name="T7" fmla="*/ 73 h 232"/>
                <a:gd name="T8" fmla="*/ 29 w 182"/>
                <a:gd name="T9" fmla="*/ 11 h 232"/>
                <a:gd name="T10" fmla="*/ 97 w 182"/>
                <a:gd name="T11" fmla="*/ 17 h 232"/>
                <a:gd name="T12" fmla="*/ 158 w 182"/>
                <a:gd name="T13" fmla="*/ 81 h 232"/>
                <a:gd name="T14" fmla="*/ 182 w 182"/>
                <a:gd name="T15" fmla="*/ 164 h 232"/>
                <a:gd name="T16" fmla="*/ 153 w 182"/>
                <a:gd name="T17" fmla="*/ 225 h 232"/>
                <a:gd name="T18" fmla="*/ 126 w 182"/>
                <a:gd name="T19" fmla="*/ 232 h 232"/>
                <a:gd name="T20" fmla="*/ 56 w 182"/>
                <a:gd name="T21" fmla="*/ 28 h 232"/>
                <a:gd name="T22" fmla="*/ 41 w 182"/>
                <a:gd name="T23" fmla="*/ 32 h 232"/>
                <a:gd name="T24" fmla="*/ 24 w 182"/>
                <a:gd name="T25" fmla="*/ 73 h 232"/>
                <a:gd name="T26" fmla="*/ 46 w 182"/>
                <a:gd name="T27" fmla="*/ 144 h 232"/>
                <a:gd name="T28" fmla="*/ 97 w 182"/>
                <a:gd name="T29" fmla="*/ 199 h 232"/>
                <a:gd name="T30" fmla="*/ 141 w 182"/>
                <a:gd name="T31" fmla="*/ 204 h 232"/>
                <a:gd name="T32" fmla="*/ 158 w 182"/>
                <a:gd name="T33" fmla="*/ 164 h 232"/>
                <a:gd name="T34" fmla="*/ 137 w 182"/>
                <a:gd name="T35" fmla="*/ 93 h 232"/>
                <a:gd name="T36" fmla="*/ 85 w 182"/>
                <a:gd name="T37" fmla="*/ 38 h 232"/>
                <a:gd name="T38" fmla="*/ 56 w 182"/>
                <a:gd name="T39" fmla="*/ 28 h 232"/>
                <a:gd name="T40" fmla="*/ 35 w 182"/>
                <a:gd name="T41" fmla="*/ 22 h 232"/>
                <a:gd name="T42" fmla="*/ 35 w 182"/>
                <a:gd name="T43" fmla="*/ 2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2" h="232">
                  <a:moveTo>
                    <a:pt x="126" y="232"/>
                  </a:moveTo>
                  <a:cubicBezTo>
                    <a:pt x="113" y="232"/>
                    <a:pt x="99" y="228"/>
                    <a:pt x="85" y="220"/>
                  </a:cubicBezTo>
                  <a:cubicBezTo>
                    <a:pt x="62" y="206"/>
                    <a:pt x="41" y="184"/>
                    <a:pt x="25" y="156"/>
                  </a:cubicBezTo>
                  <a:cubicBezTo>
                    <a:pt x="9" y="129"/>
                    <a:pt x="0" y="99"/>
                    <a:pt x="0" y="73"/>
                  </a:cubicBezTo>
                  <a:cubicBezTo>
                    <a:pt x="0" y="44"/>
                    <a:pt x="10" y="22"/>
                    <a:pt x="29" y="11"/>
                  </a:cubicBezTo>
                  <a:cubicBezTo>
                    <a:pt x="48" y="0"/>
                    <a:pt x="72" y="2"/>
                    <a:pt x="97" y="17"/>
                  </a:cubicBezTo>
                  <a:cubicBezTo>
                    <a:pt x="120" y="30"/>
                    <a:pt x="142" y="53"/>
                    <a:pt x="158" y="81"/>
                  </a:cubicBezTo>
                  <a:cubicBezTo>
                    <a:pt x="173" y="109"/>
                    <a:pt x="182" y="138"/>
                    <a:pt x="182" y="164"/>
                  </a:cubicBezTo>
                  <a:cubicBezTo>
                    <a:pt x="182" y="192"/>
                    <a:pt x="172" y="214"/>
                    <a:pt x="153" y="225"/>
                  </a:cubicBezTo>
                  <a:cubicBezTo>
                    <a:pt x="145" y="230"/>
                    <a:pt x="136" y="232"/>
                    <a:pt x="126" y="232"/>
                  </a:cubicBezTo>
                  <a:close/>
                  <a:moveTo>
                    <a:pt x="56" y="28"/>
                  </a:moveTo>
                  <a:cubicBezTo>
                    <a:pt x="50" y="28"/>
                    <a:pt x="45" y="30"/>
                    <a:pt x="41" y="32"/>
                  </a:cubicBezTo>
                  <a:cubicBezTo>
                    <a:pt x="30" y="38"/>
                    <a:pt x="24" y="53"/>
                    <a:pt x="24" y="73"/>
                  </a:cubicBezTo>
                  <a:cubicBezTo>
                    <a:pt x="24" y="95"/>
                    <a:pt x="32" y="120"/>
                    <a:pt x="46" y="144"/>
                  </a:cubicBezTo>
                  <a:cubicBezTo>
                    <a:pt x="59" y="168"/>
                    <a:pt x="78" y="188"/>
                    <a:pt x="97" y="199"/>
                  </a:cubicBezTo>
                  <a:cubicBezTo>
                    <a:pt x="114" y="209"/>
                    <a:pt x="130" y="211"/>
                    <a:pt x="141" y="204"/>
                  </a:cubicBezTo>
                  <a:cubicBezTo>
                    <a:pt x="152" y="198"/>
                    <a:pt x="158" y="184"/>
                    <a:pt x="158" y="164"/>
                  </a:cubicBezTo>
                  <a:cubicBezTo>
                    <a:pt x="158" y="142"/>
                    <a:pt x="150" y="117"/>
                    <a:pt x="137" y="93"/>
                  </a:cubicBezTo>
                  <a:cubicBezTo>
                    <a:pt x="123" y="69"/>
                    <a:pt x="104" y="49"/>
                    <a:pt x="85" y="38"/>
                  </a:cubicBezTo>
                  <a:cubicBezTo>
                    <a:pt x="74" y="31"/>
                    <a:pt x="64" y="28"/>
                    <a:pt x="56" y="28"/>
                  </a:cubicBezTo>
                  <a:close/>
                  <a:moveTo>
                    <a:pt x="35" y="22"/>
                  </a:moveTo>
                  <a:cubicBezTo>
                    <a:pt x="35" y="22"/>
                    <a:pt x="35" y="22"/>
                    <a:pt x="35" y="2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3" name="Freeform 2253">
              <a:extLst>
                <a:ext uri="{FF2B5EF4-FFF2-40B4-BE49-F238E27FC236}">
                  <a16:creationId xmlns:a16="http://schemas.microsoft.com/office/drawing/2014/main" id="{D631991F-DD8A-4D66-ACBD-7E602B5BF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2" y="3735"/>
              <a:ext cx="194" cy="148"/>
            </a:xfrm>
            <a:custGeom>
              <a:avLst/>
              <a:gdLst>
                <a:gd name="T0" fmla="*/ 125 w 701"/>
                <a:gd name="T1" fmla="*/ 539 h 539"/>
                <a:gd name="T2" fmla="*/ 114 w 701"/>
                <a:gd name="T3" fmla="*/ 533 h 539"/>
                <a:gd name="T4" fmla="*/ 119 w 701"/>
                <a:gd name="T5" fmla="*/ 516 h 539"/>
                <a:gd name="T6" fmla="*/ 660 w 701"/>
                <a:gd name="T7" fmla="*/ 204 h 539"/>
                <a:gd name="T8" fmla="*/ 677 w 701"/>
                <a:gd name="T9" fmla="*/ 163 h 539"/>
                <a:gd name="T10" fmla="*/ 656 w 701"/>
                <a:gd name="T11" fmla="*/ 93 h 539"/>
                <a:gd name="T12" fmla="*/ 604 w 701"/>
                <a:gd name="T13" fmla="*/ 37 h 539"/>
                <a:gd name="T14" fmla="*/ 560 w 701"/>
                <a:gd name="T15" fmla="*/ 32 h 539"/>
                <a:gd name="T16" fmla="*/ 19 w 701"/>
                <a:gd name="T17" fmla="*/ 344 h 539"/>
                <a:gd name="T18" fmla="*/ 3 w 701"/>
                <a:gd name="T19" fmla="*/ 340 h 539"/>
                <a:gd name="T20" fmla="*/ 7 w 701"/>
                <a:gd name="T21" fmla="*/ 323 h 539"/>
                <a:gd name="T22" fmla="*/ 548 w 701"/>
                <a:gd name="T23" fmla="*/ 11 h 539"/>
                <a:gd name="T24" fmla="*/ 616 w 701"/>
                <a:gd name="T25" fmla="*/ 16 h 539"/>
                <a:gd name="T26" fmla="*/ 677 w 701"/>
                <a:gd name="T27" fmla="*/ 81 h 539"/>
                <a:gd name="T28" fmla="*/ 701 w 701"/>
                <a:gd name="T29" fmla="*/ 163 h 539"/>
                <a:gd name="T30" fmla="*/ 672 w 701"/>
                <a:gd name="T31" fmla="*/ 225 h 539"/>
                <a:gd name="T32" fmla="*/ 131 w 701"/>
                <a:gd name="T33" fmla="*/ 537 h 539"/>
                <a:gd name="T34" fmla="*/ 125 w 701"/>
                <a:gd name="T35" fmla="*/ 539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01" h="539">
                  <a:moveTo>
                    <a:pt x="125" y="539"/>
                  </a:moveTo>
                  <a:cubicBezTo>
                    <a:pt x="121" y="539"/>
                    <a:pt x="117" y="537"/>
                    <a:pt x="114" y="533"/>
                  </a:cubicBezTo>
                  <a:cubicBezTo>
                    <a:pt x="111" y="527"/>
                    <a:pt x="113" y="520"/>
                    <a:pt x="119" y="516"/>
                  </a:cubicBezTo>
                  <a:cubicBezTo>
                    <a:pt x="660" y="204"/>
                    <a:pt x="660" y="204"/>
                    <a:pt x="660" y="204"/>
                  </a:cubicBezTo>
                  <a:cubicBezTo>
                    <a:pt x="671" y="198"/>
                    <a:pt x="677" y="183"/>
                    <a:pt x="677" y="163"/>
                  </a:cubicBezTo>
                  <a:cubicBezTo>
                    <a:pt x="677" y="141"/>
                    <a:pt x="670" y="116"/>
                    <a:pt x="656" y="93"/>
                  </a:cubicBezTo>
                  <a:cubicBezTo>
                    <a:pt x="642" y="69"/>
                    <a:pt x="624" y="48"/>
                    <a:pt x="604" y="37"/>
                  </a:cubicBezTo>
                  <a:cubicBezTo>
                    <a:pt x="587" y="27"/>
                    <a:pt x="571" y="25"/>
                    <a:pt x="560" y="32"/>
                  </a:cubicBezTo>
                  <a:cubicBezTo>
                    <a:pt x="19" y="344"/>
                    <a:pt x="19" y="344"/>
                    <a:pt x="19" y="344"/>
                  </a:cubicBezTo>
                  <a:cubicBezTo>
                    <a:pt x="13" y="347"/>
                    <a:pt x="6" y="345"/>
                    <a:pt x="3" y="340"/>
                  </a:cubicBezTo>
                  <a:cubicBezTo>
                    <a:pt x="0" y="334"/>
                    <a:pt x="2" y="327"/>
                    <a:pt x="7" y="323"/>
                  </a:cubicBezTo>
                  <a:cubicBezTo>
                    <a:pt x="548" y="11"/>
                    <a:pt x="548" y="11"/>
                    <a:pt x="548" y="11"/>
                  </a:cubicBezTo>
                  <a:cubicBezTo>
                    <a:pt x="567" y="0"/>
                    <a:pt x="591" y="2"/>
                    <a:pt x="616" y="16"/>
                  </a:cubicBezTo>
                  <a:cubicBezTo>
                    <a:pt x="639" y="30"/>
                    <a:pt x="661" y="53"/>
                    <a:pt x="677" y="81"/>
                  </a:cubicBezTo>
                  <a:cubicBezTo>
                    <a:pt x="692" y="108"/>
                    <a:pt x="701" y="137"/>
                    <a:pt x="701" y="163"/>
                  </a:cubicBezTo>
                  <a:cubicBezTo>
                    <a:pt x="701" y="192"/>
                    <a:pt x="691" y="214"/>
                    <a:pt x="672" y="225"/>
                  </a:cubicBezTo>
                  <a:cubicBezTo>
                    <a:pt x="131" y="537"/>
                    <a:pt x="131" y="537"/>
                    <a:pt x="131" y="537"/>
                  </a:cubicBezTo>
                  <a:cubicBezTo>
                    <a:pt x="129" y="538"/>
                    <a:pt x="127" y="539"/>
                    <a:pt x="125" y="53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4" name="Freeform 2254">
              <a:extLst>
                <a:ext uri="{FF2B5EF4-FFF2-40B4-BE49-F238E27FC236}">
                  <a16:creationId xmlns:a16="http://schemas.microsoft.com/office/drawing/2014/main" id="{A1FE509E-23FE-43A9-BC8B-DBA4C8E30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" y="3070"/>
              <a:ext cx="146" cy="134"/>
            </a:xfrm>
            <a:custGeom>
              <a:avLst/>
              <a:gdLst>
                <a:gd name="T0" fmla="*/ 40 w 531"/>
                <a:gd name="T1" fmla="*/ 331 h 486"/>
                <a:gd name="T2" fmla="*/ 37 w 531"/>
                <a:gd name="T3" fmla="*/ 457 h 486"/>
                <a:gd name="T4" fmla="*/ 150 w 531"/>
                <a:gd name="T5" fmla="*/ 455 h 486"/>
                <a:gd name="T6" fmla="*/ 522 w 531"/>
                <a:gd name="T7" fmla="*/ 98 h 486"/>
                <a:gd name="T8" fmla="*/ 504 w 531"/>
                <a:gd name="T9" fmla="*/ 23 h 486"/>
                <a:gd name="T10" fmla="*/ 420 w 531"/>
                <a:gd name="T11" fmla="*/ 17 h 486"/>
                <a:gd name="T12" fmla="*/ 419 w 531"/>
                <a:gd name="T13" fmla="*/ 16 h 486"/>
                <a:gd name="T14" fmla="*/ 40 w 531"/>
                <a:gd name="T15" fmla="*/ 33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1" h="486">
                  <a:moveTo>
                    <a:pt x="40" y="331"/>
                  </a:moveTo>
                  <a:cubicBezTo>
                    <a:pt x="2" y="364"/>
                    <a:pt x="0" y="423"/>
                    <a:pt x="37" y="457"/>
                  </a:cubicBezTo>
                  <a:cubicBezTo>
                    <a:pt x="70" y="486"/>
                    <a:pt x="119" y="485"/>
                    <a:pt x="150" y="455"/>
                  </a:cubicBezTo>
                  <a:cubicBezTo>
                    <a:pt x="522" y="98"/>
                    <a:pt x="522" y="98"/>
                    <a:pt x="522" y="98"/>
                  </a:cubicBezTo>
                  <a:cubicBezTo>
                    <a:pt x="531" y="72"/>
                    <a:pt x="525" y="43"/>
                    <a:pt x="504" y="23"/>
                  </a:cubicBezTo>
                  <a:cubicBezTo>
                    <a:pt x="480" y="2"/>
                    <a:pt x="446" y="0"/>
                    <a:pt x="420" y="17"/>
                  </a:cubicBezTo>
                  <a:cubicBezTo>
                    <a:pt x="419" y="16"/>
                    <a:pt x="419" y="16"/>
                    <a:pt x="419" y="16"/>
                  </a:cubicBezTo>
                  <a:lnTo>
                    <a:pt x="40" y="331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5" name="Freeform 2255">
              <a:extLst>
                <a:ext uri="{FF2B5EF4-FFF2-40B4-BE49-F238E27FC236}">
                  <a16:creationId xmlns:a16="http://schemas.microsoft.com/office/drawing/2014/main" id="{A895678C-333B-45D4-80D6-8F6E7424D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3058"/>
              <a:ext cx="42" cy="39"/>
            </a:xfrm>
            <a:custGeom>
              <a:avLst/>
              <a:gdLst>
                <a:gd name="T0" fmla="*/ 0 w 155"/>
                <a:gd name="T1" fmla="*/ 59 h 141"/>
                <a:gd name="T2" fmla="*/ 1 w 155"/>
                <a:gd name="T3" fmla="*/ 60 h 141"/>
                <a:gd name="T4" fmla="*/ 85 w 155"/>
                <a:gd name="T5" fmla="*/ 66 h 141"/>
                <a:gd name="T6" fmla="*/ 103 w 155"/>
                <a:gd name="T7" fmla="*/ 141 h 141"/>
                <a:gd name="T8" fmla="*/ 132 w 155"/>
                <a:gd name="T9" fmla="*/ 112 h 141"/>
                <a:gd name="T10" fmla="*/ 139 w 155"/>
                <a:gd name="T11" fmla="*/ 105 h 141"/>
                <a:gd name="T12" fmla="*/ 149 w 155"/>
                <a:gd name="T13" fmla="*/ 48 h 141"/>
                <a:gd name="T14" fmla="*/ 131 w 155"/>
                <a:gd name="T15" fmla="*/ 21 h 141"/>
                <a:gd name="T16" fmla="*/ 66 w 155"/>
                <a:gd name="T17" fmla="*/ 9 h 141"/>
                <a:gd name="T18" fmla="*/ 49 w 155"/>
                <a:gd name="T19" fmla="*/ 19 h 141"/>
                <a:gd name="T20" fmla="*/ 0 w 155"/>
                <a:gd name="T21" fmla="*/ 59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5" h="141">
                  <a:moveTo>
                    <a:pt x="0" y="59"/>
                  </a:moveTo>
                  <a:cubicBezTo>
                    <a:pt x="1" y="60"/>
                    <a:pt x="1" y="60"/>
                    <a:pt x="1" y="60"/>
                  </a:cubicBezTo>
                  <a:cubicBezTo>
                    <a:pt x="27" y="43"/>
                    <a:pt x="61" y="45"/>
                    <a:pt x="85" y="66"/>
                  </a:cubicBezTo>
                  <a:cubicBezTo>
                    <a:pt x="106" y="86"/>
                    <a:pt x="112" y="115"/>
                    <a:pt x="103" y="141"/>
                  </a:cubicBezTo>
                  <a:cubicBezTo>
                    <a:pt x="132" y="112"/>
                    <a:pt x="132" y="112"/>
                    <a:pt x="132" y="112"/>
                  </a:cubicBezTo>
                  <a:cubicBezTo>
                    <a:pt x="135" y="110"/>
                    <a:pt x="137" y="108"/>
                    <a:pt x="139" y="105"/>
                  </a:cubicBezTo>
                  <a:cubicBezTo>
                    <a:pt x="152" y="88"/>
                    <a:pt x="155" y="67"/>
                    <a:pt x="149" y="48"/>
                  </a:cubicBezTo>
                  <a:cubicBezTo>
                    <a:pt x="146" y="38"/>
                    <a:pt x="140" y="28"/>
                    <a:pt x="131" y="21"/>
                  </a:cubicBezTo>
                  <a:cubicBezTo>
                    <a:pt x="113" y="4"/>
                    <a:pt x="88" y="0"/>
                    <a:pt x="66" y="9"/>
                  </a:cubicBezTo>
                  <a:cubicBezTo>
                    <a:pt x="60" y="11"/>
                    <a:pt x="54" y="14"/>
                    <a:pt x="49" y="19"/>
                  </a:cubicBezTo>
                  <a:lnTo>
                    <a:pt x="0" y="59"/>
                  </a:lnTo>
                  <a:close/>
                </a:path>
              </a:pathLst>
            </a:custGeom>
            <a:solidFill>
              <a:srgbClr val="DAE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6" name="Freeform 2256">
              <a:extLst>
                <a:ext uri="{FF2B5EF4-FFF2-40B4-BE49-F238E27FC236}">
                  <a16:creationId xmlns:a16="http://schemas.microsoft.com/office/drawing/2014/main" id="{2DA63086-A318-4C6D-86DB-A613A1083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" y="2848"/>
              <a:ext cx="187" cy="223"/>
            </a:xfrm>
            <a:custGeom>
              <a:avLst/>
              <a:gdLst>
                <a:gd name="T0" fmla="*/ 0 w 677"/>
                <a:gd name="T1" fmla="*/ 646 h 806"/>
                <a:gd name="T2" fmla="*/ 1 w 677"/>
                <a:gd name="T3" fmla="*/ 669 h 806"/>
                <a:gd name="T4" fmla="*/ 20 w 677"/>
                <a:gd name="T5" fmla="*/ 767 h 806"/>
                <a:gd name="T6" fmla="*/ 85 w 677"/>
                <a:gd name="T7" fmla="*/ 779 h 806"/>
                <a:gd name="T8" fmla="*/ 103 w 677"/>
                <a:gd name="T9" fmla="*/ 806 h 806"/>
                <a:gd name="T10" fmla="*/ 114 w 677"/>
                <a:gd name="T11" fmla="*/ 803 h 806"/>
                <a:gd name="T12" fmla="*/ 102 w 677"/>
                <a:gd name="T13" fmla="*/ 705 h 806"/>
                <a:gd name="T14" fmla="*/ 441 w 677"/>
                <a:gd name="T15" fmla="*/ 118 h 806"/>
                <a:gd name="T16" fmla="*/ 677 w 677"/>
                <a:gd name="T17" fmla="*/ 92 h 806"/>
                <a:gd name="T18" fmla="*/ 579 w 677"/>
                <a:gd name="T19" fmla="*/ 36 h 806"/>
                <a:gd name="T20" fmla="*/ 339 w 677"/>
                <a:gd name="T21" fmla="*/ 59 h 806"/>
                <a:gd name="T22" fmla="*/ 207 w 677"/>
                <a:gd name="T23" fmla="*/ 167 h 806"/>
                <a:gd name="T24" fmla="*/ 0 w 677"/>
                <a:gd name="T25" fmla="*/ 646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7" h="806">
                  <a:moveTo>
                    <a:pt x="0" y="646"/>
                  </a:moveTo>
                  <a:cubicBezTo>
                    <a:pt x="0" y="654"/>
                    <a:pt x="1" y="662"/>
                    <a:pt x="1" y="669"/>
                  </a:cubicBezTo>
                  <a:cubicBezTo>
                    <a:pt x="3" y="706"/>
                    <a:pt x="10" y="738"/>
                    <a:pt x="20" y="767"/>
                  </a:cubicBezTo>
                  <a:cubicBezTo>
                    <a:pt x="42" y="758"/>
                    <a:pt x="67" y="762"/>
                    <a:pt x="85" y="779"/>
                  </a:cubicBezTo>
                  <a:cubicBezTo>
                    <a:pt x="94" y="786"/>
                    <a:pt x="100" y="796"/>
                    <a:pt x="103" y="806"/>
                  </a:cubicBezTo>
                  <a:cubicBezTo>
                    <a:pt x="114" y="803"/>
                    <a:pt x="114" y="803"/>
                    <a:pt x="114" y="803"/>
                  </a:cubicBezTo>
                  <a:cubicBezTo>
                    <a:pt x="106" y="774"/>
                    <a:pt x="102" y="741"/>
                    <a:pt x="102" y="705"/>
                  </a:cubicBezTo>
                  <a:cubicBezTo>
                    <a:pt x="102" y="489"/>
                    <a:pt x="254" y="226"/>
                    <a:pt x="441" y="118"/>
                  </a:cubicBezTo>
                  <a:cubicBezTo>
                    <a:pt x="533" y="65"/>
                    <a:pt x="616" y="59"/>
                    <a:pt x="677" y="92"/>
                  </a:cubicBezTo>
                  <a:cubicBezTo>
                    <a:pt x="579" y="36"/>
                    <a:pt x="579" y="36"/>
                    <a:pt x="579" y="36"/>
                  </a:cubicBezTo>
                  <a:cubicBezTo>
                    <a:pt x="518" y="0"/>
                    <a:pt x="433" y="5"/>
                    <a:pt x="339" y="59"/>
                  </a:cubicBezTo>
                  <a:cubicBezTo>
                    <a:pt x="292" y="86"/>
                    <a:pt x="247" y="124"/>
                    <a:pt x="207" y="167"/>
                  </a:cubicBezTo>
                  <a:cubicBezTo>
                    <a:pt x="85" y="297"/>
                    <a:pt x="0" y="485"/>
                    <a:pt x="0" y="64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7" name="Freeform 2257">
              <a:extLst>
                <a:ext uri="{FF2B5EF4-FFF2-40B4-BE49-F238E27FC236}">
                  <a16:creationId xmlns:a16="http://schemas.microsoft.com/office/drawing/2014/main" id="{80497D0C-73FE-461D-95AA-F07F2AE47D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" y="3070"/>
              <a:ext cx="29" cy="33"/>
            </a:xfrm>
            <a:custGeom>
              <a:avLst/>
              <a:gdLst>
                <a:gd name="T0" fmla="*/ 0 w 104"/>
                <a:gd name="T1" fmla="*/ 60 h 119"/>
                <a:gd name="T2" fmla="*/ 6 w 104"/>
                <a:gd name="T3" fmla="*/ 62 h 119"/>
                <a:gd name="T4" fmla="*/ 7 w 104"/>
                <a:gd name="T5" fmla="*/ 63 h 119"/>
                <a:gd name="T6" fmla="*/ 104 w 104"/>
                <a:gd name="T7" fmla="*/ 119 h 119"/>
                <a:gd name="T8" fmla="*/ 21 w 104"/>
                <a:gd name="T9" fmla="*/ 0 h 119"/>
                <a:gd name="T10" fmla="*/ 10 w 104"/>
                <a:gd name="T11" fmla="*/ 3 h 119"/>
                <a:gd name="T12" fmla="*/ 0 w 104"/>
                <a:gd name="T13" fmla="*/ 6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119">
                  <a:moveTo>
                    <a:pt x="0" y="60"/>
                  </a:moveTo>
                  <a:cubicBezTo>
                    <a:pt x="6" y="62"/>
                    <a:pt x="6" y="62"/>
                    <a:pt x="6" y="62"/>
                  </a:cubicBezTo>
                  <a:cubicBezTo>
                    <a:pt x="6" y="62"/>
                    <a:pt x="6" y="63"/>
                    <a:pt x="7" y="63"/>
                  </a:cubicBezTo>
                  <a:cubicBezTo>
                    <a:pt x="104" y="119"/>
                    <a:pt x="104" y="119"/>
                    <a:pt x="104" y="119"/>
                  </a:cubicBezTo>
                  <a:cubicBezTo>
                    <a:pt x="65" y="95"/>
                    <a:pt x="36" y="54"/>
                    <a:pt x="21" y="0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6" y="22"/>
                    <a:pt x="13" y="43"/>
                    <a:pt x="0" y="6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8" name="Freeform 2258">
              <a:extLst>
                <a:ext uri="{FF2B5EF4-FFF2-40B4-BE49-F238E27FC236}">
                  <a16:creationId xmlns:a16="http://schemas.microsoft.com/office/drawing/2014/main" id="{E8504747-3853-4946-ABDD-3B771136D6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" y="2865"/>
              <a:ext cx="188" cy="249"/>
            </a:xfrm>
            <a:custGeom>
              <a:avLst/>
              <a:gdLst>
                <a:gd name="T0" fmla="*/ 95 w 678"/>
                <a:gd name="T1" fmla="*/ 863 h 901"/>
                <a:gd name="T2" fmla="*/ 339 w 678"/>
                <a:gd name="T3" fmla="*/ 842 h 901"/>
                <a:gd name="T4" fmla="*/ 663 w 678"/>
                <a:gd name="T5" fmla="*/ 376 h 901"/>
                <a:gd name="T6" fmla="*/ 678 w 678"/>
                <a:gd name="T7" fmla="*/ 254 h 901"/>
                <a:gd name="T8" fmla="*/ 578 w 678"/>
                <a:gd name="T9" fmla="*/ 35 h 901"/>
                <a:gd name="T10" fmla="*/ 575 w 678"/>
                <a:gd name="T11" fmla="*/ 33 h 901"/>
                <a:gd name="T12" fmla="*/ 339 w 678"/>
                <a:gd name="T13" fmla="*/ 59 h 901"/>
                <a:gd name="T14" fmla="*/ 0 w 678"/>
                <a:gd name="T15" fmla="*/ 646 h 901"/>
                <a:gd name="T16" fmla="*/ 12 w 678"/>
                <a:gd name="T17" fmla="*/ 744 h 901"/>
                <a:gd name="T18" fmla="*/ 95 w 678"/>
                <a:gd name="T19" fmla="*/ 863 h 901"/>
                <a:gd name="T20" fmla="*/ 106 w 678"/>
                <a:gd name="T21" fmla="*/ 737 h 901"/>
                <a:gd name="T22" fmla="*/ 71 w 678"/>
                <a:gd name="T23" fmla="*/ 605 h 901"/>
                <a:gd name="T24" fmla="*/ 339 w 678"/>
                <a:gd name="T25" fmla="*/ 141 h 901"/>
                <a:gd name="T26" fmla="*/ 470 w 678"/>
                <a:gd name="T27" fmla="*/ 105 h 901"/>
                <a:gd name="T28" fmla="*/ 606 w 678"/>
                <a:gd name="T29" fmla="*/ 296 h 901"/>
                <a:gd name="T30" fmla="*/ 339 w 678"/>
                <a:gd name="T31" fmla="*/ 759 h 901"/>
                <a:gd name="T32" fmla="*/ 106 w 678"/>
                <a:gd name="T33" fmla="*/ 737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78" h="901">
                  <a:moveTo>
                    <a:pt x="95" y="863"/>
                  </a:moveTo>
                  <a:cubicBezTo>
                    <a:pt x="157" y="901"/>
                    <a:pt x="243" y="897"/>
                    <a:pt x="339" y="842"/>
                  </a:cubicBezTo>
                  <a:cubicBezTo>
                    <a:pt x="492" y="753"/>
                    <a:pt x="621" y="562"/>
                    <a:pt x="663" y="376"/>
                  </a:cubicBezTo>
                  <a:cubicBezTo>
                    <a:pt x="673" y="335"/>
                    <a:pt x="678" y="294"/>
                    <a:pt x="678" y="254"/>
                  </a:cubicBezTo>
                  <a:cubicBezTo>
                    <a:pt x="678" y="146"/>
                    <a:pt x="640" y="70"/>
                    <a:pt x="578" y="35"/>
                  </a:cubicBezTo>
                  <a:cubicBezTo>
                    <a:pt x="575" y="33"/>
                    <a:pt x="575" y="33"/>
                    <a:pt x="575" y="33"/>
                  </a:cubicBezTo>
                  <a:cubicBezTo>
                    <a:pt x="514" y="0"/>
                    <a:pt x="431" y="6"/>
                    <a:pt x="339" y="59"/>
                  </a:cubicBezTo>
                  <a:cubicBezTo>
                    <a:pt x="152" y="167"/>
                    <a:pt x="0" y="430"/>
                    <a:pt x="0" y="646"/>
                  </a:cubicBezTo>
                  <a:cubicBezTo>
                    <a:pt x="0" y="682"/>
                    <a:pt x="4" y="715"/>
                    <a:pt x="12" y="744"/>
                  </a:cubicBezTo>
                  <a:cubicBezTo>
                    <a:pt x="27" y="798"/>
                    <a:pt x="56" y="839"/>
                    <a:pt x="95" y="863"/>
                  </a:cubicBezTo>
                  <a:close/>
                  <a:moveTo>
                    <a:pt x="106" y="737"/>
                  </a:moveTo>
                  <a:cubicBezTo>
                    <a:pt x="84" y="704"/>
                    <a:pt x="71" y="660"/>
                    <a:pt x="71" y="605"/>
                  </a:cubicBezTo>
                  <a:cubicBezTo>
                    <a:pt x="71" y="434"/>
                    <a:pt x="191" y="227"/>
                    <a:pt x="339" y="141"/>
                  </a:cubicBezTo>
                  <a:cubicBezTo>
                    <a:pt x="387" y="114"/>
                    <a:pt x="432" y="102"/>
                    <a:pt x="470" y="105"/>
                  </a:cubicBezTo>
                  <a:cubicBezTo>
                    <a:pt x="552" y="112"/>
                    <a:pt x="606" y="181"/>
                    <a:pt x="606" y="296"/>
                  </a:cubicBezTo>
                  <a:cubicBezTo>
                    <a:pt x="606" y="466"/>
                    <a:pt x="486" y="674"/>
                    <a:pt x="339" y="759"/>
                  </a:cubicBezTo>
                  <a:cubicBezTo>
                    <a:pt x="239" y="817"/>
                    <a:pt x="152" y="804"/>
                    <a:pt x="106" y="737"/>
                  </a:cubicBez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9" name="Freeform 2259">
              <a:extLst>
                <a:ext uri="{FF2B5EF4-FFF2-40B4-BE49-F238E27FC236}">
                  <a16:creationId xmlns:a16="http://schemas.microsoft.com/office/drawing/2014/main" id="{93FFA84D-6183-407B-9F9E-64CF08DAAEF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" y="2893"/>
              <a:ext cx="148" cy="197"/>
            </a:xfrm>
            <a:custGeom>
              <a:avLst/>
              <a:gdLst>
                <a:gd name="T0" fmla="*/ 0 w 535"/>
                <a:gd name="T1" fmla="*/ 503 h 715"/>
                <a:gd name="T2" fmla="*/ 35 w 535"/>
                <a:gd name="T3" fmla="*/ 635 h 715"/>
                <a:gd name="T4" fmla="*/ 268 w 535"/>
                <a:gd name="T5" fmla="*/ 657 h 715"/>
                <a:gd name="T6" fmla="*/ 535 w 535"/>
                <a:gd name="T7" fmla="*/ 194 h 715"/>
                <a:gd name="T8" fmla="*/ 399 w 535"/>
                <a:gd name="T9" fmla="*/ 3 h 715"/>
                <a:gd name="T10" fmla="*/ 268 w 535"/>
                <a:gd name="T11" fmla="*/ 39 h 715"/>
                <a:gd name="T12" fmla="*/ 0 w 535"/>
                <a:gd name="T13" fmla="*/ 503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5" h="715">
                  <a:moveTo>
                    <a:pt x="0" y="503"/>
                  </a:moveTo>
                  <a:cubicBezTo>
                    <a:pt x="0" y="558"/>
                    <a:pt x="13" y="602"/>
                    <a:pt x="35" y="635"/>
                  </a:cubicBezTo>
                  <a:cubicBezTo>
                    <a:pt x="81" y="702"/>
                    <a:pt x="168" y="715"/>
                    <a:pt x="268" y="657"/>
                  </a:cubicBezTo>
                  <a:cubicBezTo>
                    <a:pt x="415" y="572"/>
                    <a:pt x="535" y="364"/>
                    <a:pt x="535" y="194"/>
                  </a:cubicBezTo>
                  <a:cubicBezTo>
                    <a:pt x="535" y="79"/>
                    <a:pt x="481" y="10"/>
                    <a:pt x="399" y="3"/>
                  </a:cubicBezTo>
                  <a:cubicBezTo>
                    <a:pt x="361" y="0"/>
                    <a:pt x="316" y="12"/>
                    <a:pt x="268" y="39"/>
                  </a:cubicBezTo>
                  <a:cubicBezTo>
                    <a:pt x="120" y="125"/>
                    <a:pt x="0" y="332"/>
                    <a:pt x="0" y="50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0" name="Freeform 2260">
              <a:extLst>
                <a:ext uri="{FF2B5EF4-FFF2-40B4-BE49-F238E27FC236}">
                  <a16:creationId xmlns:a16="http://schemas.microsoft.com/office/drawing/2014/main" id="{783F3773-9B85-405E-94CF-50DA90AC02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" y="2871"/>
              <a:ext cx="168" cy="242"/>
            </a:xfrm>
            <a:custGeom>
              <a:avLst/>
              <a:gdLst>
                <a:gd name="T0" fmla="*/ 105 w 608"/>
                <a:gd name="T1" fmla="*/ 879 h 879"/>
                <a:gd name="T2" fmla="*/ 7 w 608"/>
                <a:gd name="T3" fmla="*/ 852 h 879"/>
                <a:gd name="T4" fmla="*/ 3 w 608"/>
                <a:gd name="T5" fmla="*/ 836 h 879"/>
                <a:gd name="T6" fmla="*/ 20 w 608"/>
                <a:gd name="T7" fmla="*/ 832 h 879"/>
                <a:gd name="T8" fmla="*/ 251 w 608"/>
                <a:gd name="T9" fmla="*/ 810 h 879"/>
                <a:gd name="T10" fmla="*/ 570 w 608"/>
                <a:gd name="T11" fmla="*/ 353 h 879"/>
                <a:gd name="T12" fmla="*/ 584 w 608"/>
                <a:gd name="T13" fmla="*/ 233 h 879"/>
                <a:gd name="T14" fmla="*/ 490 w 608"/>
                <a:gd name="T15" fmla="*/ 24 h 879"/>
                <a:gd name="T16" fmla="*/ 486 w 608"/>
                <a:gd name="T17" fmla="*/ 8 h 879"/>
                <a:gd name="T18" fmla="*/ 502 w 608"/>
                <a:gd name="T19" fmla="*/ 4 h 879"/>
                <a:gd name="T20" fmla="*/ 608 w 608"/>
                <a:gd name="T21" fmla="*/ 233 h 879"/>
                <a:gd name="T22" fmla="*/ 593 w 608"/>
                <a:gd name="T23" fmla="*/ 358 h 879"/>
                <a:gd name="T24" fmla="*/ 263 w 608"/>
                <a:gd name="T25" fmla="*/ 831 h 879"/>
                <a:gd name="T26" fmla="*/ 105 w 608"/>
                <a:gd name="T27" fmla="*/ 879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8" h="879">
                  <a:moveTo>
                    <a:pt x="105" y="879"/>
                  </a:moveTo>
                  <a:cubicBezTo>
                    <a:pt x="69" y="879"/>
                    <a:pt x="36" y="870"/>
                    <a:pt x="7" y="852"/>
                  </a:cubicBezTo>
                  <a:cubicBezTo>
                    <a:pt x="1" y="849"/>
                    <a:pt x="0" y="842"/>
                    <a:pt x="3" y="836"/>
                  </a:cubicBezTo>
                  <a:cubicBezTo>
                    <a:pt x="7" y="830"/>
                    <a:pt x="14" y="828"/>
                    <a:pt x="20" y="832"/>
                  </a:cubicBezTo>
                  <a:cubicBezTo>
                    <a:pt x="80" y="869"/>
                    <a:pt x="162" y="861"/>
                    <a:pt x="251" y="810"/>
                  </a:cubicBezTo>
                  <a:cubicBezTo>
                    <a:pt x="396" y="726"/>
                    <a:pt x="527" y="538"/>
                    <a:pt x="570" y="353"/>
                  </a:cubicBezTo>
                  <a:cubicBezTo>
                    <a:pt x="579" y="311"/>
                    <a:pt x="584" y="271"/>
                    <a:pt x="584" y="233"/>
                  </a:cubicBezTo>
                  <a:cubicBezTo>
                    <a:pt x="584" y="133"/>
                    <a:pt x="551" y="59"/>
                    <a:pt x="490" y="24"/>
                  </a:cubicBezTo>
                  <a:cubicBezTo>
                    <a:pt x="485" y="21"/>
                    <a:pt x="483" y="14"/>
                    <a:pt x="486" y="8"/>
                  </a:cubicBezTo>
                  <a:cubicBezTo>
                    <a:pt x="489" y="2"/>
                    <a:pt x="497" y="0"/>
                    <a:pt x="502" y="4"/>
                  </a:cubicBezTo>
                  <a:cubicBezTo>
                    <a:pt x="570" y="43"/>
                    <a:pt x="608" y="124"/>
                    <a:pt x="608" y="233"/>
                  </a:cubicBezTo>
                  <a:cubicBezTo>
                    <a:pt x="608" y="273"/>
                    <a:pt x="603" y="315"/>
                    <a:pt x="593" y="358"/>
                  </a:cubicBezTo>
                  <a:cubicBezTo>
                    <a:pt x="549" y="552"/>
                    <a:pt x="416" y="743"/>
                    <a:pt x="263" y="831"/>
                  </a:cubicBezTo>
                  <a:cubicBezTo>
                    <a:pt x="207" y="863"/>
                    <a:pt x="154" y="879"/>
                    <a:pt x="105" y="87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1" name="Freeform 2261">
              <a:extLst>
                <a:ext uri="{FF2B5EF4-FFF2-40B4-BE49-F238E27FC236}">
                  <a16:creationId xmlns:a16="http://schemas.microsoft.com/office/drawing/2014/main" id="{99167DDC-466A-481D-81D3-0DB28A2B6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" y="2861"/>
              <a:ext cx="166" cy="245"/>
            </a:xfrm>
            <a:custGeom>
              <a:avLst/>
              <a:gdLst>
                <a:gd name="T0" fmla="*/ 107 w 601"/>
                <a:gd name="T1" fmla="*/ 889 h 889"/>
                <a:gd name="T2" fmla="*/ 100 w 601"/>
                <a:gd name="T3" fmla="*/ 887 h 889"/>
                <a:gd name="T4" fmla="*/ 13 w 601"/>
                <a:gd name="T5" fmla="*/ 761 h 889"/>
                <a:gd name="T6" fmla="*/ 0 w 601"/>
                <a:gd name="T7" fmla="*/ 660 h 889"/>
                <a:gd name="T8" fmla="*/ 345 w 601"/>
                <a:gd name="T9" fmla="*/ 62 h 889"/>
                <a:gd name="T10" fmla="*/ 593 w 601"/>
                <a:gd name="T11" fmla="*/ 36 h 889"/>
                <a:gd name="T12" fmla="*/ 597 w 601"/>
                <a:gd name="T13" fmla="*/ 53 h 889"/>
                <a:gd name="T14" fmla="*/ 581 w 601"/>
                <a:gd name="T15" fmla="*/ 58 h 889"/>
                <a:gd name="T16" fmla="*/ 357 w 601"/>
                <a:gd name="T17" fmla="*/ 83 h 889"/>
                <a:gd name="T18" fmla="*/ 24 w 601"/>
                <a:gd name="T19" fmla="*/ 660 h 889"/>
                <a:gd name="T20" fmla="*/ 36 w 601"/>
                <a:gd name="T21" fmla="*/ 755 h 889"/>
                <a:gd name="T22" fmla="*/ 113 w 601"/>
                <a:gd name="T23" fmla="*/ 866 h 889"/>
                <a:gd name="T24" fmla="*/ 117 w 601"/>
                <a:gd name="T25" fmla="*/ 883 h 889"/>
                <a:gd name="T26" fmla="*/ 107 w 601"/>
                <a:gd name="T27" fmla="*/ 889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1" h="889">
                  <a:moveTo>
                    <a:pt x="107" y="889"/>
                  </a:moveTo>
                  <a:cubicBezTo>
                    <a:pt x="104" y="889"/>
                    <a:pt x="102" y="888"/>
                    <a:pt x="100" y="887"/>
                  </a:cubicBezTo>
                  <a:cubicBezTo>
                    <a:pt x="59" y="861"/>
                    <a:pt x="28" y="818"/>
                    <a:pt x="13" y="761"/>
                  </a:cubicBezTo>
                  <a:cubicBezTo>
                    <a:pt x="4" y="731"/>
                    <a:pt x="0" y="697"/>
                    <a:pt x="0" y="660"/>
                  </a:cubicBezTo>
                  <a:cubicBezTo>
                    <a:pt x="0" y="440"/>
                    <a:pt x="155" y="172"/>
                    <a:pt x="345" y="62"/>
                  </a:cubicBezTo>
                  <a:cubicBezTo>
                    <a:pt x="437" y="9"/>
                    <a:pt x="525" y="0"/>
                    <a:pt x="593" y="36"/>
                  </a:cubicBezTo>
                  <a:cubicBezTo>
                    <a:pt x="598" y="40"/>
                    <a:pt x="601" y="47"/>
                    <a:pt x="597" y="53"/>
                  </a:cubicBezTo>
                  <a:cubicBezTo>
                    <a:pt x="594" y="59"/>
                    <a:pt x="587" y="61"/>
                    <a:pt x="581" y="58"/>
                  </a:cubicBezTo>
                  <a:cubicBezTo>
                    <a:pt x="521" y="25"/>
                    <a:pt x="442" y="34"/>
                    <a:pt x="357" y="83"/>
                  </a:cubicBezTo>
                  <a:cubicBezTo>
                    <a:pt x="173" y="189"/>
                    <a:pt x="24" y="448"/>
                    <a:pt x="24" y="660"/>
                  </a:cubicBezTo>
                  <a:cubicBezTo>
                    <a:pt x="24" y="694"/>
                    <a:pt x="28" y="726"/>
                    <a:pt x="36" y="755"/>
                  </a:cubicBezTo>
                  <a:cubicBezTo>
                    <a:pt x="50" y="805"/>
                    <a:pt x="77" y="844"/>
                    <a:pt x="113" y="866"/>
                  </a:cubicBezTo>
                  <a:cubicBezTo>
                    <a:pt x="119" y="870"/>
                    <a:pt x="120" y="877"/>
                    <a:pt x="117" y="883"/>
                  </a:cubicBezTo>
                  <a:cubicBezTo>
                    <a:pt x="115" y="887"/>
                    <a:pt x="111" y="889"/>
                    <a:pt x="107" y="88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2" name="Freeform 2262">
              <a:extLst>
                <a:ext uri="{FF2B5EF4-FFF2-40B4-BE49-F238E27FC236}">
                  <a16:creationId xmlns:a16="http://schemas.microsoft.com/office/drawing/2014/main" id="{4CD98A41-ED93-4C84-9237-4E619ADD7A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4" y="2890"/>
              <a:ext cx="154" cy="198"/>
            </a:xfrm>
            <a:custGeom>
              <a:avLst/>
              <a:gdLst>
                <a:gd name="T0" fmla="*/ 160 w 559"/>
                <a:gd name="T1" fmla="*/ 718 h 718"/>
                <a:gd name="T2" fmla="*/ 37 w 559"/>
                <a:gd name="T3" fmla="*/ 653 h 718"/>
                <a:gd name="T4" fmla="*/ 0 w 559"/>
                <a:gd name="T5" fmla="*/ 515 h 718"/>
                <a:gd name="T6" fmla="*/ 274 w 559"/>
                <a:gd name="T7" fmla="*/ 41 h 718"/>
                <a:gd name="T8" fmla="*/ 412 w 559"/>
                <a:gd name="T9" fmla="*/ 3 h 718"/>
                <a:gd name="T10" fmla="*/ 559 w 559"/>
                <a:gd name="T11" fmla="*/ 206 h 718"/>
                <a:gd name="T12" fmla="*/ 286 w 559"/>
                <a:gd name="T13" fmla="*/ 679 h 718"/>
                <a:gd name="T14" fmla="*/ 160 w 559"/>
                <a:gd name="T15" fmla="*/ 718 h 718"/>
                <a:gd name="T16" fmla="*/ 399 w 559"/>
                <a:gd name="T17" fmla="*/ 27 h 718"/>
                <a:gd name="T18" fmla="*/ 286 w 559"/>
                <a:gd name="T19" fmla="*/ 62 h 718"/>
                <a:gd name="T20" fmla="*/ 24 w 559"/>
                <a:gd name="T21" fmla="*/ 515 h 718"/>
                <a:gd name="T22" fmla="*/ 57 w 559"/>
                <a:gd name="T23" fmla="*/ 640 h 718"/>
                <a:gd name="T24" fmla="*/ 274 w 559"/>
                <a:gd name="T25" fmla="*/ 659 h 718"/>
                <a:gd name="T26" fmla="*/ 535 w 559"/>
                <a:gd name="T27" fmla="*/ 206 h 718"/>
                <a:gd name="T28" fmla="*/ 411 w 559"/>
                <a:gd name="T29" fmla="*/ 27 h 718"/>
                <a:gd name="T30" fmla="*/ 411 w 559"/>
                <a:gd name="T31" fmla="*/ 27 h 718"/>
                <a:gd name="T32" fmla="*/ 399 w 559"/>
                <a:gd name="T33" fmla="*/ 27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59" h="718">
                  <a:moveTo>
                    <a:pt x="160" y="718"/>
                  </a:moveTo>
                  <a:cubicBezTo>
                    <a:pt x="109" y="718"/>
                    <a:pt x="66" y="696"/>
                    <a:pt x="37" y="653"/>
                  </a:cubicBezTo>
                  <a:cubicBezTo>
                    <a:pt x="13" y="618"/>
                    <a:pt x="0" y="570"/>
                    <a:pt x="0" y="515"/>
                  </a:cubicBezTo>
                  <a:cubicBezTo>
                    <a:pt x="0" y="341"/>
                    <a:pt x="123" y="128"/>
                    <a:pt x="274" y="41"/>
                  </a:cubicBezTo>
                  <a:cubicBezTo>
                    <a:pt x="322" y="13"/>
                    <a:pt x="370" y="0"/>
                    <a:pt x="412" y="3"/>
                  </a:cubicBezTo>
                  <a:cubicBezTo>
                    <a:pt x="503" y="10"/>
                    <a:pt x="559" y="88"/>
                    <a:pt x="559" y="206"/>
                  </a:cubicBezTo>
                  <a:cubicBezTo>
                    <a:pt x="559" y="380"/>
                    <a:pt x="437" y="592"/>
                    <a:pt x="286" y="679"/>
                  </a:cubicBezTo>
                  <a:cubicBezTo>
                    <a:pt x="242" y="705"/>
                    <a:pt x="199" y="718"/>
                    <a:pt x="160" y="718"/>
                  </a:cubicBezTo>
                  <a:close/>
                  <a:moveTo>
                    <a:pt x="399" y="27"/>
                  </a:moveTo>
                  <a:cubicBezTo>
                    <a:pt x="364" y="27"/>
                    <a:pt x="325" y="39"/>
                    <a:pt x="286" y="62"/>
                  </a:cubicBezTo>
                  <a:cubicBezTo>
                    <a:pt x="142" y="145"/>
                    <a:pt x="24" y="348"/>
                    <a:pt x="24" y="515"/>
                  </a:cubicBezTo>
                  <a:cubicBezTo>
                    <a:pt x="24" y="566"/>
                    <a:pt x="36" y="609"/>
                    <a:pt x="57" y="640"/>
                  </a:cubicBezTo>
                  <a:cubicBezTo>
                    <a:pt x="101" y="705"/>
                    <a:pt x="182" y="712"/>
                    <a:pt x="274" y="659"/>
                  </a:cubicBezTo>
                  <a:cubicBezTo>
                    <a:pt x="418" y="575"/>
                    <a:pt x="535" y="372"/>
                    <a:pt x="535" y="206"/>
                  </a:cubicBezTo>
                  <a:cubicBezTo>
                    <a:pt x="535" y="100"/>
                    <a:pt x="489" y="33"/>
                    <a:pt x="411" y="27"/>
                  </a:cubicBezTo>
                  <a:cubicBezTo>
                    <a:pt x="411" y="27"/>
                    <a:pt x="411" y="27"/>
                    <a:pt x="411" y="27"/>
                  </a:cubicBezTo>
                  <a:cubicBezTo>
                    <a:pt x="407" y="27"/>
                    <a:pt x="403" y="27"/>
                    <a:pt x="399" y="27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3" name="Freeform 2263">
              <a:extLst>
                <a:ext uri="{FF2B5EF4-FFF2-40B4-BE49-F238E27FC236}">
                  <a16:creationId xmlns:a16="http://schemas.microsoft.com/office/drawing/2014/main" id="{3BDCD3BE-3B3A-4E36-8C50-DE5D35E17F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" y="2845"/>
              <a:ext cx="195" cy="219"/>
            </a:xfrm>
            <a:custGeom>
              <a:avLst/>
              <a:gdLst>
                <a:gd name="T0" fmla="*/ 32 w 706"/>
                <a:gd name="T1" fmla="*/ 793 h 793"/>
                <a:gd name="T2" fmla="*/ 21 w 706"/>
                <a:gd name="T3" fmla="*/ 785 h 793"/>
                <a:gd name="T4" fmla="*/ 1 w 706"/>
                <a:gd name="T5" fmla="*/ 684 h 793"/>
                <a:gd name="T6" fmla="*/ 0 w 706"/>
                <a:gd name="T7" fmla="*/ 660 h 793"/>
                <a:gd name="T8" fmla="*/ 210 w 706"/>
                <a:gd name="T9" fmla="*/ 173 h 793"/>
                <a:gd name="T10" fmla="*/ 345 w 706"/>
                <a:gd name="T11" fmla="*/ 63 h 793"/>
                <a:gd name="T12" fmla="*/ 597 w 706"/>
                <a:gd name="T13" fmla="*/ 39 h 793"/>
                <a:gd name="T14" fmla="*/ 698 w 706"/>
                <a:gd name="T15" fmla="*/ 98 h 793"/>
                <a:gd name="T16" fmla="*/ 703 w 706"/>
                <a:gd name="T17" fmla="*/ 114 h 793"/>
                <a:gd name="T18" fmla="*/ 686 w 706"/>
                <a:gd name="T19" fmla="*/ 118 h 793"/>
                <a:gd name="T20" fmla="*/ 585 w 706"/>
                <a:gd name="T21" fmla="*/ 60 h 793"/>
                <a:gd name="T22" fmla="*/ 357 w 706"/>
                <a:gd name="T23" fmla="*/ 84 h 793"/>
                <a:gd name="T24" fmla="*/ 227 w 706"/>
                <a:gd name="T25" fmla="*/ 189 h 793"/>
                <a:gd name="T26" fmla="*/ 24 w 706"/>
                <a:gd name="T27" fmla="*/ 660 h 793"/>
                <a:gd name="T28" fmla="*/ 25 w 706"/>
                <a:gd name="T29" fmla="*/ 682 h 793"/>
                <a:gd name="T30" fmla="*/ 43 w 706"/>
                <a:gd name="T31" fmla="*/ 776 h 793"/>
                <a:gd name="T32" fmla="*/ 36 w 706"/>
                <a:gd name="T33" fmla="*/ 792 h 793"/>
                <a:gd name="T34" fmla="*/ 32 w 706"/>
                <a:gd name="T35" fmla="*/ 793 h 7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06" h="793">
                  <a:moveTo>
                    <a:pt x="32" y="793"/>
                  </a:moveTo>
                  <a:cubicBezTo>
                    <a:pt x="27" y="793"/>
                    <a:pt x="23" y="790"/>
                    <a:pt x="21" y="785"/>
                  </a:cubicBezTo>
                  <a:cubicBezTo>
                    <a:pt x="10" y="756"/>
                    <a:pt x="3" y="722"/>
                    <a:pt x="1" y="684"/>
                  </a:cubicBezTo>
                  <a:cubicBezTo>
                    <a:pt x="1" y="676"/>
                    <a:pt x="0" y="668"/>
                    <a:pt x="0" y="660"/>
                  </a:cubicBezTo>
                  <a:cubicBezTo>
                    <a:pt x="0" y="500"/>
                    <a:pt x="83" y="309"/>
                    <a:pt x="210" y="173"/>
                  </a:cubicBezTo>
                  <a:cubicBezTo>
                    <a:pt x="253" y="127"/>
                    <a:pt x="298" y="90"/>
                    <a:pt x="345" y="63"/>
                  </a:cubicBezTo>
                  <a:cubicBezTo>
                    <a:pt x="440" y="8"/>
                    <a:pt x="529" y="0"/>
                    <a:pt x="597" y="39"/>
                  </a:cubicBezTo>
                  <a:cubicBezTo>
                    <a:pt x="698" y="98"/>
                    <a:pt x="698" y="98"/>
                    <a:pt x="698" y="98"/>
                  </a:cubicBezTo>
                  <a:cubicBezTo>
                    <a:pt x="704" y="101"/>
                    <a:pt x="706" y="108"/>
                    <a:pt x="703" y="114"/>
                  </a:cubicBezTo>
                  <a:cubicBezTo>
                    <a:pt x="700" y="120"/>
                    <a:pt x="692" y="122"/>
                    <a:pt x="686" y="118"/>
                  </a:cubicBezTo>
                  <a:cubicBezTo>
                    <a:pt x="585" y="60"/>
                    <a:pt x="585" y="60"/>
                    <a:pt x="585" y="60"/>
                  </a:cubicBezTo>
                  <a:cubicBezTo>
                    <a:pt x="525" y="25"/>
                    <a:pt x="444" y="34"/>
                    <a:pt x="357" y="84"/>
                  </a:cubicBezTo>
                  <a:cubicBezTo>
                    <a:pt x="313" y="110"/>
                    <a:pt x="269" y="145"/>
                    <a:pt x="227" y="189"/>
                  </a:cubicBezTo>
                  <a:cubicBezTo>
                    <a:pt x="104" y="321"/>
                    <a:pt x="24" y="506"/>
                    <a:pt x="24" y="660"/>
                  </a:cubicBezTo>
                  <a:cubicBezTo>
                    <a:pt x="24" y="668"/>
                    <a:pt x="25" y="675"/>
                    <a:pt x="25" y="682"/>
                  </a:cubicBezTo>
                  <a:cubicBezTo>
                    <a:pt x="27" y="718"/>
                    <a:pt x="33" y="749"/>
                    <a:pt x="43" y="776"/>
                  </a:cubicBezTo>
                  <a:cubicBezTo>
                    <a:pt x="46" y="783"/>
                    <a:pt x="42" y="789"/>
                    <a:pt x="36" y="792"/>
                  </a:cubicBezTo>
                  <a:cubicBezTo>
                    <a:pt x="35" y="792"/>
                    <a:pt x="33" y="793"/>
                    <a:pt x="32" y="79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4" name="Freeform 2264">
              <a:extLst>
                <a:ext uri="{FF2B5EF4-FFF2-40B4-BE49-F238E27FC236}">
                  <a16:creationId xmlns:a16="http://schemas.microsoft.com/office/drawing/2014/main" id="{8A35260E-B136-4B6D-9F9D-A3D407CFE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" y="3084"/>
              <a:ext cx="36" cy="23"/>
            </a:xfrm>
            <a:custGeom>
              <a:avLst/>
              <a:gdLst>
                <a:gd name="T0" fmla="*/ 116 w 130"/>
                <a:gd name="T1" fmla="*/ 84 h 84"/>
                <a:gd name="T2" fmla="*/ 110 w 130"/>
                <a:gd name="T3" fmla="*/ 83 h 84"/>
                <a:gd name="T4" fmla="*/ 9 w 130"/>
                <a:gd name="T5" fmla="*/ 24 h 84"/>
                <a:gd name="T6" fmla="*/ 7 w 130"/>
                <a:gd name="T7" fmla="*/ 23 h 84"/>
                <a:gd name="T8" fmla="*/ 4 w 130"/>
                <a:gd name="T9" fmla="*/ 7 h 84"/>
                <a:gd name="T10" fmla="*/ 20 w 130"/>
                <a:gd name="T11" fmla="*/ 3 h 84"/>
                <a:gd name="T12" fmla="*/ 21 w 130"/>
                <a:gd name="T13" fmla="*/ 3 h 84"/>
                <a:gd name="T14" fmla="*/ 122 w 130"/>
                <a:gd name="T15" fmla="*/ 62 h 84"/>
                <a:gd name="T16" fmla="*/ 127 w 130"/>
                <a:gd name="T17" fmla="*/ 78 h 84"/>
                <a:gd name="T18" fmla="*/ 116 w 130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84">
                  <a:moveTo>
                    <a:pt x="116" y="84"/>
                  </a:moveTo>
                  <a:cubicBezTo>
                    <a:pt x="114" y="84"/>
                    <a:pt x="112" y="84"/>
                    <a:pt x="110" y="83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8" y="24"/>
                    <a:pt x="7" y="23"/>
                  </a:cubicBezTo>
                  <a:cubicBezTo>
                    <a:pt x="2" y="20"/>
                    <a:pt x="0" y="12"/>
                    <a:pt x="4" y="7"/>
                  </a:cubicBezTo>
                  <a:cubicBezTo>
                    <a:pt x="8" y="1"/>
                    <a:pt x="15" y="0"/>
                    <a:pt x="20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122" y="62"/>
                    <a:pt x="122" y="62"/>
                    <a:pt x="122" y="62"/>
                  </a:cubicBezTo>
                  <a:cubicBezTo>
                    <a:pt x="128" y="65"/>
                    <a:pt x="130" y="73"/>
                    <a:pt x="127" y="78"/>
                  </a:cubicBezTo>
                  <a:cubicBezTo>
                    <a:pt x="124" y="82"/>
                    <a:pt x="120" y="84"/>
                    <a:pt x="116" y="8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5" name="Freeform 2265">
              <a:extLst>
                <a:ext uri="{FF2B5EF4-FFF2-40B4-BE49-F238E27FC236}">
                  <a16:creationId xmlns:a16="http://schemas.microsoft.com/office/drawing/2014/main" id="{287F9404-B0FD-4E07-84E8-858660C4FA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0" y="3054"/>
              <a:ext cx="163" cy="151"/>
            </a:xfrm>
            <a:custGeom>
              <a:avLst/>
              <a:gdLst>
                <a:gd name="T0" fmla="*/ 95 w 589"/>
                <a:gd name="T1" fmla="*/ 546 h 546"/>
                <a:gd name="T2" fmla="*/ 31 w 589"/>
                <a:gd name="T3" fmla="*/ 521 h 546"/>
                <a:gd name="T4" fmla="*/ 0 w 589"/>
                <a:gd name="T5" fmla="*/ 449 h 546"/>
                <a:gd name="T6" fmla="*/ 35 w 589"/>
                <a:gd name="T7" fmla="*/ 378 h 546"/>
                <a:gd name="T8" fmla="*/ 462 w 589"/>
                <a:gd name="T9" fmla="*/ 23 h 546"/>
                <a:gd name="T10" fmla="*/ 483 w 589"/>
                <a:gd name="T11" fmla="*/ 10 h 546"/>
                <a:gd name="T12" fmla="*/ 560 w 589"/>
                <a:gd name="T13" fmla="*/ 25 h 546"/>
                <a:gd name="T14" fmla="*/ 581 w 589"/>
                <a:gd name="T15" fmla="*/ 58 h 546"/>
                <a:gd name="T16" fmla="*/ 570 w 589"/>
                <a:gd name="T17" fmla="*/ 125 h 546"/>
                <a:gd name="T18" fmla="*/ 562 w 589"/>
                <a:gd name="T19" fmla="*/ 134 h 546"/>
                <a:gd name="T20" fmla="*/ 161 w 589"/>
                <a:gd name="T21" fmla="*/ 520 h 546"/>
                <a:gd name="T22" fmla="*/ 95 w 589"/>
                <a:gd name="T23" fmla="*/ 546 h 546"/>
                <a:gd name="T24" fmla="*/ 510 w 589"/>
                <a:gd name="T25" fmla="*/ 29 h 546"/>
                <a:gd name="T26" fmla="*/ 491 w 589"/>
                <a:gd name="T27" fmla="*/ 33 h 546"/>
                <a:gd name="T28" fmla="*/ 477 w 589"/>
                <a:gd name="T29" fmla="*/ 41 h 546"/>
                <a:gd name="T30" fmla="*/ 50 w 589"/>
                <a:gd name="T31" fmla="*/ 397 h 546"/>
                <a:gd name="T32" fmla="*/ 24 w 589"/>
                <a:gd name="T33" fmla="*/ 450 h 546"/>
                <a:gd name="T34" fmla="*/ 48 w 589"/>
                <a:gd name="T35" fmla="*/ 504 h 546"/>
                <a:gd name="T36" fmla="*/ 144 w 589"/>
                <a:gd name="T37" fmla="*/ 502 h 546"/>
                <a:gd name="T38" fmla="*/ 516 w 589"/>
                <a:gd name="T39" fmla="*/ 145 h 546"/>
                <a:gd name="T40" fmla="*/ 516 w 589"/>
                <a:gd name="T41" fmla="*/ 145 h 546"/>
                <a:gd name="T42" fmla="*/ 545 w 589"/>
                <a:gd name="T43" fmla="*/ 117 h 546"/>
                <a:gd name="T44" fmla="*/ 550 w 589"/>
                <a:gd name="T45" fmla="*/ 111 h 546"/>
                <a:gd name="T46" fmla="*/ 558 w 589"/>
                <a:gd name="T47" fmla="*/ 65 h 546"/>
                <a:gd name="T48" fmla="*/ 544 w 589"/>
                <a:gd name="T49" fmla="*/ 42 h 546"/>
                <a:gd name="T50" fmla="*/ 510 w 589"/>
                <a:gd name="T51" fmla="*/ 2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89" h="546">
                  <a:moveTo>
                    <a:pt x="95" y="546"/>
                  </a:moveTo>
                  <a:cubicBezTo>
                    <a:pt x="72" y="546"/>
                    <a:pt x="49" y="538"/>
                    <a:pt x="31" y="521"/>
                  </a:cubicBezTo>
                  <a:cubicBezTo>
                    <a:pt x="11" y="503"/>
                    <a:pt x="0" y="477"/>
                    <a:pt x="0" y="449"/>
                  </a:cubicBezTo>
                  <a:cubicBezTo>
                    <a:pt x="1" y="422"/>
                    <a:pt x="13" y="396"/>
                    <a:pt x="35" y="378"/>
                  </a:cubicBezTo>
                  <a:cubicBezTo>
                    <a:pt x="462" y="23"/>
                    <a:pt x="462" y="23"/>
                    <a:pt x="462" y="23"/>
                  </a:cubicBezTo>
                  <a:cubicBezTo>
                    <a:pt x="468" y="17"/>
                    <a:pt x="475" y="13"/>
                    <a:pt x="483" y="10"/>
                  </a:cubicBezTo>
                  <a:cubicBezTo>
                    <a:pt x="509" y="0"/>
                    <a:pt x="539" y="5"/>
                    <a:pt x="560" y="25"/>
                  </a:cubicBezTo>
                  <a:cubicBezTo>
                    <a:pt x="570" y="34"/>
                    <a:pt x="577" y="45"/>
                    <a:pt x="581" y="58"/>
                  </a:cubicBezTo>
                  <a:cubicBezTo>
                    <a:pt x="589" y="81"/>
                    <a:pt x="584" y="106"/>
                    <a:pt x="570" y="125"/>
                  </a:cubicBezTo>
                  <a:cubicBezTo>
                    <a:pt x="567" y="128"/>
                    <a:pt x="565" y="131"/>
                    <a:pt x="562" y="134"/>
                  </a:cubicBezTo>
                  <a:cubicBezTo>
                    <a:pt x="161" y="520"/>
                    <a:pt x="161" y="520"/>
                    <a:pt x="161" y="520"/>
                  </a:cubicBezTo>
                  <a:cubicBezTo>
                    <a:pt x="143" y="537"/>
                    <a:pt x="119" y="546"/>
                    <a:pt x="95" y="546"/>
                  </a:cubicBezTo>
                  <a:close/>
                  <a:moveTo>
                    <a:pt x="510" y="29"/>
                  </a:moveTo>
                  <a:cubicBezTo>
                    <a:pt x="504" y="29"/>
                    <a:pt x="497" y="30"/>
                    <a:pt x="491" y="33"/>
                  </a:cubicBezTo>
                  <a:cubicBezTo>
                    <a:pt x="486" y="35"/>
                    <a:pt x="481" y="38"/>
                    <a:pt x="477" y="41"/>
                  </a:cubicBezTo>
                  <a:cubicBezTo>
                    <a:pt x="50" y="397"/>
                    <a:pt x="50" y="397"/>
                    <a:pt x="50" y="397"/>
                  </a:cubicBezTo>
                  <a:cubicBezTo>
                    <a:pt x="34" y="410"/>
                    <a:pt x="25" y="429"/>
                    <a:pt x="24" y="450"/>
                  </a:cubicBezTo>
                  <a:cubicBezTo>
                    <a:pt x="24" y="470"/>
                    <a:pt x="32" y="490"/>
                    <a:pt x="48" y="504"/>
                  </a:cubicBezTo>
                  <a:cubicBezTo>
                    <a:pt x="75" y="529"/>
                    <a:pt x="117" y="528"/>
                    <a:pt x="144" y="502"/>
                  </a:cubicBezTo>
                  <a:cubicBezTo>
                    <a:pt x="516" y="145"/>
                    <a:pt x="516" y="145"/>
                    <a:pt x="516" y="145"/>
                  </a:cubicBezTo>
                  <a:cubicBezTo>
                    <a:pt x="516" y="145"/>
                    <a:pt x="516" y="145"/>
                    <a:pt x="516" y="145"/>
                  </a:cubicBezTo>
                  <a:cubicBezTo>
                    <a:pt x="545" y="117"/>
                    <a:pt x="545" y="117"/>
                    <a:pt x="545" y="117"/>
                  </a:cubicBezTo>
                  <a:cubicBezTo>
                    <a:pt x="547" y="115"/>
                    <a:pt x="549" y="113"/>
                    <a:pt x="550" y="111"/>
                  </a:cubicBezTo>
                  <a:cubicBezTo>
                    <a:pt x="560" y="98"/>
                    <a:pt x="563" y="81"/>
                    <a:pt x="558" y="65"/>
                  </a:cubicBezTo>
                  <a:cubicBezTo>
                    <a:pt x="556" y="56"/>
                    <a:pt x="551" y="49"/>
                    <a:pt x="544" y="42"/>
                  </a:cubicBezTo>
                  <a:cubicBezTo>
                    <a:pt x="534" y="34"/>
                    <a:pt x="522" y="29"/>
                    <a:pt x="510" y="2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6" name="Freeform 2266">
              <a:extLst>
                <a:ext uri="{FF2B5EF4-FFF2-40B4-BE49-F238E27FC236}">
                  <a16:creationId xmlns:a16="http://schemas.microsoft.com/office/drawing/2014/main" id="{8B886F30-BB33-4C41-A283-C47C9E2DFE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" y="3066"/>
              <a:ext cx="38" cy="34"/>
            </a:xfrm>
            <a:custGeom>
              <a:avLst/>
              <a:gdLst>
                <a:gd name="T0" fmla="*/ 116 w 139"/>
                <a:gd name="T1" fmla="*/ 123 h 123"/>
                <a:gd name="T2" fmla="*/ 112 w 139"/>
                <a:gd name="T3" fmla="*/ 122 h 123"/>
                <a:gd name="T4" fmla="*/ 105 w 139"/>
                <a:gd name="T5" fmla="*/ 107 h 123"/>
                <a:gd name="T6" fmla="*/ 90 w 139"/>
                <a:gd name="T7" fmla="*/ 45 h 123"/>
                <a:gd name="T8" fmla="*/ 21 w 139"/>
                <a:gd name="T9" fmla="*/ 40 h 123"/>
                <a:gd name="T10" fmla="*/ 4 w 139"/>
                <a:gd name="T11" fmla="*/ 37 h 123"/>
                <a:gd name="T12" fmla="*/ 7 w 139"/>
                <a:gd name="T13" fmla="*/ 20 h 123"/>
                <a:gd name="T14" fmla="*/ 106 w 139"/>
                <a:gd name="T15" fmla="*/ 27 h 123"/>
                <a:gd name="T16" fmla="*/ 127 w 139"/>
                <a:gd name="T17" fmla="*/ 115 h 123"/>
                <a:gd name="T18" fmla="*/ 116 w 139"/>
                <a:gd name="T19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9" h="123">
                  <a:moveTo>
                    <a:pt x="116" y="123"/>
                  </a:moveTo>
                  <a:cubicBezTo>
                    <a:pt x="114" y="123"/>
                    <a:pt x="113" y="122"/>
                    <a:pt x="112" y="122"/>
                  </a:cubicBezTo>
                  <a:cubicBezTo>
                    <a:pt x="105" y="120"/>
                    <a:pt x="102" y="113"/>
                    <a:pt x="105" y="107"/>
                  </a:cubicBezTo>
                  <a:cubicBezTo>
                    <a:pt x="113" y="85"/>
                    <a:pt x="107" y="61"/>
                    <a:pt x="90" y="45"/>
                  </a:cubicBezTo>
                  <a:cubicBezTo>
                    <a:pt x="71" y="28"/>
                    <a:pt x="42" y="26"/>
                    <a:pt x="21" y="40"/>
                  </a:cubicBezTo>
                  <a:cubicBezTo>
                    <a:pt x="15" y="44"/>
                    <a:pt x="8" y="42"/>
                    <a:pt x="4" y="37"/>
                  </a:cubicBezTo>
                  <a:cubicBezTo>
                    <a:pt x="0" y="31"/>
                    <a:pt x="2" y="24"/>
                    <a:pt x="7" y="20"/>
                  </a:cubicBezTo>
                  <a:cubicBezTo>
                    <a:pt x="38" y="0"/>
                    <a:pt x="79" y="3"/>
                    <a:pt x="106" y="27"/>
                  </a:cubicBezTo>
                  <a:cubicBezTo>
                    <a:pt x="130" y="50"/>
                    <a:pt x="139" y="84"/>
                    <a:pt x="127" y="115"/>
                  </a:cubicBezTo>
                  <a:cubicBezTo>
                    <a:pt x="125" y="120"/>
                    <a:pt x="121" y="123"/>
                    <a:pt x="116" y="12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7" name="Freeform 2267">
              <a:extLst>
                <a:ext uri="{FF2B5EF4-FFF2-40B4-BE49-F238E27FC236}">
                  <a16:creationId xmlns:a16="http://schemas.microsoft.com/office/drawing/2014/main" id="{A5758392-849C-40B4-B880-AF88D6BB74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" y="2699"/>
              <a:ext cx="256" cy="324"/>
            </a:xfrm>
            <a:custGeom>
              <a:avLst/>
              <a:gdLst>
                <a:gd name="T0" fmla="*/ 4 w 929"/>
                <a:gd name="T1" fmla="*/ 873 h 1173"/>
                <a:gd name="T2" fmla="*/ 0 w 929"/>
                <a:gd name="T3" fmla="*/ 921 h 1173"/>
                <a:gd name="T4" fmla="*/ 71 w 929"/>
                <a:gd name="T5" fmla="*/ 1073 h 1173"/>
                <a:gd name="T6" fmla="*/ 257 w 929"/>
                <a:gd name="T7" fmla="*/ 1173 h 1173"/>
                <a:gd name="T8" fmla="*/ 192 w 929"/>
                <a:gd name="T9" fmla="*/ 1074 h 1173"/>
                <a:gd name="T10" fmla="*/ 187 w 929"/>
                <a:gd name="T11" fmla="*/ 1022 h 1173"/>
                <a:gd name="T12" fmla="*/ 419 w 929"/>
                <a:gd name="T13" fmla="*/ 620 h 1173"/>
                <a:gd name="T14" fmla="*/ 444 w 929"/>
                <a:gd name="T15" fmla="*/ 607 h 1173"/>
                <a:gd name="T16" fmla="*/ 731 w 929"/>
                <a:gd name="T17" fmla="*/ 150 h 1173"/>
                <a:gd name="T18" fmla="*/ 817 w 929"/>
                <a:gd name="T19" fmla="*/ 116 h 1173"/>
                <a:gd name="T20" fmla="*/ 929 w 929"/>
                <a:gd name="T21" fmla="*/ 126 h 1173"/>
                <a:gd name="T22" fmla="*/ 745 w 929"/>
                <a:gd name="T23" fmla="*/ 28 h 1173"/>
                <a:gd name="T24" fmla="*/ 544 w 929"/>
                <a:gd name="T25" fmla="*/ 50 h 1173"/>
                <a:gd name="T26" fmla="*/ 257 w 929"/>
                <a:gd name="T27" fmla="*/ 507 h 1173"/>
                <a:gd name="T28" fmla="*/ 232 w 929"/>
                <a:gd name="T29" fmla="*/ 520 h 1173"/>
                <a:gd name="T30" fmla="*/ 77 w 929"/>
                <a:gd name="T31" fmla="*/ 679 h 1173"/>
                <a:gd name="T32" fmla="*/ 4 w 929"/>
                <a:gd name="T33" fmla="*/ 873 h 1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9" h="1173">
                  <a:moveTo>
                    <a:pt x="4" y="873"/>
                  </a:moveTo>
                  <a:cubicBezTo>
                    <a:pt x="2" y="889"/>
                    <a:pt x="0" y="906"/>
                    <a:pt x="0" y="921"/>
                  </a:cubicBezTo>
                  <a:cubicBezTo>
                    <a:pt x="0" y="997"/>
                    <a:pt x="28" y="1050"/>
                    <a:pt x="71" y="1073"/>
                  </a:cubicBezTo>
                  <a:cubicBezTo>
                    <a:pt x="257" y="1173"/>
                    <a:pt x="257" y="1173"/>
                    <a:pt x="257" y="1173"/>
                  </a:cubicBezTo>
                  <a:cubicBezTo>
                    <a:pt x="225" y="1155"/>
                    <a:pt x="202" y="1121"/>
                    <a:pt x="192" y="1074"/>
                  </a:cubicBezTo>
                  <a:cubicBezTo>
                    <a:pt x="189" y="1058"/>
                    <a:pt x="187" y="1041"/>
                    <a:pt x="187" y="1022"/>
                  </a:cubicBezTo>
                  <a:cubicBezTo>
                    <a:pt x="187" y="874"/>
                    <a:pt x="291" y="694"/>
                    <a:pt x="419" y="620"/>
                  </a:cubicBezTo>
                  <a:cubicBezTo>
                    <a:pt x="427" y="616"/>
                    <a:pt x="436" y="611"/>
                    <a:pt x="444" y="607"/>
                  </a:cubicBezTo>
                  <a:cubicBezTo>
                    <a:pt x="462" y="433"/>
                    <a:pt x="583" y="235"/>
                    <a:pt x="731" y="150"/>
                  </a:cubicBezTo>
                  <a:cubicBezTo>
                    <a:pt x="761" y="133"/>
                    <a:pt x="790" y="122"/>
                    <a:pt x="817" y="116"/>
                  </a:cubicBezTo>
                  <a:cubicBezTo>
                    <a:pt x="859" y="106"/>
                    <a:pt x="897" y="111"/>
                    <a:pt x="929" y="126"/>
                  </a:cubicBezTo>
                  <a:cubicBezTo>
                    <a:pt x="745" y="28"/>
                    <a:pt x="745" y="28"/>
                    <a:pt x="745" y="28"/>
                  </a:cubicBezTo>
                  <a:cubicBezTo>
                    <a:pt x="693" y="0"/>
                    <a:pt x="622" y="5"/>
                    <a:pt x="544" y="50"/>
                  </a:cubicBezTo>
                  <a:cubicBezTo>
                    <a:pt x="397" y="135"/>
                    <a:pt x="275" y="332"/>
                    <a:pt x="257" y="507"/>
                  </a:cubicBezTo>
                  <a:cubicBezTo>
                    <a:pt x="249" y="511"/>
                    <a:pt x="241" y="515"/>
                    <a:pt x="232" y="520"/>
                  </a:cubicBezTo>
                  <a:cubicBezTo>
                    <a:pt x="172" y="555"/>
                    <a:pt x="118" y="612"/>
                    <a:pt x="77" y="679"/>
                  </a:cubicBezTo>
                  <a:cubicBezTo>
                    <a:pt x="39" y="740"/>
                    <a:pt x="13" y="808"/>
                    <a:pt x="4" y="873"/>
                  </a:cubicBezTo>
                  <a:close/>
                </a:path>
              </a:pathLst>
            </a:custGeom>
            <a:solidFill>
              <a:srgbClr val="1BD7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8" name="Freeform 2268">
              <a:extLst>
                <a:ext uri="{FF2B5EF4-FFF2-40B4-BE49-F238E27FC236}">
                  <a16:creationId xmlns:a16="http://schemas.microsoft.com/office/drawing/2014/main" id="{E049FA89-7475-485F-AA7C-9FA154402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" y="2728"/>
              <a:ext cx="282" cy="299"/>
            </a:xfrm>
            <a:custGeom>
              <a:avLst/>
              <a:gdLst>
                <a:gd name="T0" fmla="*/ 0 w 1019"/>
                <a:gd name="T1" fmla="*/ 916 h 1083"/>
                <a:gd name="T2" fmla="*/ 5 w 1019"/>
                <a:gd name="T3" fmla="*/ 968 h 1083"/>
                <a:gd name="T4" fmla="*/ 70 w 1019"/>
                <a:gd name="T5" fmla="*/ 1067 h 1083"/>
                <a:gd name="T6" fmla="*/ 71 w 1019"/>
                <a:gd name="T7" fmla="*/ 1067 h 1083"/>
                <a:gd name="T8" fmla="*/ 144 w 1019"/>
                <a:gd name="T9" fmla="*/ 1080 h 1083"/>
                <a:gd name="T10" fmla="*/ 209 w 1019"/>
                <a:gd name="T11" fmla="*/ 1061 h 1083"/>
                <a:gd name="T12" fmla="*/ 232 w 1019"/>
                <a:gd name="T13" fmla="*/ 1049 h 1083"/>
                <a:gd name="T14" fmla="*/ 821 w 1019"/>
                <a:gd name="T15" fmla="*/ 709 h 1083"/>
                <a:gd name="T16" fmla="*/ 1019 w 1019"/>
                <a:gd name="T17" fmla="*/ 366 h 1083"/>
                <a:gd name="T18" fmla="*/ 832 w 1019"/>
                <a:gd name="T19" fmla="*/ 245 h 1083"/>
                <a:gd name="T20" fmla="*/ 831 w 1019"/>
                <a:gd name="T21" fmla="*/ 245 h 1083"/>
                <a:gd name="T22" fmla="*/ 832 w 1019"/>
                <a:gd name="T23" fmla="*/ 243 h 1083"/>
                <a:gd name="T24" fmla="*/ 833 w 1019"/>
                <a:gd name="T25" fmla="*/ 211 h 1083"/>
                <a:gd name="T26" fmla="*/ 744 w 1019"/>
                <a:gd name="T27" fmla="*/ 22 h 1083"/>
                <a:gd name="T28" fmla="*/ 742 w 1019"/>
                <a:gd name="T29" fmla="*/ 20 h 1083"/>
                <a:gd name="T30" fmla="*/ 630 w 1019"/>
                <a:gd name="T31" fmla="*/ 10 h 1083"/>
                <a:gd name="T32" fmla="*/ 544 w 1019"/>
                <a:gd name="T33" fmla="*/ 44 h 1083"/>
                <a:gd name="T34" fmla="*/ 257 w 1019"/>
                <a:gd name="T35" fmla="*/ 501 h 1083"/>
                <a:gd name="T36" fmla="*/ 232 w 1019"/>
                <a:gd name="T37" fmla="*/ 514 h 1083"/>
                <a:gd name="T38" fmla="*/ 0 w 1019"/>
                <a:gd name="T39" fmla="*/ 916 h 1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19" h="1083">
                  <a:moveTo>
                    <a:pt x="0" y="916"/>
                  </a:moveTo>
                  <a:cubicBezTo>
                    <a:pt x="0" y="935"/>
                    <a:pt x="2" y="952"/>
                    <a:pt x="5" y="968"/>
                  </a:cubicBezTo>
                  <a:cubicBezTo>
                    <a:pt x="15" y="1015"/>
                    <a:pt x="38" y="1049"/>
                    <a:pt x="70" y="1067"/>
                  </a:cubicBezTo>
                  <a:cubicBezTo>
                    <a:pt x="71" y="1067"/>
                    <a:pt x="71" y="1067"/>
                    <a:pt x="71" y="1067"/>
                  </a:cubicBezTo>
                  <a:cubicBezTo>
                    <a:pt x="92" y="1079"/>
                    <a:pt x="117" y="1083"/>
                    <a:pt x="144" y="1080"/>
                  </a:cubicBezTo>
                  <a:cubicBezTo>
                    <a:pt x="165" y="1078"/>
                    <a:pt x="186" y="1072"/>
                    <a:pt x="209" y="1061"/>
                  </a:cubicBezTo>
                  <a:cubicBezTo>
                    <a:pt x="216" y="1058"/>
                    <a:pt x="224" y="1054"/>
                    <a:pt x="232" y="1049"/>
                  </a:cubicBezTo>
                  <a:cubicBezTo>
                    <a:pt x="821" y="709"/>
                    <a:pt x="821" y="709"/>
                    <a:pt x="821" y="709"/>
                  </a:cubicBezTo>
                  <a:cubicBezTo>
                    <a:pt x="930" y="646"/>
                    <a:pt x="1019" y="492"/>
                    <a:pt x="1019" y="366"/>
                  </a:cubicBezTo>
                  <a:cubicBezTo>
                    <a:pt x="1019" y="243"/>
                    <a:pt x="936" y="191"/>
                    <a:pt x="832" y="245"/>
                  </a:cubicBezTo>
                  <a:cubicBezTo>
                    <a:pt x="832" y="245"/>
                    <a:pt x="831" y="245"/>
                    <a:pt x="831" y="245"/>
                  </a:cubicBezTo>
                  <a:cubicBezTo>
                    <a:pt x="831" y="245"/>
                    <a:pt x="831" y="244"/>
                    <a:pt x="832" y="243"/>
                  </a:cubicBezTo>
                  <a:cubicBezTo>
                    <a:pt x="832" y="232"/>
                    <a:pt x="833" y="222"/>
                    <a:pt x="833" y="211"/>
                  </a:cubicBezTo>
                  <a:cubicBezTo>
                    <a:pt x="833" y="117"/>
                    <a:pt x="799" y="51"/>
                    <a:pt x="744" y="22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10" y="5"/>
                    <a:pt x="672" y="0"/>
                    <a:pt x="630" y="10"/>
                  </a:cubicBezTo>
                  <a:cubicBezTo>
                    <a:pt x="603" y="16"/>
                    <a:pt x="574" y="27"/>
                    <a:pt x="544" y="44"/>
                  </a:cubicBezTo>
                  <a:cubicBezTo>
                    <a:pt x="396" y="129"/>
                    <a:pt x="275" y="327"/>
                    <a:pt x="257" y="501"/>
                  </a:cubicBezTo>
                  <a:cubicBezTo>
                    <a:pt x="249" y="505"/>
                    <a:pt x="240" y="510"/>
                    <a:pt x="232" y="514"/>
                  </a:cubicBezTo>
                  <a:cubicBezTo>
                    <a:pt x="104" y="588"/>
                    <a:pt x="0" y="768"/>
                    <a:pt x="0" y="9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9" name="Freeform 2269">
              <a:extLst>
                <a:ext uri="{FF2B5EF4-FFF2-40B4-BE49-F238E27FC236}">
                  <a16:creationId xmlns:a16="http://schemas.microsoft.com/office/drawing/2014/main" id="{8E6291D0-058B-45ED-AF9D-60DCA15A9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" y="2730"/>
              <a:ext cx="269" cy="300"/>
            </a:xfrm>
            <a:custGeom>
              <a:avLst/>
              <a:gdLst>
                <a:gd name="T0" fmla="*/ 72 w 975"/>
                <a:gd name="T1" fmla="*/ 1086 h 1086"/>
                <a:gd name="T2" fmla="*/ 9 w 975"/>
                <a:gd name="T3" fmla="*/ 1071 h 1086"/>
                <a:gd name="T4" fmla="*/ 9 w 975"/>
                <a:gd name="T5" fmla="*/ 1070 h 1086"/>
                <a:gd name="T6" fmla="*/ 3 w 975"/>
                <a:gd name="T7" fmla="*/ 1054 h 1086"/>
                <a:gd name="T8" fmla="*/ 19 w 975"/>
                <a:gd name="T9" fmla="*/ 1049 h 1086"/>
                <a:gd name="T10" fmla="*/ 20 w 975"/>
                <a:gd name="T11" fmla="*/ 1049 h 1086"/>
                <a:gd name="T12" fmla="*/ 87 w 975"/>
                <a:gd name="T13" fmla="*/ 1061 h 1086"/>
                <a:gd name="T14" fmla="*/ 148 w 975"/>
                <a:gd name="T15" fmla="*/ 1043 h 1086"/>
                <a:gd name="T16" fmla="*/ 759 w 975"/>
                <a:gd name="T17" fmla="*/ 692 h 1086"/>
                <a:gd name="T18" fmla="*/ 951 w 975"/>
                <a:gd name="T19" fmla="*/ 359 h 1086"/>
                <a:gd name="T20" fmla="*/ 901 w 975"/>
                <a:gd name="T21" fmla="*/ 242 h 1086"/>
                <a:gd name="T22" fmla="*/ 781 w 975"/>
                <a:gd name="T23" fmla="*/ 249 h 1086"/>
                <a:gd name="T24" fmla="*/ 766 w 975"/>
                <a:gd name="T25" fmla="*/ 246 h 1086"/>
                <a:gd name="T26" fmla="*/ 763 w 975"/>
                <a:gd name="T27" fmla="*/ 237 h 1086"/>
                <a:gd name="T28" fmla="*/ 764 w 975"/>
                <a:gd name="T29" fmla="*/ 235 h 1086"/>
                <a:gd name="T30" fmla="*/ 765 w 975"/>
                <a:gd name="T31" fmla="*/ 204 h 1086"/>
                <a:gd name="T32" fmla="*/ 683 w 975"/>
                <a:gd name="T33" fmla="*/ 26 h 1086"/>
                <a:gd name="T34" fmla="*/ 680 w 975"/>
                <a:gd name="T35" fmla="*/ 24 h 1086"/>
                <a:gd name="T36" fmla="*/ 675 w 975"/>
                <a:gd name="T37" fmla="*/ 8 h 1086"/>
                <a:gd name="T38" fmla="*/ 691 w 975"/>
                <a:gd name="T39" fmla="*/ 3 h 1086"/>
                <a:gd name="T40" fmla="*/ 694 w 975"/>
                <a:gd name="T41" fmla="*/ 5 h 1086"/>
                <a:gd name="T42" fmla="*/ 789 w 975"/>
                <a:gd name="T43" fmla="*/ 204 h 1086"/>
                <a:gd name="T44" fmla="*/ 788 w 975"/>
                <a:gd name="T45" fmla="*/ 219 h 1086"/>
                <a:gd name="T46" fmla="*/ 913 w 975"/>
                <a:gd name="T47" fmla="*/ 221 h 1086"/>
                <a:gd name="T48" fmla="*/ 975 w 975"/>
                <a:gd name="T49" fmla="*/ 359 h 1086"/>
                <a:gd name="T50" fmla="*/ 771 w 975"/>
                <a:gd name="T51" fmla="*/ 713 h 1086"/>
                <a:gd name="T52" fmla="*/ 158 w 975"/>
                <a:gd name="T53" fmla="*/ 1065 h 1086"/>
                <a:gd name="T54" fmla="*/ 90 w 975"/>
                <a:gd name="T55" fmla="*/ 1085 h 1086"/>
                <a:gd name="T56" fmla="*/ 72 w 975"/>
                <a:gd name="T57" fmla="*/ 1086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75" h="1086">
                  <a:moveTo>
                    <a:pt x="72" y="1086"/>
                  </a:moveTo>
                  <a:cubicBezTo>
                    <a:pt x="49" y="1086"/>
                    <a:pt x="28" y="1081"/>
                    <a:pt x="9" y="1071"/>
                  </a:cubicBezTo>
                  <a:cubicBezTo>
                    <a:pt x="9" y="1070"/>
                    <a:pt x="9" y="1070"/>
                    <a:pt x="9" y="1070"/>
                  </a:cubicBezTo>
                  <a:cubicBezTo>
                    <a:pt x="3" y="1068"/>
                    <a:pt x="0" y="1060"/>
                    <a:pt x="3" y="1054"/>
                  </a:cubicBezTo>
                  <a:cubicBezTo>
                    <a:pt x="6" y="1048"/>
                    <a:pt x="13" y="1046"/>
                    <a:pt x="19" y="1049"/>
                  </a:cubicBezTo>
                  <a:cubicBezTo>
                    <a:pt x="20" y="1049"/>
                    <a:pt x="20" y="1049"/>
                    <a:pt x="20" y="1049"/>
                  </a:cubicBezTo>
                  <a:cubicBezTo>
                    <a:pt x="40" y="1060"/>
                    <a:pt x="62" y="1064"/>
                    <a:pt x="87" y="1061"/>
                  </a:cubicBezTo>
                  <a:cubicBezTo>
                    <a:pt x="106" y="1059"/>
                    <a:pt x="127" y="1053"/>
                    <a:pt x="148" y="1043"/>
                  </a:cubicBezTo>
                  <a:cubicBezTo>
                    <a:pt x="158" y="1038"/>
                    <a:pt x="552" y="811"/>
                    <a:pt x="759" y="692"/>
                  </a:cubicBezTo>
                  <a:cubicBezTo>
                    <a:pt x="865" y="631"/>
                    <a:pt x="951" y="481"/>
                    <a:pt x="951" y="359"/>
                  </a:cubicBezTo>
                  <a:cubicBezTo>
                    <a:pt x="951" y="303"/>
                    <a:pt x="933" y="261"/>
                    <a:pt x="901" y="242"/>
                  </a:cubicBezTo>
                  <a:cubicBezTo>
                    <a:pt x="870" y="223"/>
                    <a:pt x="827" y="225"/>
                    <a:pt x="781" y="249"/>
                  </a:cubicBezTo>
                  <a:cubicBezTo>
                    <a:pt x="776" y="251"/>
                    <a:pt x="770" y="250"/>
                    <a:pt x="766" y="246"/>
                  </a:cubicBezTo>
                  <a:cubicBezTo>
                    <a:pt x="764" y="244"/>
                    <a:pt x="763" y="240"/>
                    <a:pt x="763" y="237"/>
                  </a:cubicBezTo>
                  <a:cubicBezTo>
                    <a:pt x="763" y="236"/>
                    <a:pt x="764" y="236"/>
                    <a:pt x="764" y="235"/>
                  </a:cubicBezTo>
                  <a:cubicBezTo>
                    <a:pt x="764" y="223"/>
                    <a:pt x="765" y="213"/>
                    <a:pt x="765" y="204"/>
                  </a:cubicBezTo>
                  <a:cubicBezTo>
                    <a:pt x="765" y="117"/>
                    <a:pt x="736" y="54"/>
                    <a:pt x="683" y="26"/>
                  </a:cubicBezTo>
                  <a:cubicBezTo>
                    <a:pt x="680" y="24"/>
                    <a:pt x="680" y="24"/>
                    <a:pt x="680" y="24"/>
                  </a:cubicBezTo>
                  <a:cubicBezTo>
                    <a:pt x="674" y="21"/>
                    <a:pt x="672" y="13"/>
                    <a:pt x="675" y="8"/>
                  </a:cubicBezTo>
                  <a:cubicBezTo>
                    <a:pt x="678" y="2"/>
                    <a:pt x="685" y="0"/>
                    <a:pt x="691" y="3"/>
                  </a:cubicBezTo>
                  <a:cubicBezTo>
                    <a:pt x="694" y="5"/>
                    <a:pt x="694" y="5"/>
                    <a:pt x="694" y="5"/>
                  </a:cubicBezTo>
                  <a:cubicBezTo>
                    <a:pt x="755" y="37"/>
                    <a:pt x="789" y="108"/>
                    <a:pt x="789" y="204"/>
                  </a:cubicBezTo>
                  <a:cubicBezTo>
                    <a:pt x="789" y="209"/>
                    <a:pt x="789" y="214"/>
                    <a:pt x="788" y="219"/>
                  </a:cubicBezTo>
                  <a:cubicBezTo>
                    <a:pt x="835" y="200"/>
                    <a:pt x="879" y="200"/>
                    <a:pt x="913" y="221"/>
                  </a:cubicBezTo>
                  <a:cubicBezTo>
                    <a:pt x="953" y="245"/>
                    <a:pt x="975" y="294"/>
                    <a:pt x="975" y="359"/>
                  </a:cubicBezTo>
                  <a:cubicBezTo>
                    <a:pt x="975" y="489"/>
                    <a:pt x="884" y="648"/>
                    <a:pt x="771" y="713"/>
                  </a:cubicBezTo>
                  <a:cubicBezTo>
                    <a:pt x="670" y="771"/>
                    <a:pt x="166" y="1062"/>
                    <a:pt x="158" y="1065"/>
                  </a:cubicBezTo>
                  <a:cubicBezTo>
                    <a:pt x="135" y="1076"/>
                    <a:pt x="112" y="1083"/>
                    <a:pt x="90" y="1085"/>
                  </a:cubicBezTo>
                  <a:cubicBezTo>
                    <a:pt x="84" y="1086"/>
                    <a:pt x="78" y="1086"/>
                    <a:pt x="72" y="108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0" name="Freeform 2270">
              <a:extLst>
                <a:ext uri="{FF2B5EF4-FFF2-40B4-BE49-F238E27FC236}">
                  <a16:creationId xmlns:a16="http://schemas.microsoft.com/office/drawing/2014/main" id="{609DE557-BC3B-41A9-9C3F-1FADE6D5B7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6" y="2695"/>
              <a:ext cx="264" cy="331"/>
            </a:xfrm>
            <a:custGeom>
              <a:avLst/>
              <a:gdLst>
                <a:gd name="T0" fmla="*/ 269 w 954"/>
                <a:gd name="T1" fmla="*/ 1199 h 1199"/>
                <a:gd name="T2" fmla="*/ 263 w 954"/>
                <a:gd name="T3" fmla="*/ 1197 h 1199"/>
                <a:gd name="T4" fmla="*/ 78 w 954"/>
                <a:gd name="T5" fmla="*/ 1098 h 1199"/>
                <a:gd name="T6" fmla="*/ 0 w 954"/>
                <a:gd name="T7" fmla="*/ 935 h 1199"/>
                <a:gd name="T8" fmla="*/ 4 w 954"/>
                <a:gd name="T9" fmla="*/ 885 h 1199"/>
                <a:gd name="T10" fmla="*/ 78 w 954"/>
                <a:gd name="T11" fmla="*/ 687 h 1199"/>
                <a:gd name="T12" fmla="*/ 238 w 954"/>
                <a:gd name="T13" fmla="*/ 524 h 1199"/>
                <a:gd name="T14" fmla="*/ 258 w 954"/>
                <a:gd name="T15" fmla="*/ 513 h 1199"/>
                <a:gd name="T16" fmla="*/ 550 w 954"/>
                <a:gd name="T17" fmla="*/ 54 h 1199"/>
                <a:gd name="T18" fmla="*/ 762 w 954"/>
                <a:gd name="T19" fmla="*/ 31 h 1199"/>
                <a:gd name="T20" fmla="*/ 946 w 954"/>
                <a:gd name="T21" fmla="*/ 130 h 1199"/>
                <a:gd name="T22" fmla="*/ 951 w 954"/>
                <a:gd name="T23" fmla="*/ 146 h 1199"/>
                <a:gd name="T24" fmla="*/ 935 w 954"/>
                <a:gd name="T25" fmla="*/ 151 h 1199"/>
                <a:gd name="T26" fmla="*/ 831 w 954"/>
                <a:gd name="T27" fmla="*/ 141 h 1199"/>
                <a:gd name="T28" fmla="*/ 749 w 954"/>
                <a:gd name="T29" fmla="*/ 175 h 1199"/>
                <a:gd name="T30" fmla="*/ 468 w 954"/>
                <a:gd name="T31" fmla="*/ 623 h 1199"/>
                <a:gd name="T32" fmla="*/ 461 w 954"/>
                <a:gd name="T33" fmla="*/ 632 h 1199"/>
                <a:gd name="T34" fmla="*/ 437 w 954"/>
                <a:gd name="T35" fmla="*/ 645 h 1199"/>
                <a:gd name="T36" fmla="*/ 211 w 954"/>
                <a:gd name="T37" fmla="*/ 1036 h 1199"/>
                <a:gd name="T38" fmla="*/ 216 w 954"/>
                <a:gd name="T39" fmla="*/ 1086 h 1199"/>
                <a:gd name="T40" fmla="*/ 275 w 954"/>
                <a:gd name="T41" fmla="*/ 1176 h 1199"/>
                <a:gd name="T42" fmla="*/ 279 w 954"/>
                <a:gd name="T43" fmla="*/ 1192 h 1199"/>
                <a:gd name="T44" fmla="*/ 269 w 954"/>
                <a:gd name="T45" fmla="*/ 1199 h 1199"/>
                <a:gd name="T46" fmla="*/ 685 w 954"/>
                <a:gd name="T47" fmla="*/ 37 h 1199"/>
                <a:gd name="T48" fmla="*/ 562 w 954"/>
                <a:gd name="T49" fmla="*/ 75 h 1199"/>
                <a:gd name="T50" fmla="*/ 281 w 954"/>
                <a:gd name="T51" fmla="*/ 522 h 1199"/>
                <a:gd name="T52" fmla="*/ 274 w 954"/>
                <a:gd name="T53" fmla="*/ 532 h 1199"/>
                <a:gd name="T54" fmla="*/ 250 w 954"/>
                <a:gd name="T55" fmla="*/ 545 h 1199"/>
                <a:gd name="T56" fmla="*/ 99 w 954"/>
                <a:gd name="T57" fmla="*/ 699 h 1199"/>
                <a:gd name="T58" fmla="*/ 28 w 954"/>
                <a:gd name="T59" fmla="*/ 889 h 1199"/>
                <a:gd name="T60" fmla="*/ 24 w 954"/>
                <a:gd name="T61" fmla="*/ 935 h 1199"/>
                <a:gd name="T62" fmla="*/ 89 w 954"/>
                <a:gd name="T63" fmla="*/ 1076 h 1199"/>
                <a:gd name="T64" fmla="*/ 210 w 954"/>
                <a:gd name="T65" fmla="*/ 1141 h 1199"/>
                <a:gd name="T66" fmla="*/ 192 w 954"/>
                <a:gd name="T67" fmla="*/ 1091 h 1199"/>
                <a:gd name="T68" fmla="*/ 187 w 954"/>
                <a:gd name="T69" fmla="*/ 1036 h 1199"/>
                <a:gd name="T70" fmla="*/ 425 w 954"/>
                <a:gd name="T71" fmla="*/ 624 h 1199"/>
                <a:gd name="T72" fmla="*/ 445 w 954"/>
                <a:gd name="T73" fmla="*/ 613 h 1199"/>
                <a:gd name="T74" fmla="*/ 737 w 954"/>
                <a:gd name="T75" fmla="*/ 154 h 1199"/>
                <a:gd name="T76" fmla="*/ 826 w 954"/>
                <a:gd name="T77" fmla="*/ 118 h 1199"/>
                <a:gd name="T78" fmla="*/ 864 w 954"/>
                <a:gd name="T79" fmla="*/ 113 h 1199"/>
                <a:gd name="T80" fmla="*/ 751 w 954"/>
                <a:gd name="T81" fmla="*/ 52 h 1199"/>
                <a:gd name="T82" fmla="*/ 685 w 954"/>
                <a:gd name="T83" fmla="*/ 37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54" h="1199">
                  <a:moveTo>
                    <a:pt x="269" y="1199"/>
                  </a:moveTo>
                  <a:cubicBezTo>
                    <a:pt x="267" y="1199"/>
                    <a:pt x="265" y="1198"/>
                    <a:pt x="263" y="1197"/>
                  </a:cubicBezTo>
                  <a:cubicBezTo>
                    <a:pt x="78" y="1098"/>
                    <a:pt x="78" y="1098"/>
                    <a:pt x="78" y="1098"/>
                  </a:cubicBezTo>
                  <a:cubicBezTo>
                    <a:pt x="28" y="1071"/>
                    <a:pt x="0" y="1013"/>
                    <a:pt x="0" y="935"/>
                  </a:cubicBezTo>
                  <a:cubicBezTo>
                    <a:pt x="0" y="919"/>
                    <a:pt x="2" y="902"/>
                    <a:pt x="4" y="885"/>
                  </a:cubicBezTo>
                  <a:cubicBezTo>
                    <a:pt x="13" y="821"/>
                    <a:pt x="39" y="750"/>
                    <a:pt x="78" y="687"/>
                  </a:cubicBezTo>
                  <a:cubicBezTo>
                    <a:pt x="122" y="616"/>
                    <a:pt x="179" y="558"/>
                    <a:pt x="238" y="524"/>
                  </a:cubicBezTo>
                  <a:cubicBezTo>
                    <a:pt x="245" y="520"/>
                    <a:pt x="252" y="516"/>
                    <a:pt x="258" y="513"/>
                  </a:cubicBezTo>
                  <a:cubicBezTo>
                    <a:pt x="279" y="335"/>
                    <a:pt x="403" y="138"/>
                    <a:pt x="550" y="54"/>
                  </a:cubicBezTo>
                  <a:cubicBezTo>
                    <a:pt x="629" y="8"/>
                    <a:pt x="704" y="0"/>
                    <a:pt x="762" y="31"/>
                  </a:cubicBezTo>
                  <a:cubicBezTo>
                    <a:pt x="946" y="130"/>
                    <a:pt x="946" y="130"/>
                    <a:pt x="946" y="130"/>
                  </a:cubicBezTo>
                  <a:cubicBezTo>
                    <a:pt x="952" y="133"/>
                    <a:pt x="954" y="140"/>
                    <a:pt x="951" y="146"/>
                  </a:cubicBezTo>
                  <a:cubicBezTo>
                    <a:pt x="948" y="152"/>
                    <a:pt x="941" y="154"/>
                    <a:pt x="935" y="151"/>
                  </a:cubicBezTo>
                  <a:cubicBezTo>
                    <a:pt x="906" y="136"/>
                    <a:pt x="870" y="133"/>
                    <a:pt x="831" y="141"/>
                  </a:cubicBezTo>
                  <a:cubicBezTo>
                    <a:pt x="805" y="147"/>
                    <a:pt x="777" y="158"/>
                    <a:pt x="749" y="175"/>
                  </a:cubicBezTo>
                  <a:cubicBezTo>
                    <a:pt x="606" y="257"/>
                    <a:pt x="486" y="449"/>
                    <a:pt x="468" y="623"/>
                  </a:cubicBezTo>
                  <a:cubicBezTo>
                    <a:pt x="467" y="627"/>
                    <a:pt x="465" y="631"/>
                    <a:pt x="461" y="632"/>
                  </a:cubicBezTo>
                  <a:cubicBezTo>
                    <a:pt x="452" y="636"/>
                    <a:pt x="445" y="640"/>
                    <a:pt x="437" y="645"/>
                  </a:cubicBezTo>
                  <a:cubicBezTo>
                    <a:pt x="312" y="717"/>
                    <a:pt x="211" y="892"/>
                    <a:pt x="211" y="1036"/>
                  </a:cubicBezTo>
                  <a:cubicBezTo>
                    <a:pt x="211" y="1053"/>
                    <a:pt x="213" y="1070"/>
                    <a:pt x="216" y="1086"/>
                  </a:cubicBezTo>
                  <a:cubicBezTo>
                    <a:pt x="225" y="1128"/>
                    <a:pt x="245" y="1160"/>
                    <a:pt x="275" y="1176"/>
                  </a:cubicBezTo>
                  <a:cubicBezTo>
                    <a:pt x="280" y="1179"/>
                    <a:pt x="282" y="1187"/>
                    <a:pt x="279" y="1192"/>
                  </a:cubicBezTo>
                  <a:cubicBezTo>
                    <a:pt x="277" y="1196"/>
                    <a:pt x="273" y="1199"/>
                    <a:pt x="269" y="1199"/>
                  </a:cubicBezTo>
                  <a:close/>
                  <a:moveTo>
                    <a:pt x="685" y="37"/>
                  </a:moveTo>
                  <a:cubicBezTo>
                    <a:pt x="647" y="37"/>
                    <a:pt x="605" y="49"/>
                    <a:pt x="562" y="75"/>
                  </a:cubicBezTo>
                  <a:cubicBezTo>
                    <a:pt x="420" y="157"/>
                    <a:pt x="299" y="349"/>
                    <a:pt x="281" y="522"/>
                  </a:cubicBezTo>
                  <a:cubicBezTo>
                    <a:pt x="281" y="527"/>
                    <a:pt x="278" y="530"/>
                    <a:pt x="274" y="532"/>
                  </a:cubicBezTo>
                  <a:cubicBezTo>
                    <a:pt x="266" y="536"/>
                    <a:pt x="258" y="540"/>
                    <a:pt x="250" y="545"/>
                  </a:cubicBezTo>
                  <a:cubicBezTo>
                    <a:pt x="194" y="577"/>
                    <a:pt x="140" y="632"/>
                    <a:pt x="99" y="699"/>
                  </a:cubicBezTo>
                  <a:cubicBezTo>
                    <a:pt x="62" y="760"/>
                    <a:pt x="36" y="827"/>
                    <a:pt x="28" y="889"/>
                  </a:cubicBezTo>
                  <a:cubicBezTo>
                    <a:pt x="26" y="904"/>
                    <a:pt x="24" y="920"/>
                    <a:pt x="24" y="935"/>
                  </a:cubicBezTo>
                  <a:cubicBezTo>
                    <a:pt x="24" y="1004"/>
                    <a:pt x="47" y="1054"/>
                    <a:pt x="89" y="1076"/>
                  </a:cubicBezTo>
                  <a:cubicBezTo>
                    <a:pt x="210" y="1141"/>
                    <a:pt x="210" y="1141"/>
                    <a:pt x="210" y="1141"/>
                  </a:cubicBezTo>
                  <a:cubicBezTo>
                    <a:pt x="202" y="1126"/>
                    <a:pt x="196" y="1109"/>
                    <a:pt x="192" y="1091"/>
                  </a:cubicBezTo>
                  <a:cubicBezTo>
                    <a:pt x="189" y="1073"/>
                    <a:pt x="187" y="1055"/>
                    <a:pt x="187" y="1036"/>
                  </a:cubicBezTo>
                  <a:cubicBezTo>
                    <a:pt x="187" y="884"/>
                    <a:pt x="294" y="700"/>
                    <a:pt x="425" y="624"/>
                  </a:cubicBezTo>
                  <a:cubicBezTo>
                    <a:pt x="431" y="620"/>
                    <a:pt x="438" y="617"/>
                    <a:pt x="445" y="613"/>
                  </a:cubicBezTo>
                  <a:cubicBezTo>
                    <a:pt x="466" y="435"/>
                    <a:pt x="590" y="238"/>
                    <a:pt x="737" y="154"/>
                  </a:cubicBezTo>
                  <a:cubicBezTo>
                    <a:pt x="767" y="136"/>
                    <a:pt x="797" y="124"/>
                    <a:pt x="826" y="118"/>
                  </a:cubicBezTo>
                  <a:cubicBezTo>
                    <a:pt x="839" y="115"/>
                    <a:pt x="852" y="114"/>
                    <a:pt x="864" y="113"/>
                  </a:cubicBezTo>
                  <a:cubicBezTo>
                    <a:pt x="751" y="52"/>
                    <a:pt x="751" y="52"/>
                    <a:pt x="751" y="52"/>
                  </a:cubicBezTo>
                  <a:cubicBezTo>
                    <a:pt x="731" y="42"/>
                    <a:pt x="709" y="37"/>
                    <a:pt x="685" y="37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1" name="Freeform 2271">
              <a:extLst>
                <a:ext uri="{FF2B5EF4-FFF2-40B4-BE49-F238E27FC236}">
                  <a16:creationId xmlns:a16="http://schemas.microsoft.com/office/drawing/2014/main" id="{5A390188-5ED1-4650-B976-590F63F46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" y="3860"/>
              <a:ext cx="111" cy="75"/>
            </a:xfrm>
            <a:custGeom>
              <a:avLst/>
              <a:gdLst>
                <a:gd name="T0" fmla="*/ 315 w 403"/>
                <a:gd name="T1" fmla="*/ 272 h 272"/>
                <a:gd name="T2" fmla="*/ 313 w 403"/>
                <a:gd name="T3" fmla="*/ 272 h 272"/>
                <a:gd name="T4" fmla="*/ 304 w 403"/>
                <a:gd name="T5" fmla="*/ 265 h 272"/>
                <a:gd name="T6" fmla="*/ 236 w 403"/>
                <a:gd name="T7" fmla="*/ 120 h 272"/>
                <a:gd name="T8" fmla="*/ 173 w 403"/>
                <a:gd name="T9" fmla="*/ 182 h 272"/>
                <a:gd name="T10" fmla="*/ 162 w 403"/>
                <a:gd name="T11" fmla="*/ 185 h 272"/>
                <a:gd name="T12" fmla="*/ 153 w 403"/>
                <a:gd name="T13" fmla="*/ 179 h 272"/>
                <a:gd name="T14" fmla="*/ 85 w 403"/>
                <a:gd name="T15" fmla="*/ 33 h 272"/>
                <a:gd name="T16" fmla="*/ 22 w 403"/>
                <a:gd name="T17" fmla="*/ 96 h 272"/>
                <a:gd name="T18" fmla="*/ 5 w 403"/>
                <a:gd name="T19" fmla="*/ 96 h 272"/>
                <a:gd name="T20" fmla="*/ 5 w 403"/>
                <a:gd name="T21" fmla="*/ 79 h 272"/>
                <a:gd name="T22" fmla="*/ 80 w 403"/>
                <a:gd name="T23" fmla="*/ 4 h 272"/>
                <a:gd name="T24" fmla="*/ 90 w 403"/>
                <a:gd name="T25" fmla="*/ 1 h 272"/>
                <a:gd name="T26" fmla="*/ 99 w 403"/>
                <a:gd name="T27" fmla="*/ 8 h 272"/>
                <a:gd name="T28" fmla="*/ 168 w 403"/>
                <a:gd name="T29" fmla="*/ 153 h 272"/>
                <a:gd name="T30" fmla="*/ 231 w 403"/>
                <a:gd name="T31" fmla="*/ 91 h 272"/>
                <a:gd name="T32" fmla="*/ 241 w 403"/>
                <a:gd name="T33" fmla="*/ 87 h 272"/>
                <a:gd name="T34" fmla="*/ 250 w 403"/>
                <a:gd name="T35" fmla="*/ 94 h 272"/>
                <a:gd name="T36" fmla="*/ 319 w 403"/>
                <a:gd name="T37" fmla="*/ 239 h 272"/>
                <a:gd name="T38" fmla="*/ 382 w 403"/>
                <a:gd name="T39" fmla="*/ 177 h 272"/>
                <a:gd name="T40" fmla="*/ 399 w 403"/>
                <a:gd name="T41" fmla="*/ 177 h 272"/>
                <a:gd name="T42" fmla="*/ 398 w 403"/>
                <a:gd name="T43" fmla="*/ 194 h 272"/>
                <a:gd name="T44" fmla="*/ 323 w 403"/>
                <a:gd name="T45" fmla="*/ 268 h 272"/>
                <a:gd name="T46" fmla="*/ 315 w 403"/>
                <a:gd name="T47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3" h="272">
                  <a:moveTo>
                    <a:pt x="315" y="272"/>
                  </a:moveTo>
                  <a:cubicBezTo>
                    <a:pt x="314" y="272"/>
                    <a:pt x="314" y="272"/>
                    <a:pt x="313" y="272"/>
                  </a:cubicBezTo>
                  <a:cubicBezTo>
                    <a:pt x="309" y="271"/>
                    <a:pt x="306" y="269"/>
                    <a:pt x="304" y="265"/>
                  </a:cubicBezTo>
                  <a:cubicBezTo>
                    <a:pt x="236" y="120"/>
                    <a:pt x="236" y="120"/>
                    <a:pt x="236" y="120"/>
                  </a:cubicBezTo>
                  <a:cubicBezTo>
                    <a:pt x="173" y="182"/>
                    <a:pt x="173" y="182"/>
                    <a:pt x="173" y="182"/>
                  </a:cubicBezTo>
                  <a:cubicBezTo>
                    <a:pt x="170" y="185"/>
                    <a:pt x="166" y="186"/>
                    <a:pt x="162" y="185"/>
                  </a:cubicBezTo>
                  <a:cubicBezTo>
                    <a:pt x="158" y="185"/>
                    <a:pt x="155" y="182"/>
                    <a:pt x="153" y="179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17" y="100"/>
                    <a:pt x="9" y="100"/>
                    <a:pt x="5" y="96"/>
                  </a:cubicBezTo>
                  <a:cubicBezTo>
                    <a:pt x="0" y="91"/>
                    <a:pt x="0" y="83"/>
                    <a:pt x="5" y="79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83" y="1"/>
                    <a:pt x="86" y="0"/>
                    <a:pt x="90" y="1"/>
                  </a:cubicBezTo>
                  <a:cubicBezTo>
                    <a:pt x="94" y="2"/>
                    <a:pt x="97" y="4"/>
                    <a:pt x="99" y="8"/>
                  </a:cubicBezTo>
                  <a:cubicBezTo>
                    <a:pt x="168" y="153"/>
                    <a:pt x="168" y="153"/>
                    <a:pt x="168" y="153"/>
                  </a:cubicBezTo>
                  <a:cubicBezTo>
                    <a:pt x="231" y="91"/>
                    <a:pt x="231" y="91"/>
                    <a:pt x="231" y="91"/>
                  </a:cubicBezTo>
                  <a:cubicBezTo>
                    <a:pt x="233" y="88"/>
                    <a:pt x="237" y="87"/>
                    <a:pt x="241" y="87"/>
                  </a:cubicBezTo>
                  <a:cubicBezTo>
                    <a:pt x="245" y="88"/>
                    <a:pt x="248" y="90"/>
                    <a:pt x="250" y="94"/>
                  </a:cubicBezTo>
                  <a:cubicBezTo>
                    <a:pt x="319" y="239"/>
                    <a:pt x="319" y="239"/>
                    <a:pt x="319" y="239"/>
                  </a:cubicBezTo>
                  <a:cubicBezTo>
                    <a:pt x="382" y="177"/>
                    <a:pt x="382" y="177"/>
                    <a:pt x="382" y="177"/>
                  </a:cubicBezTo>
                  <a:cubicBezTo>
                    <a:pt x="386" y="172"/>
                    <a:pt x="394" y="172"/>
                    <a:pt x="399" y="177"/>
                  </a:cubicBezTo>
                  <a:cubicBezTo>
                    <a:pt x="403" y="182"/>
                    <a:pt x="403" y="189"/>
                    <a:pt x="398" y="194"/>
                  </a:cubicBezTo>
                  <a:cubicBezTo>
                    <a:pt x="323" y="268"/>
                    <a:pt x="323" y="268"/>
                    <a:pt x="323" y="268"/>
                  </a:cubicBezTo>
                  <a:cubicBezTo>
                    <a:pt x="321" y="271"/>
                    <a:pt x="318" y="272"/>
                    <a:pt x="315" y="27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2" name="Freeform 2272">
              <a:extLst>
                <a:ext uri="{FF2B5EF4-FFF2-40B4-BE49-F238E27FC236}">
                  <a16:creationId xmlns:a16="http://schemas.microsoft.com/office/drawing/2014/main" id="{A96177BF-A736-4EC3-B2CA-7108A2E71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2644"/>
              <a:ext cx="111" cy="75"/>
            </a:xfrm>
            <a:custGeom>
              <a:avLst/>
              <a:gdLst>
                <a:gd name="T0" fmla="*/ 88 w 403"/>
                <a:gd name="T1" fmla="*/ 271 h 271"/>
                <a:gd name="T2" fmla="*/ 80 w 403"/>
                <a:gd name="T3" fmla="*/ 268 h 271"/>
                <a:gd name="T4" fmla="*/ 5 w 403"/>
                <a:gd name="T5" fmla="*/ 193 h 271"/>
                <a:gd name="T6" fmla="*/ 5 w 403"/>
                <a:gd name="T7" fmla="*/ 177 h 271"/>
                <a:gd name="T8" fmla="*/ 22 w 403"/>
                <a:gd name="T9" fmla="*/ 176 h 271"/>
                <a:gd name="T10" fmla="*/ 84 w 403"/>
                <a:gd name="T11" fmla="*/ 239 h 271"/>
                <a:gd name="T12" fmla="*/ 153 w 403"/>
                <a:gd name="T13" fmla="*/ 93 h 271"/>
                <a:gd name="T14" fmla="*/ 162 w 403"/>
                <a:gd name="T15" fmla="*/ 87 h 271"/>
                <a:gd name="T16" fmla="*/ 172 w 403"/>
                <a:gd name="T17" fmla="*/ 90 h 271"/>
                <a:gd name="T18" fmla="*/ 235 w 403"/>
                <a:gd name="T19" fmla="*/ 153 h 271"/>
                <a:gd name="T20" fmla="*/ 304 w 403"/>
                <a:gd name="T21" fmla="*/ 7 h 271"/>
                <a:gd name="T22" fmla="*/ 313 w 403"/>
                <a:gd name="T23" fmla="*/ 0 h 271"/>
                <a:gd name="T24" fmla="*/ 323 w 403"/>
                <a:gd name="T25" fmla="*/ 4 h 271"/>
                <a:gd name="T26" fmla="*/ 398 w 403"/>
                <a:gd name="T27" fmla="*/ 78 h 271"/>
                <a:gd name="T28" fmla="*/ 398 w 403"/>
                <a:gd name="T29" fmla="*/ 95 h 271"/>
                <a:gd name="T30" fmla="*/ 381 w 403"/>
                <a:gd name="T31" fmla="*/ 95 h 271"/>
                <a:gd name="T32" fmla="*/ 318 w 403"/>
                <a:gd name="T33" fmla="*/ 33 h 271"/>
                <a:gd name="T34" fmla="*/ 250 w 403"/>
                <a:gd name="T35" fmla="*/ 178 h 271"/>
                <a:gd name="T36" fmla="*/ 241 w 403"/>
                <a:gd name="T37" fmla="*/ 185 h 271"/>
                <a:gd name="T38" fmla="*/ 231 w 403"/>
                <a:gd name="T39" fmla="*/ 182 h 271"/>
                <a:gd name="T40" fmla="*/ 168 w 403"/>
                <a:gd name="T41" fmla="*/ 119 h 271"/>
                <a:gd name="T42" fmla="*/ 99 w 403"/>
                <a:gd name="T43" fmla="*/ 265 h 271"/>
                <a:gd name="T44" fmla="*/ 90 w 403"/>
                <a:gd name="T45" fmla="*/ 271 h 271"/>
                <a:gd name="T46" fmla="*/ 88 w 403"/>
                <a:gd name="T4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3" h="271">
                  <a:moveTo>
                    <a:pt x="88" y="271"/>
                  </a:moveTo>
                  <a:cubicBezTo>
                    <a:pt x="85" y="271"/>
                    <a:pt x="82" y="270"/>
                    <a:pt x="80" y="268"/>
                  </a:cubicBezTo>
                  <a:cubicBezTo>
                    <a:pt x="5" y="193"/>
                    <a:pt x="5" y="193"/>
                    <a:pt x="5" y="193"/>
                  </a:cubicBezTo>
                  <a:cubicBezTo>
                    <a:pt x="0" y="189"/>
                    <a:pt x="0" y="181"/>
                    <a:pt x="5" y="177"/>
                  </a:cubicBezTo>
                  <a:cubicBezTo>
                    <a:pt x="9" y="172"/>
                    <a:pt x="17" y="172"/>
                    <a:pt x="22" y="176"/>
                  </a:cubicBezTo>
                  <a:cubicBezTo>
                    <a:pt x="84" y="239"/>
                    <a:pt x="84" y="239"/>
                    <a:pt x="84" y="239"/>
                  </a:cubicBezTo>
                  <a:cubicBezTo>
                    <a:pt x="153" y="93"/>
                    <a:pt x="153" y="93"/>
                    <a:pt x="153" y="93"/>
                  </a:cubicBezTo>
                  <a:cubicBezTo>
                    <a:pt x="155" y="90"/>
                    <a:pt x="158" y="87"/>
                    <a:pt x="162" y="87"/>
                  </a:cubicBezTo>
                  <a:cubicBezTo>
                    <a:pt x="166" y="86"/>
                    <a:pt x="170" y="87"/>
                    <a:pt x="172" y="90"/>
                  </a:cubicBezTo>
                  <a:cubicBezTo>
                    <a:pt x="235" y="153"/>
                    <a:pt x="235" y="153"/>
                    <a:pt x="235" y="153"/>
                  </a:cubicBezTo>
                  <a:cubicBezTo>
                    <a:pt x="304" y="7"/>
                    <a:pt x="304" y="7"/>
                    <a:pt x="304" y="7"/>
                  </a:cubicBezTo>
                  <a:cubicBezTo>
                    <a:pt x="306" y="4"/>
                    <a:pt x="309" y="1"/>
                    <a:pt x="313" y="0"/>
                  </a:cubicBezTo>
                  <a:cubicBezTo>
                    <a:pt x="317" y="0"/>
                    <a:pt x="321" y="1"/>
                    <a:pt x="323" y="4"/>
                  </a:cubicBezTo>
                  <a:cubicBezTo>
                    <a:pt x="398" y="78"/>
                    <a:pt x="398" y="78"/>
                    <a:pt x="398" y="78"/>
                  </a:cubicBezTo>
                  <a:cubicBezTo>
                    <a:pt x="403" y="83"/>
                    <a:pt x="403" y="90"/>
                    <a:pt x="398" y="95"/>
                  </a:cubicBezTo>
                  <a:cubicBezTo>
                    <a:pt x="394" y="100"/>
                    <a:pt x="386" y="100"/>
                    <a:pt x="381" y="95"/>
                  </a:cubicBezTo>
                  <a:cubicBezTo>
                    <a:pt x="318" y="33"/>
                    <a:pt x="318" y="33"/>
                    <a:pt x="318" y="33"/>
                  </a:cubicBezTo>
                  <a:cubicBezTo>
                    <a:pt x="250" y="178"/>
                    <a:pt x="250" y="178"/>
                    <a:pt x="250" y="178"/>
                  </a:cubicBezTo>
                  <a:cubicBezTo>
                    <a:pt x="248" y="182"/>
                    <a:pt x="245" y="184"/>
                    <a:pt x="241" y="185"/>
                  </a:cubicBezTo>
                  <a:cubicBezTo>
                    <a:pt x="237" y="186"/>
                    <a:pt x="233" y="184"/>
                    <a:pt x="231" y="182"/>
                  </a:cubicBezTo>
                  <a:cubicBezTo>
                    <a:pt x="168" y="119"/>
                    <a:pt x="168" y="119"/>
                    <a:pt x="168" y="119"/>
                  </a:cubicBezTo>
                  <a:cubicBezTo>
                    <a:pt x="99" y="265"/>
                    <a:pt x="99" y="265"/>
                    <a:pt x="99" y="265"/>
                  </a:cubicBezTo>
                  <a:cubicBezTo>
                    <a:pt x="97" y="268"/>
                    <a:pt x="94" y="271"/>
                    <a:pt x="90" y="271"/>
                  </a:cubicBezTo>
                  <a:cubicBezTo>
                    <a:pt x="89" y="271"/>
                    <a:pt x="89" y="271"/>
                    <a:pt x="88" y="27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3" name="Freeform 2273">
              <a:extLst>
                <a:ext uri="{FF2B5EF4-FFF2-40B4-BE49-F238E27FC236}">
                  <a16:creationId xmlns:a16="http://schemas.microsoft.com/office/drawing/2014/main" id="{8DE4397F-4DCD-453E-B6A4-281D880DAD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9" y="3447"/>
              <a:ext cx="112" cy="75"/>
            </a:xfrm>
            <a:custGeom>
              <a:avLst/>
              <a:gdLst>
                <a:gd name="T0" fmla="*/ 317 w 405"/>
                <a:gd name="T1" fmla="*/ 272 h 272"/>
                <a:gd name="T2" fmla="*/ 315 w 405"/>
                <a:gd name="T3" fmla="*/ 272 h 272"/>
                <a:gd name="T4" fmla="*/ 306 w 405"/>
                <a:gd name="T5" fmla="*/ 265 h 272"/>
                <a:gd name="T6" fmla="*/ 236 w 405"/>
                <a:gd name="T7" fmla="*/ 120 h 272"/>
                <a:gd name="T8" fmla="*/ 174 w 405"/>
                <a:gd name="T9" fmla="*/ 182 h 272"/>
                <a:gd name="T10" fmla="*/ 163 w 405"/>
                <a:gd name="T11" fmla="*/ 185 h 272"/>
                <a:gd name="T12" fmla="*/ 154 w 405"/>
                <a:gd name="T13" fmla="*/ 178 h 272"/>
                <a:gd name="T14" fmla="*/ 84 w 405"/>
                <a:gd name="T15" fmla="*/ 33 h 272"/>
                <a:gd name="T16" fmla="*/ 22 w 405"/>
                <a:gd name="T17" fmla="*/ 95 h 272"/>
                <a:gd name="T18" fmla="*/ 5 w 405"/>
                <a:gd name="T19" fmla="*/ 95 h 272"/>
                <a:gd name="T20" fmla="*/ 5 w 405"/>
                <a:gd name="T21" fmla="*/ 78 h 272"/>
                <a:gd name="T22" fmla="*/ 80 w 405"/>
                <a:gd name="T23" fmla="*/ 4 h 272"/>
                <a:gd name="T24" fmla="*/ 90 w 405"/>
                <a:gd name="T25" fmla="*/ 1 h 272"/>
                <a:gd name="T26" fmla="*/ 99 w 405"/>
                <a:gd name="T27" fmla="*/ 8 h 272"/>
                <a:gd name="T28" fmla="*/ 169 w 405"/>
                <a:gd name="T29" fmla="*/ 153 h 272"/>
                <a:gd name="T30" fmla="*/ 231 w 405"/>
                <a:gd name="T31" fmla="*/ 91 h 272"/>
                <a:gd name="T32" fmla="*/ 242 w 405"/>
                <a:gd name="T33" fmla="*/ 88 h 272"/>
                <a:gd name="T34" fmla="*/ 251 w 405"/>
                <a:gd name="T35" fmla="*/ 95 h 272"/>
                <a:gd name="T36" fmla="*/ 321 w 405"/>
                <a:gd name="T37" fmla="*/ 240 h 272"/>
                <a:gd name="T38" fmla="*/ 383 w 405"/>
                <a:gd name="T39" fmla="*/ 178 h 272"/>
                <a:gd name="T40" fmla="*/ 400 w 405"/>
                <a:gd name="T41" fmla="*/ 178 h 272"/>
                <a:gd name="T42" fmla="*/ 400 w 405"/>
                <a:gd name="T43" fmla="*/ 195 h 272"/>
                <a:gd name="T44" fmla="*/ 326 w 405"/>
                <a:gd name="T45" fmla="*/ 269 h 272"/>
                <a:gd name="T46" fmla="*/ 317 w 405"/>
                <a:gd name="T47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5" h="272">
                  <a:moveTo>
                    <a:pt x="317" y="272"/>
                  </a:moveTo>
                  <a:cubicBezTo>
                    <a:pt x="316" y="272"/>
                    <a:pt x="316" y="272"/>
                    <a:pt x="315" y="272"/>
                  </a:cubicBezTo>
                  <a:cubicBezTo>
                    <a:pt x="311" y="271"/>
                    <a:pt x="308" y="269"/>
                    <a:pt x="306" y="265"/>
                  </a:cubicBezTo>
                  <a:cubicBezTo>
                    <a:pt x="236" y="120"/>
                    <a:pt x="236" y="120"/>
                    <a:pt x="236" y="120"/>
                  </a:cubicBezTo>
                  <a:cubicBezTo>
                    <a:pt x="174" y="182"/>
                    <a:pt x="174" y="182"/>
                    <a:pt x="174" y="182"/>
                  </a:cubicBezTo>
                  <a:cubicBezTo>
                    <a:pt x="171" y="184"/>
                    <a:pt x="167" y="186"/>
                    <a:pt x="163" y="185"/>
                  </a:cubicBezTo>
                  <a:cubicBezTo>
                    <a:pt x="159" y="184"/>
                    <a:pt x="156" y="182"/>
                    <a:pt x="154" y="178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22" y="95"/>
                    <a:pt x="22" y="95"/>
                    <a:pt x="22" y="95"/>
                  </a:cubicBezTo>
                  <a:cubicBezTo>
                    <a:pt x="17" y="99"/>
                    <a:pt x="10" y="99"/>
                    <a:pt x="5" y="95"/>
                  </a:cubicBezTo>
                  <a:cubicBezTo>
                    <a:pt x="0" y="90"/>
                    <a:pt x="0" y="82"/>
                    <a:pt x="5" y="78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82" y="2"/>
                    <a:pt x="86" y="0"/>
                    <a:pt x="90" y="1"/>
                  </a:cubicBezTo>
                  <a:cubicBezTo>
                    <a:pt x="94" y="2"/>
                    <a:pt x="97" y="4"/>
                    <a:pt x="99" y="8"/>
                  </a:cubicBezTo>
                  <a:cubicBezTo>
                    <a:pt x="169" y="153"/>
                    <a:pt x="169" y="153"/>
                    <a:pt x="169" y="153"/>
                  </a:cubicBezTo>
                  <a:cubicBezTo>
                    <a:pt x="231" y="91"/>
                    <a:pt x="231" y="91"/>
                    <a:pt x="231" y="91"/>
                  </a:cubicBezTo>
                  <a:cubicBezTo>
                    <a:pt x="234" y="89"/>
                    <a:pt x="238" y="87"/>
                    <a:pt x="242" y="88"/>
                  </a:cubicBezTo>
                  <a:cubicBezTo>
                    <a:pt x="246" y="89"/>
                    <a:pt x="249" y="91"/>
                    <a:pt x="251" y="95"/>
                  </a:cubicBezTo>
                  <a:cubicBezTo>
                    <a:pt x="321" y="240"/>
                    <a:pt x="321" y="240"/>
                    <a:pt x="321" y="240"/>
                  </a:cubicBezTo>
                  <a:cubicBezTo>
                    <a:pt x="383" y="178"/>
                    <a:pt x="383" y="178"/>
                    <a:pt x="383" y="178"/>
                  </a:cubicBezTo>
                  <a:cubicBezTo>
                    <a:pt x="388" y="174"/>
                    <a:pt x="396" y="174"/>
                    <a:pt x="400" y="178"/>
                  </a:cubicBezTo>
                  <a:cubicBezTo>
                    <a:pt x="405" y="183"/>
                    <a:pt x="405" y="191"/>
                    <a:pt x="400" y="195"/>
                  </a:cubicBezTo>
                  <a:cubicBezTo>
                    <a:pt x="326" y="269"/>
                    <a:pt x="326" y="269"/>
                    <a:pt x="326" y="269"/>
                  </a:cubicBezTo>
                  <a:cubicBezTo>
                    <a:pt x="323" y="271"/>
                    <a:pt x="320" y="272"/>
                    <a:pt x="317" y="27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4" name="Oval 2274">
              <a:extLst>
                <a:ext uri="{FF2B5EF4-FFF2-40B4-BE49-F238E27FC236}">
                  <a16:creationId xmlns:a16="http://schemas.microsoft.com/office/drawing/2014/main" id="{550D37EE-52D8-47D2-8C6E-72C447236A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0" y="3511"/>
              <a:ext cx="43" cy="4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5" name="Freeform 2275">
              <a:extLst>
                <a:ext uri="{FF2B5EF4-FFF2-40B4-BE49-F238E27FC236}">
                  <a16:creationId xmlns:a16="http://schemas.microsoft.com/office/drawing/2014/main" id="{F30A5E81-CFFE-4C90-BEC2-4FE583D58D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" y="3508"/>
              <a:ext cx="50" cy="49"/>
            </a:xfrm>
            <a:custGeom>
              <a:avLst/>
              <a:gdLst>
                <a:gd name="T0" fmla="*/ 89 w 179"/>
                <a:gd name="T1" fmla="*/ 178 h 178"/>
                <a:gd name="T2" fmla="*/ 0 w 179"/>
                <a:gd name="T3" fmla="*/ 89 h 178"/>
                <a:gd name="T4" fmla="*/ 89 w 179"/>
                <a:gd name="T5" fmla="*/ 0 h 178"/>
                <a:gd name="T6" fmla="*/ 179 w 179"/>
                <a:gd name="T7" fmla="*/ 89 h 178"/>
                <a:gd name="T8" fmla="*/ 89 w 179"/>
                <a:gd name="T9" fmla="*/ 178 h 178"/>
                <a:gd name="T10" fmla="*/ 89 w 179"/>
                <a:gd name="T11" fmla="*/ 24 h 178"/>
                <a:gd name="T12" fmla="*/ 24 w 179"/>
                <a:gd name="T13" fmla="*/ 89 h 178"/>
                <a:gd name="T14" fmla="*/ 89 w 179"/>
                <a:gd name="T15" fmla="*/ 154 h 178"/>
                <a:gd name="T16" fmla="*/ 155 w 179"/>
                <a:gd name="T17" fmla="*/ 89 h 178"/>
                <a:gd name="T18" fmla="*/ 89 w 179"/>
                <a:gd name="T19" fmla="*/ 24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9" h="178">
                  <a:moveTo>
                    <a:pt x="89" y="178"/>
                  </a:moveTo>
                  <a:cubicBezTo>
                    <a:pt x="40" y="178"/>
                    <a:pt x="0" y="138"/>
                    <a:pt x="0" y="89"/>
                  </a:cubicBezTo>
                  <a:cubicBezTo>
                    <a:pt x="0" y="40"/>
                    <a:pt x="40" y="0"/>
                    <a:pt x="89" y="0"/>
                  </a:cubicBezTo>
                  <a:cubicBezTo>
                    <a:pt x="139" y="0"/>
                    <a:pt x="179" y="40"/>
                    <a:pt x="179" y="89"/>
                  </a:cubicBezTo>
                  <a:cubicBezTo>
                    <a:pt x="179" y="138"/>
                    <a:pt x="139" y="178"/>
                    <a:pt x="89" y="178"/>
                  </a:cubicBezTo>
                  <a:close/>
                  <a:moveTo>
                    <a:pt x="89" y="24"/>
                  </a:moveTo>
                  <a:cubicBezTo>
                    <a:pt x="54" y="24"/>
                    <a:pt x="24" y="53"/>
                    <a:pt x="24" y="89"/>
                  </a:cubicBezTo>
                  <a:cubicBezTo>
                    <a:pt x="24" y="125"/>
                    <a:pt x="54" y="154"/>
                    <a:pt x="89" y="154"/>
                  </a:cubicBezTo>
                  <a:cubicBezTo>
                    <a:pt x="125" y="154"/>
                    <a:pt x="155" y="125"/>
                    <a:pt x="155" y="89"/>
                  </a:cubicBezTo>
                  <a:cubicBezTo>
                    <a:pt x="155" y="53"/>
                    <a:pt x="125" y="24"/>
                    <a:pt x="89" y="2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6" name="Oval 2276">
              <a:extLst>
                <a:ext uri="{FF2B5EF4-FFF2-40B4-BE49-F238E27FC236}">
                  <a16:creationId xmlns:a16="http://schemas.microsoft.com/office/drawing/2014/main" id="{2A88EA1C-B444-4352-AED3-F68D4772AA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4" y="3177"/>
              <a:ext cx="43" cy="4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7" name="Freeform 2277">
              <a:extLst>
                <a:ext uri="{FF2B5EF4-FFF2-40B4-BE49-F238E27FC236}">
                  <a16:creationId xmlns:a16="http://schemas.microsoft.com/office/drawing/2014/main" id="{E17D44EA-E50B-48F5-87B8-6AE183AA2F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1" y="3174"/>
              <a:ext cx="49" cy="49"/>
            </a:xfrm>
            <a:custGeom>
              <a:avLst/>
              <a:gdLst>
                <a:gd name="T0" fmla="*/ 89 w 178"/>
                <a:gd name="T1" fmla="*/ 178 h 178"/>
                <a:gd name="T2" fmla="*/ 0 w 178"/>
                <a:gd name="T3" fmla="*/ 89 h 178"/>
                <a:gd name="T4" fmla="*/ 89 w 178"/>
                <a:gd name="T5" fmla="*/ 0 h 178"/>
                <a:gd name="T6" fmla="*/ 178 w 178"/>
                <a:gd name="T7" fmla="*/ 89 h 178"/>
                <a:gd name="T8" fmla="*/ 89 w 178"/>
                <a:gd name="T9" fmla="*/ 178 h 178"/>
                <a:gd name="T10" fmla="*/ 89 w 178"/>
                <a:gd name="T11" fmla="*/ 24 h 178"/>
                <a:gd name="T12" fmla="*/ 24 w 178"/>
                <a:gd name="T13" fmla="*/ 89 h 178"/>
                <a:gd name="T14" fmla="*/ 89 w 178"/>
                <a:gd name="T15" fmla="*/ 154 h 178"/>
                <a:gd name="T16" fmla="*/ 154 w 178"/>
                <a:gd name="T17" fmla="*/ 89 h 178"/>
                <a:gd name="T18" fmla="*/ 89 w 178"/>
                <a:gd name="T19" fmla="*/ 24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8" h="178">
                  <a:moveTo>
                    <a:pt x="89" y="178"/>
                  </a:moveTo>
                  <a:cubicBezTo>
                    <a:pt x="40" y="178"/>
                    <a:pt x="0" y="138"/>
                    <a:pt x="0" y="89"/>
                  </a:cubicBezTo>
                  <a:cubicBezTo>
                    <a:pt x="0" y="39"/>
                    <a:pt x="40" y="0"/>
                    <a:pt x="89" y="0"/>
                  </a:cubicBezTo>
                  <a:cubicBezTo>
                    <a:pt x="138" y="0"/>
                    <a:pt x="178" y="39"/>
                    <a:pt x="178" y="89"/>
                  </a:cubicBezTo>
                  <a:cubicBezTo>
                    <a:pt x="178" y="138"/>
                    <a:pt x="138" y="178"/>
                    <a:pt x="89" y="178"/>
                  </a:cubicBezTo>
                  <a:close/>
                  <a:moveTo>
                    <a:pt x="89" y="24"/>
                  </a:moveTo>
                  <a:cubicBezTo>
                    <a:pt x="53" y="24"/>
                    <a:pt x="24" y="53"/>
                    <a:pt x="24" y="89"/>
                  </a:cubicBezTo>
                  <a:cubicBezTo>
                    <a:pt x="24" y="124"/>
                    <a:pt x="53" y="154"/>
                    <a:pt x="89" y="154"/>
                  </a:cubicBezTo>
                  <a:cubicBezTo>
                    <a:pt x="125" y="154"/>
                    <a:pt x="154" y="124"/>
                    <a:pt x="154" y="89"/>
                  </a:cubicBezTo>
                  <a:cubicBezTo>
                    <a:pt x="154" y="53"/>
                    <a:pt x="125" y="24"/>
                    <a:pt x="89" y="2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8" name="Oval 2278">
              <a:extLst>
                <a:ext uri="{FF2B5EF4-FFF2-40B4-BE49-F238E27FC236}">
                  <a16:creationId xmlns:a16="http://schemas.microsoft.com/office/drawing/2014/main" id="{8BE8A987-0E08-43ED-A8F7-F6318F9FFD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0" y="3823"/>
              <a:ext cx="43" cy="4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9" name="Freeform 2279">
              <a:extLst>
                <a:ext uri="{FF2B5EF4-FFF2-40B4-BE49-F238E27FC236}">
                  <a16:creationId xmlns:a16="http://schemas.microsoft.com/office/drawing/2014/main" id="{455473F7-6469-4A2B-A4D1-22B0FD911C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77" y="3820"/>
              <a:ext cx="49" cy="49"/>
            </a:xfrm>
            <a:custGeom>
              <a:avLst/>
              <a:gdLst>
                <a:gd name="T0" fmla="*/ 89 w 178"/>
                <a:gd name="T1" fmla="*/ 178 h 178"/>
                <a:gd name="T2" fmla="*/ 0 w 178"/>
                <a:gd name="T3" fmla="*/ 89 h 178"/>
                <a:gd name="T4" fmla="*/ 89 w 178"/>
                <a:gd name="T5" fmla="*/ 0 h 178"/>
                <a:gd name="T6" fmla="*/ 178 w 178"/>
                <a:gd name="T7" fmla="*/ 89 h 178"/>
                <a:gd name="T8" fmla="*/ 89 w 178"/>
                <a:gd name="T9" fmla="*/ 178 h 178"/>
                <a:gd name="T10" fmla="*/ 89 w 178"/>
                <a:gd name="T11" fmla="*/ 24 h 178"/>
                <a:gd name="T12" fmla="*/ 24 w 178"/>
                <a:gd name="T13" fmla="*/ 89 h 178"/>
                <a:gd name="T14" fmla="*/ 89 w 178"/>
                <a:gd name="T15" fmla="*/ 154 h 178"/>
                <a:gd name="T16" fmla="*/ 154 w 178"/>
                <a:gd name="T17" fmla="*/ 89 h 178"/>
                <a:gd name="T18" fmla="*/ 89 w 178"/>
                <a:gd name="T19" fmla="*/ 24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8" h="178">
                  <a:moveTo>
                    <a:pt x="89" y="178"/>
                  </a:moveTo>
                  <a:cubicBezTo>
                    <a:pt x="40" y="178"/>
                    <a:pt x="0" y="138"/>
                    <a:pt x="0" y="89"/>
                  </a:cubicBezTo>
                  <a:cubicBezTo>
                    <a:pt x="0" y="40"/>
                    <a:pt x="40" y="0"/>
                    <a:pt x="89" y="0"/>
                  </a:cubicBezTo>
                  <a:cubicBezTo>
                    <a:pt x="138" y="0"/>
                    <a:pt x="178" y="40"/>
                    <a:pt x="178" y="89"/>
                  </a:cubicBezTo>
                  <a:cubicBezTo>
                    <a:pt x="178" y="138"/>
                    <a:pt x="138" y="178"/>
                    <a:pt x="89" y="178"/>
                  </a:cubicBezTo>
                  <a:close/>
                  <a:moveTo>
                    <a:pt x="89" y="24"/>
                  </a:moveTo>
                  <a:cubicBezTo>
                    <a:pt x="53" y="24"/>
                    <a:pt x="24" y="53"/>
                    <a:pt x="24" y="89"/>
                  </a:cubicBezTo>
                  <a:cubicBezTo>
                    <a:pt x="24" y="125"/>
                    <a:pt x="53" y="154"/>
                    <a:pt x="89" y="154"/>
                  </a:cubicBezTo>
                  <a:cubicBezTo>
                    <a:pt x="125" y="154"/>
                    <a:pt x="154" y="125"/>
                    <a:pt x="154" y="89"/>
                  </a:cubicBezTo>
                  <a:cubicBezTo>
                    <a:pt x="154" y="53"/>
                    <a:pt x="125" y="24"/>
                    <a:pt x="89" y="2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0" name="Oval 2280">
              <a:extLst>
                <a:ext uri="{FF2B5EF4-FFF2-40B4-BE49-F238E27FC236}">
                  <a16:creationId xmlns:a16="http://schemas.microsoft.com/office/drawing/2014/main" id="{E2CE4379-714D-44D5-8292-613EE13659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1" y="2907"/>
              <a:ext cx="43" cy="4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1" name="Freeform 2281">
              <a:extLst>
                <a:ext uri="{FF2B5EF4-FFF2-40B4-BE49-F238E27FC236}">
                  <a16:creationId xmlns:a16="http://schemas.microsoft.com/office/drawing/2014/main" id="{1A4E791F-2E11-4356-BA1C-5889B60B2B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8" y="2904"/>
              <a:ext cx="49" cy="49"/>
            </a:xfrm>
            <a:custGeom>
              <a:avLst/>
              <a:gdLst>
                <a:gd name="T0" fmla="*/ 89 w 179"/>
                <a:gd name="T1" fmla="*/ 178 h 178"/>
                <a:gd name="T2" fmla="*/ 0 w 179"/>
                <a:gd name="T3" fmla="*/ 89 h 178"/>
                <a:gd name="T4" fmla="*/ 89 w 179"/>
                <a:gd name="T5" fmla="*/ 0 h 178"/>
                <a:gd name="T6" fmla="*/ 179 w 179"/>
                <a:gd name="T7" fmla="*/ 89 h 178"/>
                <a:gd name="T8" fmla="*/ 89 w 179"/>
                <a:gd name="T9" fmla="*/ 178 h 178"/>
                <a:gd name="T10" fmla="*/ 89 w 179"/>
                <a:gd name="T11" fmla="*/ 24 h 178"/>
                <a:gd name="T12" fmla="*/ 24 w 179"/>
                <a:gd name="T13" fmla="*/ 89 h 178"/>
                <a:gd name="T14" fmla="*/ 89 w 179"/>
                <a:gd name="T15" fmla="*/ 154 h 178"/>
                <a:gd name="T16" fmla="*/ 155 w 179"/>
                <a:gd name="T17" fmla="*/ 89 h 178"/>
                <a:gd name="T18" fmla="*/ 89 w 179"/>
                <a:gd name="T19" fmla="*/ 24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9" h="178">
                  <a:moveTo>
                    <a:pt x="89" y="178"/>
                  </a:moveTo>
                  <a:cubicBezTo>
                    <a:pt x="40" y="178"/>
                    <a:pt x="0" y="138"/>
                    <a:pt x="0" y="89"/>
                  </a:cubicBezTo>
                  <a:cubicBezTo>
                    <a:pt x="0" y="40"/>
                    <a:pt x="40" y="0"/>
                    <a:pt x="89" y="0"/>
                  </a:cubicBezTo>
                  <a:cubicBezTo>
                    <a:pt x="139" y="0"/>
                    <a:pt x="179" y="40"/>
                    <a:pt x="179" y="89"/>
                  </a:cubicBezTo>
                  <a:cubicBezTo>
                    <a:pt x="179" y="138"/>
                    <a:pt x="139" y="178"/>
                    <a:pt x="89" y="178"/>
                  </a:cubicBezTo>
                  <a:close/>
                  <a:moveTo>
                    <a:pt x="89" y="24"/>
                  </a:moveTo>
                  <a:cubicBezTo>
                    <a:pt x="54" y="24"/>
                    <a:pt x="24" y="53"/>
                    <a:pt x="24" y="89"/>
                  </a:cubicBezTo>
                  <a:cubicBezTo>
                    <a:pt x="24" y="125"/>
                    <a:pt x="54" y="154"/>
                    <a:pt x="89" y="154"/>
                  </a:cubicBezTo>
                  <a:cubicBezTo>
                    <a:pt x="125" y="154"/>
                    <a:pt x="155" y="125"/>
                    <a:pt x="155" y="89"/>
                  </a:cubicBezTo>
                  <a:cubicBezTo>
                    <a:pt x="155" y="53"/>
                    <a:pt x="125" y="24"/>
                    <a:pt x="89" y="2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2" name="Freeform 2282">
              <a:extLst>
                <a:ext uri="{FF2B5EF4-FFF2-40B4-BE49-F238E27FC236}">
                  <a16:creationId xmlns:a16="http://schemas.microsoft.com/office/drawing/2014/main" id="{0F0D2394-BD78-4CD5-B046-0AEB4C807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2" y="3902"/>
              <a:ext cx="50" cy="31"/>
            </a:xfrm>
            <a:custGeom>
              <a:avLst/>
              <a:gdLst>
                <a:gd name="T0" fmla="*/ 14 w 179"/>
                <a:gd name="T1" fmla="*/ 113 h 113"/>
                <a:gd name="T2" fmla="*/ 4 w 179"/>
                <a:gd name="T3" fmla="*/ 107 h 113"/>
                <a:gd name="T4" fmla="*/ 8 w 179"/>
                <a:gd name="T5" fmla="*/ 90 h 113"/>
                <a:gd name="T6" fmla="*/ 159 w 179"/>
                <a:gd name="T7" fmla="*/ 3 h 113"/>
                <a:gd name="T8" fmla="*/ 176 w 179"/>
                <a:gd name="T9" fmla="*/ 7 h 113"/>
                <a:gd name="T10" fmla="*/ 171 w 179"/>
                <a:gd name="T11" fmla="*/ 24 h 113"/>
                <a:gd name="T12" fmla="*/ 20 w 179"/>
                <a:gd name="T13" fmla="*/ 111 h 113"/>
                <a:gd name="T14" fmla="*/ 14 w 179"/>
                <a:gd name="T1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9" h="113">
                  <a:moveTo>
                    <a:pt x="14" y="113"/>
                  </a:moveTo>
                  <a:cubicBezTo>
                    <a:pt x="10" y="113"/>
                    <a:pt x="6" y="110"/>
                    <a:pt x="4" y="107"/>
                  </a:cubicBezTo>
                  <a:cubicBezTo>
                    <a:pt x="0" y="101"/>
                    <a:pt x="2" y="94"/>
                    <a:pt x="8" y="90"/>
                  </a:cubicBezTo>
                  <a:cubicBezTo>
                    <a:pt x="159" y="3"/>
                    <a:pt x="159" y="3"/>
                    <a:pt x="159" y="3"/>
                  </a:cubicBezTo>
                  <a:cubicBezTo>
                    <a:pt x="165" y="0"/>
                    <a:pt x="172" y="2"/>
                    <a:pt x="176" y="7"/>
                  </a:cubicBezTo>
                  <a:cubicBezTo>
                    <a:pt x="179" y="13"/>
                    <a:pt x="177" y="20"/>
                    <a:pt x="171" y="24"/>
                  </a:cubicBezTo>
                  <a:cubicBezTo>
                    <a:pt x="20" y="111"/>
                    <a:pt x="20" y="111"/>
                    <a:pt x="20" y="111"/>
                  </a:cubicBezTo>
                  <a:cubicBezTo>
                    <a:pt x="18" y="112"/>
                    <a:pt x="16" y="113"/>
                    <a:pt x="14" y="11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3" name="Freeform 2283">
              <a:extLst>
                <a:ext uri="{FF2B5EF4-FFF2-40B4-BE49-F238E27FC236}">
                  <a16:creationId xmlns:a16="http://schemas.microsoft.com/office/drawing/2014/main" id="{DA0C5A58-CF71-4E62-86AD-9E6788702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2" y="3902"/>
              <a:ext cx="50" cy="31"/>
            </a:xfrm>
            <a:custGeom>
              <a:avLst/>
              <a:gdLst>
                <a:gd name="T0" fmla="*/ 165 w 179"/>
                <a:gd name="T1" fmla="*/ 113 h 113"/>
                <a:gd name="T2" fmla="*/ 159 w 179"/>
                <a:gd name="T3" fmla="*/ 111 h 113"/>
                <a:gd name="T4" fmla="*/ 8 w 179"/>
                <a:gd name="T5" fmla="*/ 24 h 113"/>
                <a:gd name="T6" fmla="*/ 4 w 179"/>
                <a:gd name="T7" fmla="*/ 7 h 113"/>
                <a:gd name="T8" fmla="*/ 20 w 179"/>
                <a:gd name="T9" fmla="*/ 3 h 113"/>
                <a:gd name="T10" fmla="*/ 171 w 179"/>
                <a:gd name="T11" fmla="*/ 90 h 113"/>
                <a:gd name="T12" fmla="*/ 176 w 179"/>
                <a:gd name="T13" fmla="*/ 107 h 113"/>
                <a:gd name="T14" fmla="*/ 165 w 179"/>
                <a:gd name="T1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9" h="113">
                  <a:moveTo>
                    <a:pt x="165" y="113"/>
                  </a:moveTo>
                  <a:cubicBezTo>
                    <a:pt x="163" y="113"/>
                    <a:pt x="161" y="112"/>
                    <a:pt x="159" y="111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0"/>
                    <a:pt x="0" y="13"/>
                    <a:pt x="4" y="7"/>
                  </a:cubicBezTo>
                  <a:cubicBezTo>
                    <a:pt x="7" y="2"/>
                    <a:pt x="14" y="0"/>
                    <a:pt x="20" y="3"/>
                  </a:cubicBezTo>
                  <a:cubicBezTo>
                    <a:pt x="171" y="90"/>
                    <a:pt x="171" y="90"/>
                    <a:pt x="171" y="90"/>
                  </a:cubicBezTo>
                  <a:cubicBezTo>
                    <a:pt x="177" y="94"/>
                    <a:pt x="179" y="101"/>
                    <a:pt x="176" y="107"/>
                  </a:cubicBezTo>
                  <a:cubicBezTo>
                    <a:pt x="173" y="110"/>
                    <a:pt x="169" y="113"/>
                    <a:pt x="165" y="11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4" name="Freeform 2284">
              <a:extLst>
                <a:ext uri="{FF2B5EF4-FFF2-40B4-BE49-F238E27FC236}">
                  <a16:creationId xmlns:a16="http://schemas.microsoft.com/office/drawing/2014/main" id="{D6040D29-83EF-4A16-B086-419BD7A52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0" y="3378"/>
              <a:ext cx="50" cy="31"/>
            </a:xfrm>
            <a:custGeom>
              <a:avLst/>
              <a:gdLst>
                <a:gd name="T0" fmla="*/ 14 w 179"/>
                <a:gd name="T1" fmla="*/ 113 h 113"/>
                <a:gd name="T2" fmla="*/ 3 w 179"/>
                <a:gd name="T3" fmla="*/ 107 h 113"/>
                <a:gd name="T4" fmla="*/ 8 w 179"/>
                <a:gd name="T5" fmla="*/ 91 h 113"/>
                <a:gd name="T6" fmla="*/ 159 w 179"/>
                <a:gd name="T7" fmla="*/ 3 h 113"/>
                <a:gd name="T8" fmla="*/ 175 w 179"/>
                <a:gd name="T9" fmla="*/ 8 h 113"/>
                <a:gd name="T10" fmla="*/ 171 w 179"/>
                <a:gd name="T11" fmla="*/ 24 h 113"/>
                <a:gd name="T12" fmla="*/ 20 w 179"/>
                <a:gd name="T13" fmla="*/ 111 h 113"/>
                <a:gd name="T14" fmla="*/ 14 w 179"/>
                <a:gd name="T1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9" h="113">
                  <a:moveTo>
                    <a:pt x="14" y="113"/>
                  </a:moveTo>
                  <a:cubicBezTo>
                    <a:pt x="10" y="113"/>
                    <a:pt x="6" y="111"/>
                    <a:pt x="3" y="107"/>
                  </a:cubicBezTo>
                  <a:cubicBezTo>
                    <a:pt x="0" y="101"/>
                    <a:pt x="2" y="94"/>
                    <a:pt x="8" y="91"/>
                  </a:cubicBezTo>
                  <a:cubicBezTo>
                    <a:pt x="159" y="3"/>
                    <a:pt x="159" y="3"/>
                    <a:pt x="159" y="3"/>
                  </a:cubicBezTo>
                  <a:cubicBezTo>
                    <a:pt x="165" y="0"/>
                    <a:pt x="172" y="2"/>
                    <a:pt x="175" y="8"/>
                  </a:cubicBezTo>
                  <a:cubicBezTo>
                    <a:pt x="179" y="13"/>
                    <a:pt x="177" y="21"/>
                    <a:pt x="171" y="24"/>
                  </a:cubicBezTo>
                  <a:cubicBezTo>
                    <a:pt x="20" y="111"/>
                    <a:pt x="20" y="111"/>
                    <a:pt x="20" y="111"/>
                  </a:cubicBezTo>
                  <a:cubicBezTo>
                    <a:pt x="18" y="112"/>
                    <a:pt x="16" y="113"/>
                    <a:pt x="14" y="11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5" name="Freeform 2285">
              <a:extLst>
                <a:ext uri="{FF2B5EF4-FFF2-40B4-BE49-F238E27FC236}">
                  <a16:creationId xmlns:a16="http://schemas.microsoft.com/office/drawing/2014/main" id="{2577EBD3-2248-4027-AB69-96E99FD70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0" y="3378"/>
              <a:ext cx="50" cy="31"/>
            </a:xfrm>
            <a:custGeom>
              <a:avLst/>
              <a:gdLst>
                <a:gd name="T0" fmla="*/ 165 w 179"/>
                <a:gd name="T1" fmla="*/ 113 h 113"/>
                <a:gd name="T2" fmla="*/ 159 w 179"/>
                <a:gd name="T3" fmla="*/ 111 h 113"/>
                <a:gd name="T4" fmla="*/ 8 w 179"/>
                <a:gd name="T5" fmla="*/ 24 h 113"/>
                <a:gd name="T6" fmla="*/ 3 w 179"/>
                <a:gd name="T7" fmla="*/ 8 h 113"/>
                <a:gd name="T8" fmla="*/ 20 w 179"/>
                <a:gd name="T9" fmla="*/ 3 h 113"/>
                <a:gd name="T10" fmla="*/ 171 w 179"/>
                <a:gd name="T11" fmla="*/ 91 h 113"/>
                <a:gd name="T12" fmla="*/ 175 w 179"/>
                <a:gd name="T13" fmla="*/ 107 h 113"/>
                <a:gd name="T14" fmla="*/ 165 w 179"/>
                <a:gd name="T1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9" h="113">
                  <a:moveTo>
                    <a:pt x="165" y="113"/>
                  </a:moveTo>
                  <a:cubicBezTo>
                    <a:pt x="163" y="113"/>
                    <a:pt x="161" y="112"/>
                    <a:pt x="159" y="111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3"/>
                    <a:pt x="3" y="8"/>
                  </a:cubicBezTo>
                  <a:cubicBezTo>
                    <a:pt x="7" y="2"/>
                    <a:pt x="14" y="0"/>
                    <a:pt x="20" y="3"/>
                  </a:cubicBezTo>
                  <a:cubicBezTo>
                    <a:pt x="171" y="91"/>
                    <a:pt x="171" y="91"/>
                    <a:pt x="171" y="91"/>
                  </a:cubicBezTo>
                  <a:cubicBezTo>
                    <a:pt x="177" y="94"/>
                    <a:pt x="179" y="101"/>
                    <a:pt x="175" y="107"/>
                  </a:cubicBezTo>
                  <a:cubicBezTo>
                    <a:pt x="173" y="111"/>
                    <a:pt x="169" y="113"/>
                    <a:pt x="165" y="11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6" name="Freeform 2286">
              <a:extLst>
                <a:ext uri="{FF2B5EF4-FFF2-40B4-BE49-F238E27FC236}">
                  <a16:creationId xmlns:a16="http://schemas.microsoft.com/office/drawing/2014/main" id="{3D4D507F-8D2C-4A0B-BB2B-5932327E2DA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3479"/>
              <a:ext cx="50" cy="31"/>
            </a:xfrm>
            <a:custGeom>
              <a:avLst/>
              <a:gdLst>
                <a:gd name="T0" fmla="*/ 14 w 179"/>
                <a:gd name="T1" fmla="*/ 113 h 113"/>
                <a:gd name="T2" fmla="*/ 3 w 179"/>
                <a:gd name="T3" fmla="*/ 107 h 113"/>
                <a:gd name="T4" fmla="*/ 8 w 179"/>
                <a:gd name="T5" fmla="*/ 91 h 113"/>
                <a:gd name="T6" fmla="*/ 159 w 179"/>
                <a:gd name="T7" fmla="*/ 3 h 113"/>
                <a:gd name="T8" fmla="*/ 175 w 179"/>
                <a:gd name="T9" fmla="*/ 8 h 113"/>
                <a:gd name="T10" fmla="*/ 171 w 179"/>
                <a:gd name="T11" fmla="*/ 24 h 113"/>
                <a:gd name="T12" fmla="*/ 20 w 179"/>
                <a:gd name="T13" fmla="*/ 112 h 113"/>
                <a:gd name="T14" fmla="*/ 14 w 179"/>
                <a:gd name="T1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9" h="113">
                  <a:moveTo>
                    <a:pt x="14" y="113"/>
                  </a:moveTo>
                  <a:cubicBezTo>
                    <a:pt x="10" y="113"/>
                    <a:pt x="6" y="111"/>
                    <a:pt x="3" y="107"/>
                  </a:cubicBezTo>
                  <a:cubicBezTo>
                    <a:pt x="0" y="101"/>
                    <a:pt x="2" y="94"/>
                    <a:pt x="8" y="91"/>
                  </a:cubicBezTo>
                  <a:cubicBezTo>
                    <a:pt x="159" y="3"/>
                    <a:pt x="159" y="3"/>
                    <a:pt x="159" y="3"/>
                  </a:cubicBezTo>
                  <a:cubicBezTo>
                    <a:pt x="165" y="0"/>
                    <a:pt x="172" y="2"/>
                    <a:pt x="175" y="8"/>
                  </a:cubicBezTo>
                  <a:cubicBezTo>
                    <a:pt x="179" y="14"/>
                    <a:pt x="177" y="21"/>
                    <a:pt x="171" y="24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18" y="113"/>
                    <a:pt x="16" y="113"/>
                    <a:pt x="14" y="11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7" name="Freeform 2287">
              <a:extLst>
                <a:ext uri="{FF2B5EF4-FFF2-40B4-BE49-F238E27FC236}">
                  <a16:creationId xmlns:a16="http://schemas.microsoft.com/office/drawing/2014/main" id="{455F07E7-ABDE-4BC5-B9B4-06FE6BE249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3479"/>
              <a:ext cx="50" cy="31"/>
            </a:xfrm>
            <a:custGeom>
              <a:avLst/>
              <a:gdLst>
                <a:gd name="T0" fmla="*/ 165 w 179"/>
                <a:gd name="T1" fmla="*/ 113 h 113"/>
                <a:gd name="T2" fmla="*/ 159 w 179"/>
                <a:gd name="T3" fmla="*/ 112 h 113"/>
                <a:gd name="T4" fmla="*/ 8 w 179"/>
                <a:gd name="T5" fmla="*/ 24 h 113"/>
                <a:gd name="T6" fmla="*/ 3 w 179"/>
                <a:gd name="T7" fmla="*/ 8 h 113"/>
                <a:gd name="T8" fmla="*/ 20 w 179"/>
                <a:gd name="T9" fmla="*/ 3 h 113"/>
                <a:gd name="T10" fmla="*/ 171 w 179"/>
                <a:gd name="T11" fmla="*/ 91 h 113"/>
                <a:gd name="T12" fmla="*/ 175 w 179"/>
                <a:gd name="T13" fmla="*/ 107 h 113"/>
                <a:gd name="T14" fmla="*/ 165 w 179"/>
                <a:gd name="T1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9" h="113">
                  <a:moveTo>
                    <a:pt x="165" y="113"/>
                  </a:moveTo>
                  <a:cubicBezTo>
                    <a:pt x="163" y="113"/>
                    <a:pt x="161" y="113"/>
                    <a:pt x="159" y="112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4"/>
                    <a:pt x="3" y="8"/>
                  </a:cubicBezTo>
                  <a:cubicBezTo>
                    <a:pt x="7" y="2"/>
                    <a:pt x="14" y="0"/>
                    <a:pt x="20" y="3"/>
                  </a:cubicBezTo>
                  <a:cubicBezTo>
                    <a:pt x="171" y="91"/>
                    <a:pt x="171" y="91"/>
                    <a:pt x="171" y="91"/>
                  </a:cubicBezTo>
                  <a:cubicBezTo>
                    <a:pt x="177" y="94"/>
                    <a:pt x="179" y="101"/>
                    <a:pt x="175" y="107"/>
                  </a:cubicBezTo>
                  <a:cubicBezTo>
                    <a:pt x="173" y="111"/>
                    <a:pt x="169" y="113"/>
                    <a:pt x="165" y="11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8" name="Freeform 2288">
              <a:extLst>
                <a:ext uri="{FF2B5EF4-FFF2-40B4-BE49-F238E27FC236}">
                  <a16:creationId xmlns:a16="http://schemas.microsoft.com/office/drawing/2014/main" id="{5C48D542-D4E4-4382-80CB-667ADE59D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" y="2809"/>
              <a:ext cx="711" cy="974"/>
            </a:xfrm>
            <a:custGeom>
              <a:avLst/>
              <a:gdLst>
                <a:gd name="T0" fmla="*/ 2574 w 2574"/>
                <a:gd name="T1" fmla="*/ 1686 h 3528"/>
                <a:gd name="T2" fmla="*/ 2574 w 2574"/>
                <a:gd name="T3" fmla="*/ 3373 h 3528"/>
                <a:gd name="T4" fmla="*/ 2550 w 2574"/>
                <a:gd name="T5" fmla="*/ 3435 h 3528"/>
                <a:gd name="T6" fmla="*/ 2388 w 2574"/>
                <a:gd name="T7" fmla="*/ 3528 h 3528"/>
                <a:gd name="T8" fmla="*/ 2412 w 2574"/>
                <a:gd name="T9" fmla="*/ 3467 h 3528"/>
                <a:gd name="T10" fmla="*/ 2412 w 2574"/>
                <a:gd name="T11" fmla="*/ 1581 h 3528"/>
                <a:gd name="T12" fmla="*/ 2381 w 2574"/>
                <a:gd name="T13" fmla="*/ 1476 h 3528"/>
                <a:gd name="T14" fmla="*/ 2327 w 2574"/>
                <a:gd name="T15" fmla="*/ 1418 h 3528"/>
                <a:gd name="T16" fmla="*/ 55 w 2574"/>
                <a:gd name="T17" fmla="*/ 107 h 3528"/>
                <a:gd name="T18" fmla="*/ 0 w 2574"/>
                <a:gd name="T19" fmla="*/ 102 h 3528"/>
                <a:gd name="T20" fmla="*/ 161 w 2574"/>
                <a:gd name="T21" fmla="*/ 9 h 3528"/>
                <a:gd name="T22" fmla="*/ 217 w 2574"/>
                <a:gd name="T23" fmla="*/ 13 h 3528"/>
                <a:gd name="T24" fmla="*/ 2489 w 2574"/>
                <a:gd name="T25" fmla="*/ 1325 h 3528"/>
                <a:gd name="T26" fmla="*/ 2543 w 2574"/>
                <a:gd name="T27" fmla="*/ 1383 h 3528"/>
                <a:gd name="T28" fmla="*/ 2574 w 2574"/>
                <a:gd name="T29" fmla="*/ 1487 h 3528"/>
                <a:gd name="T30" fmla="*/ 2574 w 2574"/>
                <a:gd name="T31" fmla="*/ 1686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4" h="3528">
                  <a:moveTo>
                    <a:pt x="2574" y="1686"/>
                  </a:moveTo>
                  <a:cubicBezTo>
                    <a:pt x="2574" y="3373"/>
                    <a:pt x="2574" y="3373"/>
                    <a:pt x="2574" y="3373"/>
                  </a:cubicBezTo>
                  <a:cubicBezTo>
                    <a:pt x="2574" y="3405"/>
                    <a:pt x="2565" y="3426"/>
                    <a:pt x="2550" y="3435"/>
                  </a:cubicBezTo>
                  <a:cubicBezTo>
                    <a:pt x="2388" y="3528"/>
                    <a:pt x="2388" y="3528"/>
                    <a:pt x="2388" y="3528"/>
                  </a:cubicBezTo>
                  <a:cubicBezTo>
                    <a:pt x="2403" y="3519"/>
                    <a:pt x="2412" y="3499"/>
                    <a:pt x="2412" y="3467"/>
                  </a:cubicBezTo>
                  <a:cubicBezTo>
                    <a:pt x="2412" y="1581"/>
                    <a:pt x="2412" y="1581"/>
                    <a:pt x="2412" y="1581"/>
                  </a:cubicBezTo>
                  <a:cubicBezTo>
                    <a:pt x="2412" y="1546"/>
                    <a:pt x="2400" y="1508"/>
                    <a:pt x="2381" y="1476"/>
                  </a:cubicBezTo>
                  <a:cubicBezTo>
                    <a:pt x="2366" y="1451"/>
                    <a:pt x="2347" y="1430"/>
                    <a:pt x="2327" y="1418"/>
                  </a:cubicBezTo>
                  <a:cubicBezTo>
                    <a:pt x="55" y="107"/>
                    <a:pt x="55" y="107"/>
                    <a:pt x="55" y="107"/>
                  </a:cubicBezTo>
                  <a:cubicBezTo>
                    <a:pt x="34" y="95"/>
                    <a:pt x="15" y="94"/>
                    <a:pt x="0" y="102"/>
                  </a:cubicBezTo>
                  <a:cubicBezTo>
                    <a:pt x="161" y="9"/>
                    <a:pt x="161" y="9"/>
                    <a:pt x="161" y="9"/>
                  </a:cubicBezTo>
                  <a:cubicBezTo>
                    <a:pt x="176" y="0"/>
                    <a:pt x="195" y="1"/>
                    <a:pt x="217" y="13"/>
                  </a:cubicBezTo>
                  <a:cubicBezTo>
                    <a:pt x="2489" y="1325"/>
                    <a:pt x="2489" y="1325"/>
                    <a:pt x="2489" y="1325"/>
                  </a:cubicBezTo>
                  <a:cubicBezTo>
                    <a:pt x="2509" y="1337"/>
                    <a:pt x="2528" y="1358"/>
                    <a:pt x="2543" y="1383"/>
                  </a:cubicBezTo>
                  <a:cubicBezTo>
                    <a:pt x="2562" y="1414"/>
                    <a:pt x="2574" y="1452"/>
                    <a:pt x="2574" y="1487"/>
                  </a:cubicBezTo>
                  <a:lnTo>
                    <a:pt x="2574" y="1686"/>
                  </a:ln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9" name="Freeform 2289">
              <a:extLst>
                <a:ext uri="{FF2B5EF4-FFF2-40B4-BE49-F238E27FC236}">
                  <a16:creationId xmlns:a16="http://schemas.microsoft.com/office/drawing/2014/main" id="{2E971824-E6D9-43FC-8DC4-B5C896AB7E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" y="2910"/>
              <a:ext cx="694" cy="945"/>
            </a:xfrm>
            <a:custGeom>
              <a:avLst/>
              <a:gdLst>
                <a:gd name="T0" fmla="*/ 2454 w 2513"/>
                <a:gd name="T1" fmla="*/ 2880 h 3421"/>
                <a:gd name="T2" fmla="*/ 2442 w 2513"/>
                <a:gd name="T3" fmla="*/ 2606 h 3421"/>
                <a:gd name="T4" fmla="*/ 2109 w 2513"/>
                <a:gd name="T5" fmla="*/ 2406 h 3421"/>
                <a:gd name="T6" fmla="*/ 2095 w 2513"/>
                <a:gd name="T7" fmla="*/ 2674 h 3421"/>
                <a:gd name="T8" fmla="*/ 2036 w 2513"/>
                <a:gd name="T9" fmla="*/ 2689 h 3421"/>
                <a:gd name="T10" fmla="*/ 2079 w 2513"/>
                <a:gd name="T11" fmla="*/ 3186 h 3421"/>
                <a:gd name="T12" fmla="*/ 2482 w 2513"/>
                <a:gd name="T13" fmla="*/ 3416 h 3421"/>
                <a:gd name="T14" fmla="*/ 2513 w 2513"/>
                <a:gd name="T15" fmla="*/ 2965 h 3421"/>
                <a:gd name="T16" fmla="*/ 0 w 2513"/>
                <a:gd name="T17" fmla="*/ 0 h 3421"/>
                <a:gd name="T18" fmla="*/ 30 w 2513"/>
                <a:gd name="T19" fmla="*/ 1783 h 3421"/>
                <a:gd name="T20" fmla="*/ 2353 w 2513"/>
                <a:gd name="T21" fmla="*/ 3153 h 3421"/>
                <a:gd name="T22" fmla="*/ 2443 w 2513"/>
                <a:gd name="T23" fmla="*/ 3102 h 3421"/>
                <a:gd name="T24" fmla="*/ 0 w 2513"/>
                <a:gd name="T25" fmla="*/ 0 h 3421"/>
                <a:gd name="T26" fmla="*/ 963 w 2513"/>
                <a:gd name="T27" fmla="*/ 837 h 3421"/>
                <a:gd name="T28" fmla="*/ 2232 w 2513"/>
                <a:gd name="T29" fmla="*/ 1630 h 3421"/>
                <a:gd name="T30" fmla="*/ 2188 w 2513"/>
                <a:gd name="T31" fmla="*/ 1663 h 3421"/>
                <a:gd name="T32" fmla="*/ 918 w 2513"/>
                <a:gd name="T33" fmla="*/ 871 h 3421"/>
                <a:gd name="T34" fmla="*/ 316 w 2513"/>
                <a:gd name="T35" fmla="*/ 1334 h 3421"/>
                <a:gd name="T36" fmla="*/ 217 w 2513"/>
                <a:gd name="T37" fmla="*/ 1285 h 3421"/>
                <a:gd name="T38" fmla="*/ 211 w 2513"/>
                <a:gd name="T39" fmla="*/ 1168 h 3421"/>
                <a:gd name="T40" fmla="*/ 310 w 2513"/>
                <a:gd name="T41" fmla="*/ 1217 h 3421"/>
                <a:gd name="T42" fmla="*/ 316 w 2513"/>
                <a:gd name="T43" fmla="*/ 1334 h 3421"/>
                <a:gd name="T44" fmla="*/ 513 w 2513"/>
                <a:gd name="T45" fmla="*/ 1456 h 3421"/>
                <a:gd name="T46" fmla="*/ 414 w 2513"/>
                <a:gd name="T47" fmla="*/ 1390 h 3421"/>
                <a:gd name="T48" fmla="*/ 421 w 2513"/>
                <a:gd name="T49" fmla="*/ 1281 h 3421"/>
                <a:gd name="T50" fmla="*/ 520 w 2513"/>
                <a:gd name="T51" fmla="*/ 1347 h 3421"/>
                <a:gd name="T52" fmla="*/ 723 w 2513"/>
                <a:gd name="T53" fmla="*/ 1568 h 3421"/>
                <a:gd name="T54" fmla="*/ 624 w 2513"/>
                <a:gd name="T55" fmla="*/ 1520 h 3421"/>
                <a:gd name="T56" fmla="*/ 617 w 2513"/>
                <a:gd name="T57" fmla="*/ 1403 h 3421"/>
                <a:gd name="T58" fmla="*/ 716 w 2513"/>
                <a:gd name="T59" fmla="*/ 1451 h 3421"/>
                <a:gd name="T60" fmla="*/ 723 w 2513"/>
                <a:gd name="T61" fmla="*/ 1568 h 3421"/>
                <a:gd name="T62" fmla="*/ 690 w 2513"/>
                <a:gd name="T63" fmla="*/ 1271 h 3421"/>
                <a:gd name="T64" fmla="*/ 211 w 2513"/>
                <a:gd name="T65" fmla="*/ 950 h 3421"/>
                <a:gd name="T66" fmla="*/ 243 w 2513"/>
                <a:gd name="T67" fmla="*/ 422 h 3421"/>
                <a:gd name="T68" fmla="*/ 723 w 2513"/>
                <a:gd name="T69" fmla="*/ 742 h 3421"/>
                <a:gd name="T70" fmla="*/ 2095 w 2513"/>
                <a:gd name="T71" fmla="*/ 2626 h 3421"/>
                <a:gd name="T72" fmla="*/ 1148 w 2513"/>
                <a:gd name="T73" fmla="*/ 1911 h 3421"/>
                <a:gd name="T74" fmla="*/ 1468 w 2513"/>
                <a:gd name="T75" fmla="*/ 2048 h 3421"/>
                <a:gd name="T76" fmla="*/ 1592 w 2513"/>
                <a:gd name="T77" fmla="*/ 2163 h 3421"/>
                <a:gd name="T78" fmla="*/ 1994 w 2513"/>
                <a:gd name="T79" fmla="*/ 2221 h 3421"/>
                <a:gd name="T80" fmla="*/ 2232 w 2513"/>
                <a:gd name="T81" fmla="*/ 2705 h 3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513" h="3421">
                  <a:moveTo>
                    <a:pt x="2470" y="2890"/>
                  </a:moveTo>
                  <a:cubicBezTo>
                    <a:pt x="2454" y="2880"/>
                    <a:pt x="2454" y="2880"/>
                    <a:pt x="2454" y="2880"/>
                  </a:cubicBezTo>
                  <a:cubicBezTo>
                    <a:pt x="2454" y="2685"/>
                    <a:pt x="2454" y="2685"/>
                    <a:pt x="2454" y="2685"/>
                  </a:cubicBezTo>
                  <a:cubicBezTo>
                    <a:pt x="2454" y="2660"/>
                    <a:pt x="2450" y="2633"/>
                    <a:pt x="2442" y="2606"/>
                  </a:cubicBezTo>
                  <a:cubicBezTo>
                    <a:pt x="2417" y="2513"/>
                    <a:pt x="2351" y="2419"/>
                    <a:pt x="2275" y="2375"/>
                  </a:cubicBezTo>
                  <a:cubicBezTo>
                    <a:pt x="2200" y="2332"/>
                    <a:pt x="2136" y="2347"/>
                    <a:pt x="2109" y="2406"/>
                  </a:cubicBezTo>
                  <a:cubicBezTo>
                    <a:pt x="2100" y="2426"/>
                    <a:pt x="2095" y="2450"/>
                    <a:pt x="2095" y="2478"/>
                  </a:cubicBezTo>
                  <a:cubicBezTo>
                    <a:pt x="2095" y="2674"/>
                    <a:pt x="2095" y="2674"/>
                    <a:pt x="2095" y="2674"/>
                  </a:cubicBezTo>
                  <a:cubicBezTo>
                    <a:pt x="2079" y="2664"/>
                    <a:pt x="2079" y="2664"/>
                    <a:pt x="2079" y="2664"/>
                  </a:cubicBezTo>
                  <a:cubicBezTo>
                    <a:pt x="2055" y="2650"/>
                    <a:pt x="2036" y="2662"/>
                    <a:pt x="2036" y="2689"/>
                  </a:cubicBezTo>
                  <a:cubicBezTo>
                    <a:pt x="2036" y="3111"/>
                    <a:pt x="2036" y="3111"/>
                    <a:pt x="2036" y="3111"/>
                  </a:cubicBezTo>
                  <a:cubicBezTo>
                    <a:pt x="2036" y="3138"/>
                    <a:pt x="2055" y="3172"/>
                    <a:pt x="2079" y="3186"/>
                  </a:cubicBezTo>
                  <a:cubicBezTo>
                    <a:pt x="2470" y="3411"/>
                    <a:pt x="2470" y="3411"/>
                    <a:pt x="2470" y="3411"/>
                  </a:cubicBezTo>
                  <a:cubicBezTo>
                    <a:pt x="2474" y="3413"/>
                    <a:pt x="2478" y="3415"/>
                    <a:pt x="2482" y="3416"/>
                  </a:cubicBezTo>
                  <a:cubicBezTo>
                    <a:pt x="2500" y="3421"/>
                    <a:pt x="2513" y="3409"/>
                    <a:pt x="2513" y="3386"/>
                  </a:cubicBezTo>
                  <a:cubicBezTo>
                    <a:pt x="2513" y="2965"/>
                    <a:pt x="2513" y="2965"/>
                    <a:pt x="2513" y="2965"/>
                  </a:cubicBezTo>
                  <a:cubicBezTo>
                    <a:pt x="2513" y="2937"/>
                    <a:pt x="2494" y="2904"/>
                    <a:pt x="2470" y="2890"/>
                  </a:cubicBezTo>
                  <a:close/>
                  <a:moveTo>
                    <a:pt x="0" y="0"/>
                  </a:moveTo>
                  <a:cubicBezTo>
                    <a:pt x="0" y="1681"/>
                    <a:pt x="0" y="1681"/>
                    <a:pt x="0" y="1681"/>
                  </a:cubicBezTo>
                  <a:cubicBezTo>
                    <a:pt x="0" y="1715"/>
                    <a:pt x="12" y="1752"/>
                    <a:pt x="30" y="1783"/>
                  </a:cubicBezTo>
                  <a:cubicBezTo>
                    <a:pt x="44" y="1810"/>
                    <a:pt x="64" y="1832"/>
                    <a:pt x="86" y="1844"/>
                  </a:cubicBezTo>
                  <a:cubicBezTo>
                    <a:pt x="2353" y="3153"/>
                    <a:pt x="2353" y="3153"/>
                    <a:pt x="2353" y="3153"/>
                  </a:cubicBezTo>
                  <a:cubicBezTo>
                    <a:pt x="2381" y="3169"/>
                    <a:pt x="2403" y="3172"/>
                    <a:pt x="2419" y="3163"/>
                  </a:cubicBezTo>
                  <a:cubicBezTo>
                    <a:pt x="2434" y="3154"/>
                    <a:pt x="2443" y="3134"/>
                    <a:pt x="2443" y="3102"/>
                  </a:cubicBezTo>
                  <a:cubicBezTo>
                    <a:pt x="2443" y="1410"/>
                    <a:pt x="2443" y="1410"/>
                    <a:pt x="2443" y="1410"/>
                  </a:cubicBezTo>
                  <a:lnTo>
                    <a:pt x="0" y="0"/>
                  </a:lnTo>
                  <a:close/>
                  <a:moveTo>
                    <a:pt x="945" y="832"/>
                  </a:moveTo>
                  <a:cubicBezTo>
                    <a:pt x="950" y="832"/>
                    <a:pt x="956" y="833"/>
                    <a:pt x="963" y="837"/>
                  </a:cubicBezTo>
                  <a:cubicBezTo>
                    <a:pt x="2188" y="1544"/>
                    <a:pt x="2188" y="1544"/>
                    <a:pt x="2188" y="1544"/>
                  </a:cubicBezTo>
                  <a:cubicBezTo>
                    <a:pt x="2212" y="1559"/>
                    <a:pt x="2232" y="1597"/>
                    <a:pt x="2232" y="1630"/>
                  </a:cubicBezTo>
                  <a:cubicBezTo>
                    <a:pt x="2232" y="1654"/>
                    <a:pt x="2221" y="1669"/>
                    <a:pt x="2206" y="1669"/>
                  </a:cubicBezTo>
                  <a:cubicBezTo>
                    <a:pt x="2200" y="1669"/>
                    <a:pt x="2194" y="1667"/>
                    <a:pt x="2188" y="1663"/>
                  </a:cubicBezTo>
                  <a:cubicBezTo>
                    <a:pt x="963" y="956"/>
                    <a:pt x="963" y="956"/>
                    <a:pt x="963" y="956"/>
                  </a:cubicBezTo>
                  <a:cubicBezTo>
                    <a:pt x="938" y="942"/>
                    <a:pt x="918" y="904"/>
                    <a:pt x="918" y="871"/>
                  </a:cubicBezTo>
                  <a:cubicBezTo>
                    <a:pt x="918" y="846"/>
                    <a:pt x="929" y="832"/>
                    <a:pt x="945" y="832"/>
                  </a:cubicBezTo>
                  <a:close/>
                  <a:moveTo>
                    <a:pt x="316" y="1334"/>
                  </a:moveTo>
                  <a:cubicBezTo>
                    <a:pt x="316" y="1339"/>
                    <a:pt x="313" y="1341"/>
                    <a:pt x="310" y="1339"/>
                  </a:cubicBezTo>
                  <a:cubicBezTo>
                    <a:pt x="217" y="1285"/>
                    <a:pt x="217" y="1285"/>
                    <a:pt x="217" y="1285"/>
                  </a:cubicBezTo>
                  <a:cubicBezTo>
                    <a:pt x="214" y="1283"/>
                    <a:pt x="211" y="1277"/>
                    <a:pt x="211" y="1273"/>
                  </a:cubicBezTo>
                  <a:cubicBezTo>
                    <a:pt x="211" y="1168"/>
                    <a:pt x="211" y="1168"/>
                    <a:pt x="211" y="1168"/>
                  </a:cubicBezTo>
                  <a:cubicBezTo>
                    <a:pt x="211" y="1163"/>
                    <a:pt x="214" y="1161"/>
                    <a:pt x="217" y="1163"/>
                  </a:cubicBezTo>
                  <a:cubicBezTo>
                    <a:pt x="310" y="1217"/>
                    <a:pt x="310" y="1217"/>
                    <a:pt x="310" y="1217"/>
                  </a:cubicBezTo>
                  <a:cubicBezTo>
                    <a:pt x="313" y="1219"/>
                    <a:pt x="316" y="1225"/>
                    <a:pt x="316" y="1229"/>
                  </a:cubicBezTo>
                  <a:lnTo>
                    <a:pt x="316" y="1334"/>
                  </a:lnTo>
                  <a:close/>
                  <a:moveTo>
                    <a:pt x="520" y="1451"/>
                  </a:moveTo>
                  <a:cubicBezTo>
                    <a:pt x="520" y="1456"/>
                    <a:pt x="517" y="1458"/>
                    <a:pt x="513" y="1456"/>
                  </a:cubicBezTo>
                  <a:cubicBezTo>
                    <a:pt x="421" y="1403"/>
                    <a:pt x="421" y="1403"/>
                    <a:pt x="421" y="1403"/>
                  </a:cubicBezTo>
                  <a:cubicBezTo>
                    <a:pt x="417" y="1401"/>
                    <a:pt x="414" y="1395"/>
                    <a:pt x="414" y="1390"/>
                  </a:cubicBezTo>
                  <a:cubicBezTo>
                    <a:pt x="414" y="1286"/>
                    <a:pt x="414" y="1286"/>
                    <a:pt x="414" y="1286"/>
                  </a:cubicBezTo>
                  <a:cubicBezTo>
                    <a:pt x="414" y="1281"/>
                    <a:pt x="417" y="1278"/>
                    <a:pt x="421" y="1281"/>
                  </a:cubicBezTo>
                  <a:cubicBezTo>
                    <a:pt x="513" y="1334"/>
                    <a:pt x="513" y="1334"/>
                    <a:pt x="513" y="1334"/>
                  </a:cubicBezTo>
                  <a:cubicBezTo>
                    <a:pt x="517" y="1336"/>
                    <a:pt x="520" y="1342"/>
                    <a:pt x="520" y="1347"/>
                  </a:cubicBezTo>
                  <a:lnTo>
                    <a:pt x="520" y="1451"/>
                  </a:lnTo>
                  <a:close/>
                  <a:moveTo>
                    <a:pt x="723" y="1568"/>
                  </a:moveTo>
                  <a:cubicBezTo>
                    <a:pt x="723" y="1573"/>
                    <a:pt x="720" y="1576"/>
                    <a:pt x="716" y="1573"/>
                  </a:cubicBezTo>
                  <a:cubicBezTo>
                    <a:pt x="624" y="1520"/>
                    <a:pt x="624" y="1520"/>
                    <a:pt x="624" y="1520"/>
                  </a:cubicBezTo>
                  <a:cubicBezTo>
                    <a:pt x="620" y="1518"/>
                    <a:pt x="617" y="1512"/>
                    <a:pt x="617" y="1507"/>
                  </a:cubicBezTo>
                  <a:cubicBezTo>
                    <a:pt x="617" y="1403"/>
                    <a:pt x="617" y="1403"/>
                    <a:pt x="617" y="1403"/>
                  </a:cubicBezTo>
                  <a:cubicBezTo>
                    <a:pt x="617" y="1398"/>
                    <a:pt x="620" y="1396"/>
                    <a:pt x="624" y="1398"/>
                  </a:cubicBezTo>
                  <a:cubicBezTo>
                    <a:pt x="716" y="1451"/>
                    <a:pt x="716" y="1451"/>
                    <a:pt x="716" y="1451"/>
                  </a:cubicBezTo>
                  <a:cubicBezTo>
                    <a:pt x="720" y="1453"/>
                    <a:pt x="723" y="1459"/>
                    <a:pt x="723" y="1464"/>
                  </a:cubicBezTo>
                  <a:lnTo>
                    <a:pt x="723" y="1568"/>
                  </a:lnTo>
                  <a:close/>
                  <a:moveTo>
                    <a:pt x="723" y="1246"/>
                  </a:moveTo>
                  <a:cubicBezTo>
                    <a:pt x="723" y="1270"/>
                    <a:pt x="708" y="1282"/>
                    <a:pt x="690" y="1271"/>
                  </a:cubicBezTo>
                  <a:cubicBezTo>
                    <a:pt x="243" y="1013"/>
                    <a:pt x="243" y="1013"/>
                    <a:pt x="243" y="1013"/>
                  </a:cubicBezTo>
                  <a:cubicBezTo>
                    <a:pt x="225" y="1003"/>
                    <a:pt x="211" y="975"/>
                    <a:pt x="211" y="950"/>
                  </a:cubicBezTo>
                  <a:cubicBezTo>
                    <a:pt x="211" y="447"/>
                    <a:pt x="211" y="447"/>
                    <a:pt x="211" y="447"/>
                  </a:cubicBezTo>
                  <a:cubicBezTo>
                    <a:pt x="211" y="422"/>
                    <a:pt x="225" y="411"/>
                    <a:pt x="243" y="422"/>
                  </a:cubicBezTo>
                  <a:cubicBezTo>
                    <a:pt x="690" y="680"/>
                    <a:pt x="690" y="680"/>
                    <a:pt x="690" y="680"/>
                  </a:cubicBezTo>
                  <a:cubicBezTo>
                    <a:pt x="708" y="690"/>
                    <a:pt x="723" y="718"/>
                    <a:pt x="723" y="742"/>
                  </a:cubicBezTo>
                  <a:lnTo>
                    <a:pt x="723" y="1246"/>
                  </a:lnTo>
                  <a:close/>
                  <a:moveTo>
                    <a:pt x="2095" y="2626"/>
                  </a:moveTo>
                  <a:cubicBezTo>
                    <a:pt x="918" y="1946"/>
                    <a:pt x="918" y="1946"/>
                    <a:pt x="918" y="1946"/>
                  </a:cubicBezTo>
                  <a:cubicBezTo>
                    <a:pt x="973" y="1887"/>
                    <a:pt x="1038" y="1848"/>
                    <a:pt x="1148" y="1911"/>
                  </a:cubicBezTo>
                  <a:cubicBezTo>
                    <a:pt x="1221" y="1953"/>
                    <a:pt x="1252" y="2018"/>
                    <a:pt x="1311" y="2052"/>
                  </a:cubicBezTo>
                  <a:cubicBezTo>
                    <a:pt x="1384" y="2094"/>
                    <a:pt x="1396" y="2008"/>
                    <a:pt x="1468" y="2048"/>
                  </a:cubicBezTo>
                  <a:cubicBezTo>
                    <a:pt x="1468" y="2049"/>
                    <a:pt x="1468" y="2049"/>
                    <a:pt x="1469" y="2049"/>
                  </a:cubicBezTo>
                  <a:cubicBezTo>
                    <a:pt x="1516" y="2076"/>
                    <a:pt x="1544" y="2135"/>
                    <a:pt x="1592" y="2163"/>
                  </a:cubicBezTo>
                  <a:cubicBezTo>
                    <a:pt x="1704" y="2228"/>
                    <a:pt x="1776" y="2063"/>
                    <a:pt x="1899" y="2134"/>
                  </a:cubicBezTo>
                  <a:cubicBezTo>
                    <a:pt x="1932" y="2153"/>
                    <a:pt x="1963" y="2183"/>
                    <a:pt x="1994" y="2221"/>
                  </a:cubicBezTo>
                  <a:cubicBezTo>
                    <a:pt x="2035" y="2272"/>
                    <a:pt x="2074" y="2337"/>
                    <a:pt x="2109" y="2406"/>
                  </a:cubicBezTo>
                  <a:cubicBezTo>
                    <a:pt x="2160" y="2507"/>
                    <a:pt x="2203" y="2617"/>
                    <a:pt x="2232" y="2705"/>
                  </a:cubicBezTo>
                  <a:lnTo>
                    <a:pt x="2095" y="26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0" name="Freeform 2290">
              <a:extLst>
                <a:ext uri="{FF2B5EF4-FFF2-40B4-BE49-F238E27FC236}">
                  <a16:creationId xmlns:a16="http://schemas.microsoft.com/office/drawing/2014/main" id="{2F329206-3E62-43C7-826E-7E9581CE31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" y="2835"/>
              <a:ext cx="675" cy="464"/>
            </a:xfrm>
            <a:custGeom>
              <a:avLst/>
              <a:gdLst>
                <a:gd name="T0" fmla="*/ 2443 w 2443"/>
                <a:gd name="T1" fmla="*/ 1487 h 1681"/>
                <a:gd name="T2" fmla="*/ 2443 w 2443"/>
                <a:gd name="T3" fmla="*/ 1681 h 1681"/>
                <a:gd name="T4" fmla="*/ 0 w 2443"/>
                <a:gd name="T5" fmla="*/ 271 h 1681"/>
                <a:gd name="T6" fmla="*/ 0 w 2443"/>
                <a:gd name="T7" fmla="*/ 77 h 1681"/>
                <a:gd name="T8" fmla="*/ 30 w 2443"/>
                <a:gd name="T9" fmla="*/ 8 h 1681"/>
                <a:gd name="T10" fmla="*/ 31 w 2443"/>
                <a:gd name="T11" fmla="*/ 8 h 1681"/>
                <a:gd name="T12" fmla="*/ 86 w 2443"/>
                <a:gd name="T13" fmla="*/ 13 h 1681"/>
                <a:gd name="T14" fmla="*/ 2358 w 2443"/>
                <a:gd name="T15" fmla="*/ 1324 h 1681"/>
                <a:gd name="T16" fmla="*/ 2412 w 2443"/>
                <a:gd name="T17" fmla="*/ 1382 h 1681"/>
                <a:gd name="T18" fmla="*/ 2443 w 2443"/>
                <a:gd name="T19" fmla="*/ 1487 h 1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3" h="1681">
                  <a:moveTo>
                    <a:pt x="2443" y="1487"/>
                  </a:moveTo>
                  <a:cubicBezTo>
                    <a:pt x="2443" y="1681"/>
                    <a:pt x="2443" y="1681"/>
                    <a:pt x="2443" y="1681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43"/>
                    <a:pt x="12" y="19"/>
                    <a:pt x="30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46" y="0"/>
                    <a:pt x="65" y="1"/>
                    <a:pt x="86" y="13"/>
                  </a:cubicBezTo>
                  <a:cubicBezTo>
                    <a:pt x="2358" y="1324"/>
                    <a:pt x="2358" y="1324"/>
                    <a:pt x="2358" y="1324"/>
                  </a:cubicBezTo>
                  <a:cubicBezTo>
                    <a:pt x="2378" y="1336"/>
                    <a:pt x="2397" y="1357"/>
                    <a:pt x="2412" y="1382"/>
                  </a:cubicBezTo>
                  <a:cubicBezTo>
                    <a:pt x="2431" y="1414"/>
                    <a:pt x="2443" y="1452"/>
                    <a:pt x="2443" y="1487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1" name="Freeform 2291">
              <a:extLst>
                <a:ext uri="{FF2B5EF4-FFF2-40B4-BE49-F238E27FC236}">
                  <a16:creationId xmlns:a16="http://schemas.microsoft.com/office/drawing/2014/main" id="{33CF271B-510A-415C-9F3A-01F615387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" y="3140"/>
              <a:ext cx="363" cy="231"/>
            </a:xfrm>
            <a:custGeom>
              <a:avLst/>
              <a:gdLst>
                <a:gd name="T0" fmla="*/ 1270 w 1314"/>
                <a:gd name="T1" fmla="*/ 712 h 837"/>
                <a:gd name="T2" fmla="*/ 1314 w 1314"/>
                <a:gd name="T3" fmla="*/ 798 h 837"/>
                <a:gd name="T4" fmla="*/ 1288 w 1314"/>
                <a:gd name="T5" fmla="*/ 837 h 837"/>
                <a:gd name="T6" fmla="*/ 1270 w 1314"/>
                <a:gd name="T7" fmla="*/ 831 h 837"/>
                <a:gd name="T8" fmla="*/ 45 w 1314"/>
                <a:gd name="T9" fmla="*/ 124 h 837"/>
                <a:gd name="T10" fmla="*/ 0 w 1314"/>
                <a:gd name="T11" fmla="*/ 39 h 837"/>
                <a:gd name="T12" fmla="*/ 27 w 1314"/>
                <a:gd name="T13" fmla="*/ 0 h 837"/>
                <a:gd name="T14" fmla="*/ 45 w 1314"/>
                <a:gd name="T15" fmla="*/ 5 h 837"/>
                <a:gd name="T16" fmla="*/ 1270 w 1314"/>
                <a:gd name="T17" fmla="*/ 712 h 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4" h="837">
                  <a:moveTo>
                    <a:pt x="1270" y="712"/>
                  </a:moveTo>
                  <a:cubicBezTo>
                    <a:pt x="1294" y="727"/>
                    <a:pt x="1314" y="765"/>
                    <a:pt x="1314" y="798"/>
                  </a:cubicBezTo>
                  <a:cubicBezTo>
                    <a:pt x="1314" y="822"/>
                    <a:pt x="1303" y="837"/>
                    <a:pt x="1288" y="837"/>
                  </a:cubicBezTo>
                  <a:cubicBezTo>
                    <a:pt x="1282" y="837"/>
                    <a:pt x="1276" y="835"/>
                    <a:pt x="1270" y="831"/>
                  </a:cubicBezTo>
                  <a:cubicBezTo>
                    <a:pt x="45" y="124"/>
                    <a:pt x="45" y="124"/>
                    <a:pt x="45" y="124"/>
                  </a:cubicBezTo>
                  <a:cubicBezTo>
                    <a:pt x="20" y="110"/>
                    <a:pt x="0" y="72"/>
                    <a:pt x="0" y="39"/>
                  </a:cubicBezTo>
                  <a:cubicBezTo>
                    <a:pt x="0" y="14"/>
                    <a:pt x="11" y="0"/>
                    <a:pt x="27" y="0"/>
                  </a:cubicBezTo>
                  <a:cubicBezTo>
                    <a:pt x="32" y="0"/>
                    <a:pt x="38" y="1"/>
                    <a:pt x="45" y="5"/>
                  </a:cubicBezTo>
                  <a:lnTo>
                    <a:pt x="1270" y="712"/>
                  </a:lnTo>
                  <a:close/>
                </a:path>
              </a:pathLst>
            </a:custGeom>
            <a:solidFill>
              <a:srgbClr val="C2C7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2" name="Freeform 2292">
              <a:extLst>
                <a:ext uri="{FF2B5EF4-FFF2-40B4-BE49-F238E27FC236}">
                  <a16:creationId xmlns:a16="http://schemas.microsoft.com/office/drawing/2014/main" id="{63749183-477C-40C1-981C-E1CBA4269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" y="3420"/>
              <a:ext cx="363" cy="237"/>
            </a:xfrm>
            <a:custGeom>
              <a:avLst/>
              <a:gdLst>
                <a:gd name="T0" fmla="*/ 981 w 1314"/>
                <a:gd name="T1" fmla="*/ 286 h 857"/>
                <a:gd name="T2" fmla="*/ 1314 w 1314"/>
                <a:gd name="T3" fmla="*/ 857 h 857"/>
                <a:gd name="T4" fmla="*/ 0 w 1314"/>
                <a:gd name="T5" fmla="*/ 98 h 857"/>
                <a:gd name="T6" fmla="*/ 230 w 1314"/>
                <a:gd name="T7" fmla="*/ 63 h 857"/>
                <a:gd name="T8" fmla="*/ 393 w 1314"/>
                <a:gd name="T9" fmla="*/ 204 h 857"/>
                <a:gd name="T10" fmla="*/ 550 w 1314"/>
                <a:gd name="T11" fmla="*/ 200 h 857"/>
                <a:gd name="T12" fmla="*/ 551 w 1314"/>
                <a:gd name="T13" fmla="*/ 201 h 857"/>
                <a:gd name="T14" fmla="*/ 674 w 1314"/>
                <a:gd name="T15" fmla="*/ 315 h 857"/>
                <a:gd name="T16" fmla="*/ 981 w 1314"/>
                <a:gd name="T17" fmla="*/ 286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4" h="857">
                  <a:moveTo>
                    <a:pt x="981" y="286"/>
                  </a:moveTo>
                  <a:cubicBezTo>
                    <a:pt x="1122" y="368"/>
                    <a:pt x="1250" y="665"/>
                    <a:pt x="1314" y="857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55" y="39"/>
                    <a:pt x="120" y="0"/>
                    <a:pt x="230" y="63"/>
                  </a:cubicBezTo>
                  <a:cubicBezTo>
                    <a:pt x="303" y="105"/>
                    <a:pt x="334" y="170"/>
                    <a:pt x="393" y="204"/>
                  </a:cubicBezTo>
                  <a:cubicBezTo>
                    <a:pt x="466" y="246"/>
                    <a:pt x="478" y="160"/>
                    <a:pt x="550" y="200"/>
                  </a:cubicBezTo>
                  <a:cubicBezTo>
                    <a:pt x="550" y="201"/>
                    <a:pt x="550" y="201"/>
                    <a:pt x="551" y="201"/>
                  </a:cubicBezTo>
                  <a:cubicBezTo>
                    <a:pt x="598" y="228"/>
                    <a:pt x="626" y="287"/>
                    <a:pt x="674" y="315"/>
                  </a:cubicBezTo>
                  <a:cubicBezTo>
                    <a:pt x="786" y="380"/>
                    <a:pt x="858" y="215"/>
                    <a:pt x="981" y="28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3" name="Freeform 2293">
              <a:extLst>
                <a:ext uri="{FF2B5EF4-FFF2-40B4-BE49-F238E27FC236}">
                  <a16:creationId xmlns:a16="http://schemas.microsoft.com/office/drawing/2014/main" id="{3FFBEB8F-99E4-46FF-AFDB-034C13FAFC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" y="3295"/>
              <a:ext cx="30" cy="50"/>
            </a:xfrm>
            <a:custGeom>
              <a:avLst/>
              <a:gdLst>
                <a:gd name="T0" fmla="*/ 106 w 106"/>
                <a:gd name="T1" fmla="*/ 68 h 180"/>
                <a:gd name="T2" fmla="*/ 106 w 106"/>
                <a:gd name="T3" fmla="*/ 172 h 180"/>
                <a:gd name="T4" fmla="*/ 99 w 106"/>
                <a:gd name="T5" fmla="*/ 177 h 180"/>
                <a:gd name="T6" fmla="*/ 7 w 106"/>
                <a:gd name="T7" fmla="*/ 124 h 180"/>
                <a:gd name="T8" fmla="*/ 0 w 106"/>
                <a:gd name="T9" fmla="*/ 111 h 180"/>
                <a:gd name="T10" fmla="*/ 0 w 106"/>
                <a:gd name="T11" fmla="*/ 7 h 180"/>
                <a:gd name="T12" fmla="*/ 7 w 106"/>
                <a:gd name="T13" fmla="*/ 2 h 180"/>
                <a:gd name="T14" fmla="*/ 99 w 106"/>
                <a:gd name="T15" fmla="*/ 55 h 180"/>
                <a:gd name="T16" fmla="*/ 106 w 106"/>
                <a:gd name="T17" fmla="*/ 6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" h="180">
                  <a:moveTo>
                    <a:pt x="106" y="68"/>
                  </a:moveTo>
                  <a:cubicBezTo>
                    <a:pt x="106" y="172"/>
                    <a:pt x="106" y="172"/>
                    <a:pt x="106" y="172"/>
                  </a:cubicBezTo>
                  <a:cubicBezTo>
                    <a:pt x="106" y="177"/>
                    <a:pt x="103" y="180"/>
                    <a:pt x="99" y="177"/>
                  </a:cubicBezTo>
                  <a:cubicBezTo>
                    <a:pt x="7" y="124"/>
                    <a:pt x="7" y="124"/>
                    <a:pt x="7" y="124"/>
                  </a:cubicBezTo>
                  <a:cubicBezTo>
                    <a:pt x="3" y="122"/>
                    <a:pt x="0" y="116"/>
                    <a:pt x="0" y="11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7" y="2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103" y="57"/>
                    <a:pt x="106" y="63"/>
                    <a:pt x="106" y="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4" name="Freeform 2294">
              <a:extLst>
                <a:ext uri="{FF2B5EF4-FFF2-40B4-BE49-F238E27FC236}">
                  <a16:creationId xmlns:a16="http://schemas.microsoft.com/office/drawing/2014/main" id="{53D5241E-8F7D-4A80-A7B0-00092BEA0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" y="3023"/>
              <a:ext cx="142" cy="241"/>
            </a:xfrm>
            <a:custGeom>
              <a:avLst/>
              <a:gdLst>
                <a:gd name="T0" fmla="*/ 512 w 512"/>
                <a:gd name="T1" fmla="*/ 331 h 871"/>
                <a:gd name="T2" fmla="*/ 512 w 512"/>
                <a:gd name="T3" fmla="*/ 835 h 871"/>
                <a:gd name="T4" fmla="*/ 479 w 512"/>
                <a:gd name="T5" fmla="*/ 860 h 871"/>
                <a:gd name="T6" fmla="*/ 465 w 512"/>
                <a:gd name="T7" fmla="*/ 852 h 871"/>
                <a:gd name="T8" fmla="*/ 331 w 512"/>
                <a:gd name="T9" fmla="*/ 552 h 871"/>
                <a:gd name="T10" fmla="*/ 363 w 512"/>
                <a:gd name="T11" fmla="*/ 482 h 871"/>
                <a:gd name="T12" fmla="*/ 256 w 512"/>
                <a:gd name="T13" fmla="*/ 296 h 871"/>
                <a:gd name="T14" fmla="*/ 148 w 512"/>
                <a:gd name="T15" fmla="*/ 358 h 871"/>
                <a:gd name="T16" fmla="*/ 181 w 512"/>
                <a:gd name="T17" fmla="*/ 465 h 871"/>
                <a:gd name="T18" fmla="*/ 46 w 512"/>
                <a:gd name="T19" fmla="*/ 610 h 871"/>
                <a:gd name="T20" fmla="*/ 46 w 512"/>
                <a:gd name="T21" fmla="*/ 610 h 871"/>
                <a:gd name="T22" fmla="*/ 32 w 512"/>
                <a:gd name="T23" fmla="*/ 602 h 871"/>
                <a:gd name="T24" fmla="*/ 0 w 512"/>
                <a:gd name="T25" fmla="*/ 539 h 871"/>
                <a:gd name="T26" fmla="*/ 0 w 512"/>
                <a:gd name="T27" fmla="*/ 36 h 871"/>
                <a:gd name="T28" fmla="*/ 32 w 512"/>
                <a:gd name="T29" fmla="*/ 11 h 871"/>
                <a:gd name="T30" fmla="*/ 479 w 512"/>
                <a:gd name="T31" fmla="*/ 269 h 871"/>
                <a:gd name="T32" fmla="*/ 512 w 512"/>
                <a:gd name="T33" fmla="*/ 331 h 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2" h="871">
                  <a:moveTo>
                    <a:pt x="512" y="331"/>
                  </a:moveTo>
                  <a:cubicBezTo>
                    <a:pt x="512" y="835"/>
                    <a:pt x="512" y="835"/>
                    <a:pt x="512" y="835"/>
                  </a:cubicBezTo>
                  <a:cubicBezTo>
                    <a:pt x="512" y="859"/>
                    <a:pt x="497" y="871"/>
                    <a:pt x="479" y="860"/>
                  </a:cubicBezTo>
                  <a:cubicBezTo>
                    <a:pt x="465" y="852"/>
                    <a:pt x="465" y="852"/>
                    <a:pt x="465" y="852"/>
                  </a:cubicBezTo>
                  <a:cubicBezTo>
                    <a:pt x="443" y="740"/>
                    <a:pt x="381" y="617"/>
                    <a:pt x="331" y="552"/>
                  </a:cubicBezTo>
                  <a:cubicBezTo>
                    <a:pt x="351" y="541"/>
                    <a:pt x="363" y="517"/>
                    <a:pt x="363" y="482"/>
                  </a:cubicBezTo>
                  <a:cubicBezTo>
                    <a:pt x="363" y="414"/>
                    <a:pt x="315" y="330"/>
                    <a:pt x="256" y="296"/>
                  </a:cubicBezTo>
                  <a:cubicBezTo>
                    <a:pt x="196" y="262"/>
                    <a:pt x="148" y="289"/>
                    <a:pt x="148" y="358"/>
                  </a:cubicBezTo>
                  <a:cubicBezTo>
                    <a:pt x="148" y="393"/>
                    <a:pt x="161" y="431"/>
                    <a:pt x="181" y="465"/>
                  </a:cubicBezTo>
                  <a:cubicBezTo>
                    <a:pt x="131" y="472"/>
                    <a:pt x="69" y="524"/>
                    <a:pt x="46" y="610"/>
                  </a:cubicBezTo>
                  <a:cubicBezTo>
                    <a:pt x="46" y="610"/>
                    <a:pt x="46" y="610"/>
                    <a:pt x="46" y="610"/>
                  </a:cubicBezTo>
                  <a:cubicBezTo>
                    <a:pt x="32" y="602"/>
                    <a:pt x="32" y="602"/>
                    <a:pt x="32" y="602"/>
                  </a:cubicBezTo>
                  <a:cubicBezTo>
                    <a:pt x="14" y="592"/>
                    <a:pt x="0" y="564"/>
                    <a:pt x="0" y="539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1"/>
                    <a:pt x="14" y="0"/>
                    <a:pt x="32" y="11"/>
                  </a:cubicBezTo>
                  <a:cubicBezTo>
                    <a:pt x="479" y="269"/>
                    <a:pt x="479" y="269"/>
                    <a:pt x="479" y="269"/>
                  </a:cubicBezTo>
                  <a:cubicBezTo>
                    <a:pt x="497" y="279"/>
                    <a:pt x="512" y="307"/>
                    <a:pt x="512" y="33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5" name="Freeform 2295">
              <a:extLst>
                <a:ext uri="{FF2B5EF4-FFF2-40B4-BE49-F238E27FC236}">
                  <a16:creationId xmlns:a16="http://schemas.microsoft.com/office/drawing/2014/main" id="{203BFF89-E11E-45AC-B086-F89177617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" y="3152"/>
              <a:ext cx="116" cy="107"/>
            </a:xfrm>
            <a:custGeom>
              <a:avLst/>
              <a:gdLst>
                <a:gd name="T0" fmla="*/ 419 w 419"/>
                <a:gd name="T1" fmla="*/ 387 h 387"/>
                <a:gd name="T2" fmla="*/ 0 w 419"/>
                <a:gd name="T3" fmla="*/ 145 h 387"/>
                <a:gd name="T4" fmla="*/ 0 w 419"/>
                <a:gd name="T5" fmla="*/ 145 h 387"/>
                <a:gd name="T6" fmla="*/ 135 w 419"/>
                <a:gd name="T7" fmla="*/ 0 h 387"/>
                <a:gd name="T8" fmla="*/ 146 w 419"/>
                <a:gd name="T9" fmla="*/ 19 h 387"/>
                <a:gd name="T10" fmla="*/ 210 w 419"/>
                <a:gd name="T11" fmla="*/ 79 h 387"/>
                <a:gd name="T12" fmla="*/ 273 w 419"/>
                <a:gd name="T13" fmla="*/ 92 h 387"/>
                <a:gd name="T14" fmla="*/ 285 w 419"/>
                <a:gd name="T15" fmla="*/ 87 h 387"/>
                <a:gd name="T16" fmla="*/ 419 w 419"/>
                <a:gd name="T17" fmla="*/ 387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387">
                  <a:moveTo>
                    <a:pt x="419" y="387"/>
                  </a:moveTo>
                  <a:cubicBezTo>
                    <a:pt x="0" y="145"/>
                    <a:pt x="0" y="145"/>
                    <a:pt x="0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23" y="59"/>
                    <a:pt x="85" y="7"/>
                    <a:pt x="135" y="0"/>
                  </a:cubicBezTo>
                  <a:cubicBezTo>
                    <a:pt x="138" y="7"/>
                    <a:pt x="142" y="13"/>
                    <a:pt x="146" y="19"/>
                  </a:cubicBezTo>
                  <a:cubicBezTo>
                    <a:pt x="164" y="44"/>
                    <a:pt x="186" y="66"/>
                    <a:pt x="210" y="79"/>
                  </a:cubicBezTo>
                  <a:cubicBezTo>
                    <a:pt x="233" y="93"/>
                    <a:pt x="255" y="97"/>
                    <a:pt x="273" y="92"/>
                  </a:cubicBezTo>
                  <a:cubicBezTo>
                    <a:pt x="277" y="91"/>
                    <a:pt x="281" y="89"/>
                    <a:pt x="285" y="87"/>
                  </a:cubicBezTo>
                  <a:cubicBezTo>
                    <a:pt x="335" y="152"/>
                    <a:pt x="397" y="275"/>
                    <a:pt x="419" y="387"/>
                  </a:cubicBezTo>
                  <a:close/>
                </a:path>
              </a:pathLst>
            </a:custGeom>
            <a:solidFill>
              <a:srgbClr val="C2C7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6" name="Freeform 2296">
              <a:extLst>
                <a:ext uri="{FF2B5EF4-FFF2-40B4-BE49-F238E27FC236}">
                  <a16:creationId xmlns:a16="http://schemas.microsoft.com/office/drawing/2014/main" id="{33983058-443A-42AD-9B9F-937A7761D3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" y="3096"/>
              <a:ext cx="60" cy="83"/>
            </a:xfrm>
            <a:custGeom>
              <a:avLst/>
              <a:gdLst>
                <a:gd name="T0" fmla="*/ 215 w 215"/>
                <a:gd name="T1" fmla="*/ 220 h 300"/>
                <a:gd name="T2" fmla="*/ 183 w 215"/>
                <a:gd name="T3" fmla="*/ 290 h 300"/>
                <a:gd name="T4" fmla="*/ 171 w 215"/>
                <a:gd name="T5" fmla="*/ 295 h 300"/>
                <a:gd name="T6" fmla="*/ 108 w 215"/>
                <a:gd name="T7" fmla="*/ 282 h 300"/>
                <a:gd name="T8" fmla="*/ 44 w 215"/>
                <a:gd name="T9" fmla="*/ 222 h 300"/>
                <a:gd name="T10" fmla="*/ 33 w 215"/>
                <a:gd name="T11" fmla="*/ 203 h 300"/>
                <a:gd name="T12" fmla="*/ 0 w 215"/>
                <a:gd name="T13" fmla="*/ 96 h 300"/>
                <a:gd name="T14" fmla="*/ 108 w 215"/>
                <a:gd name="T15" fmla="*/ 34 h 300"/>
                <a:gd name="T16" fmla="*/ 215 w 215"/>
                <a:gd name="T17" fmla="*/ 22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300">
                  <a:moveTo>
                    <a:pt x="215" y="220"/>
                  </a:moveTo>
                  <a:cubicBezTo>
                    <a:pt x="215" y="255"/>
                    <a:pt x="203" y="279"/>
                    <a:pt x="183" y="290"/>
                  </a:cubicBezTo>
                  <a:cubicBezTo>
                    <a:pt x="179" y="292"/>
                    <a:pt x="175" y="294"/>
                    <a:pt x="171" y="295"/>
                  </a:cubicBezTo>
                  <a:cubicBezTo>
                    <a:pt x="153" y="300"/>
                    <a:pt x="131" y="296"/>
                    <a:pt x="108" y="282"/>
                  </a:cubicBezTo>
                  <a:cubicBezTo>
                    <a:pt x="84" y="269"/>
                    <a:pt x="62" y="247"/>
                    <a:pt x="44" y="222"/>
                  </a:cubicBezTo>
                  <a:cubicBezTo>
                    <a:pt x="40" y="216"/>
                    <a:pt x="36" y="210"/>
                    <a:pt x="33" y="203"/>
                  </a:cubicBezTo>
                  <a:cubicBezTo>
                    <a:pt x="13" y="169"/>
                    <a:pt x="0" y="131"/>
                    <a:pt x="0" y="96"/>
                  </a:cubicBezTo>
                  <a:cubicBezTo>
                    <a:pt x="0" y="27"/>
                    <a:pt x="48" y="0"/>
                    <a:pt x="108" y="34"/>
                  </a:cubicBezTo>
                  <a:cubicBezTo>
                    <a:pt x="167" y="68"/>
                    <a:pt x="215" y="152"/>
                    <a:pt x="215" y="2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7" name="Freeform 2297">
              <a:extLst>
                <a:ext uri="{FF2B5EF4-FFF2-40B4-BE49-F238E27FC236}">
                  <a16:creationId xmlns:a16="http://schemas.microsoft.com/office/drawing/2014/main" id="{7A64D5E7-560F-4446-9EC0-82A8FEF3B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5" y="3263"/>
              <a:ext cx="30" cy="50"/>
            </a:xfrm>
            <a:custGeom>
              <a:avLst/>
              <a:gdLst>
                <a:gd name="T0" fmla="*/ 106 w 106"/>
                <a:gd name="T1" fmla="*/ 69 h 180"/>
                <a:gd name="T2" fmla="*/ 106 w 106"/>
                <a:gd name="T3" fmla="*/ 173 h 180"/>
                <a:gd name="T4" fmla="*/ 99 w 106"/>
                <a:gd name="T5" fmla="*/ 178 h 180"/>
                <a:gd name="T6" fmla="*/ 7 w 106"/>
                <a:gd name="T7" fmla="*/ 125 h 180"/>
                <a:gd name="T8" fmla="*/ 0 w 106"/>
                <a:gd name="T9" fmla="*/ 112 h 180"/>
                <a:gd name="T10" fmla="*/ 0 w 106"/>
                <a:gd name="T11" fmla="*/ 8 h 180"/>
                <a:gd name="T12" fmla="*/ 7 w 106"/>
                <a:gd name="T13" fmla="*/ 3 h 180"/>
                <a:gd name="T14" fmla="*/ 99 w 106"/>
                <a:gd name="T15" fmla="*/ 56 h 180"/>
                <a:gd name="T16" fmla="*/ 106 w 106"/>
                <a:gd name="T17" fmla="*/ 69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" h="180">
                  <a:moveTo>
                    <a:pt x="106" y="69"/>
                  </a:moveTo>
                  <a:cubicBezTo>
                    <a:pt x="106" y="173"/>
                    <a:pt x="106" y="173"/>
                    <a:pt x="106" y="173"/>
                  </a:cubicBezTo>
                  <a:cubicBezTo>
                    <a:pt x="106" y="178"/>
                    <a:pt x="103" y="180"/>
                    <a:pt x="99" y="178"/>
                  </a:cubicBezTo>
                  <a:cubicBezTo>
                    <a:pt x="7" y="125"/>
                    <a:pt x="7" y="125"/>
                    <a:pt x="7" y="125"/>
                  </a:cubicBezTo>
                  <a:cubicBezTo>
                    <a:pt x="3" y="123"/>
                    <a:pt x="0" y="117"/>
                    <a:pt x="0" y="1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7" y="3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103" y="58"/>
                    <a:pt x="106" y="64"/>
                    <a:pt x="106" y="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8" name="Freeform 2298">
              <a:extLst>
                <a:ext uri="{FF2B5EF4-FFF2-40B4-BE49-F238E27FC236}">
                  <a16:creationId xmlns:a16="http://schemas.microsoft.com/office/drawing/2014/main" id="{37892251-0B5C-4ABF-9D66-8FE444F36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" y="3230"/>
              <a:ext cx="29" cy="50"/>
            </a:xfrm>
            <a:custGeom>
              <a:avLst/>
              <a:gdLst>
                <a:gd name="T0" fmla="*/ 105 w 105"/>
                <a:gd name="T1" fmla="*/ 68 h 180"/>
                <a:gd name="T2" fmla="*/ 105 w 105"/>
                <a:gd name="T3" fmla="*/ 173 h 180"/>
                <a:gd name="T4" fmla="*/ 99 w 105"/>
                <a:gd name="T5" fmla="*/ 178 h 180"/>
                <a:gd name="T6" fmla="*/ 6 w 105"/>
                <a:gd name="T7" fmla="*/ 124 h 180"/>
                <a:gd name="T8" fmla="*/ 0 w 105"/>
                <a:gd name="T9" fmla="*/ 112 h 180"/>
                <a:gd name="T10" fmla="*/ 0 w 105"/>
                <a:gd name="T11" fmla="*/ 7 h 180"/>
                <a:gd name="T12" fmla="*/ 6 w 105"/>
                <a:gd name="T13" fmla="*/ 2 h 180"/>
                <a:gd name="T14" fmla="*/ 99 w 105"/>
                <a:gd name="T15" fmla="*/ 56 h 180"/>
                <a:gd name="T16" fmla="*/ 105 w 105"/>
                <a:gd name="T17" fmla="*/ 6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80">
                  <a:moveTo>
                    <a:pt x="105" y="68"/>
                  </a:moveTo>
                  <a:cubicBezTo>
                    <a:pt x="105" y="173"/>
                    <a:pt x="105" y="173"/>
                    <a:pt x="105" y="173"/>
                  </a:cubicBezTo>
                  <a:cubicBezTo>
                    <a:pt x="105" y="178"/>
                    <a:pt x="102" y="180"/>
                    <a:pt x="99" y="178"/>
                  </a:cubicBezTo>
                  <a:cubicBezTo>
                    <a:pt x="6" y="124"/>
                    <a:pt x="6" y="124"/>
                    <a:pt x="6" y="124"/>
                  </a:cubicBezTo>
                  <a:cubicBezTo>
                    <a:pt x="3" y="122"/>
                    <a:pt x="0" y="116"/>
                    <a:pt x="0" y="11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6" y="2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102" y="58"/>
                    <a:pt x="105" y="64"/>
                    <a:pt x="105" y="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9" name="Freeform 2299">
              <a:extLst>
                <a:ext uri="{FF2B5EF4-FFF2-40B4-BE49-F238E27FC236}">
                  <a16:creationId xmlns:a16="http://schemas.microsoft.com/office/drawing/2014/main" id="{22A27F74-F7B7-4FE3-8443-C285709671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8" y="2831"/>
              <a:ext cx="681" cy="957"/>
            </a:xfrm>
            <a:custGeom>
              <a:avLst/>
              <a:gdLst>
                <a:gd name="T0" fmla="*/ 2411 w 2467"/>
                <a:gd name="T1" fmla="*/ 3464 h 3464"/>
                <a:gd name="T2" fmla="*/ 2359 w 2467"/>
                <a:gd name="T3" fmla="*/ 3448 h 3464"/>
                <a:gd name="T4" fmla="*/ 92 w 2467"/>
                <a:gd name="T5" fmla="*/ 2138 h 3464"/>
                <a:gd name="T6" fmla="*/ 31 w 2467"/>
                <a:gd name="T7" fmla="*/ 2073 h 3464"/>
                <a:gd name="T8" fmla="*/ 0 w 2467"/>
                <a:gd name="T9" fmla="*/ 1965 h 3464"/>
                <a:gd name="T10" fmla="*/ 0 w 2467"/>
                <a:gd name="T11" fmla="*/ 90 h 3464"/>
                <a:gd name="T12" fmla="*/ 36 w 2467"/>
                <a:gd name="T13" fmla="*/ 11 h 3464"/>
                <a:gd name="T14" fmla="*/ 37 w 2467"/>
                <a:gd name="T15" fmla="*/ 10 h 3464"/>
                <a:gd name="T16" fmla="*/ 37 w 2467"/>
                <a:gd name="T17" fmla="*/ 10 h 3464"/>
                <a:gd name="T18" fmla="*/ 104 w 2467"/>
                <a:gd name="T19" fmla="*/ 15 h 3464"/>
                <a:gd name="T20" fmla="*/ 2376 w 2467"/>
                <a:gd name="T21" fmla="*/ 1327 h 3464"/>
                <a:gd name="T22" fmla="*/ 2434 w 2467"/>
                <a:gd name="T23" fmla="*/ 1389 h 3464"/>
                <a:gd name="T24" fmla="*/ 2467 w 2467"/>
                <a:gd name="T25" fmla="*/ 1500 h 3464"/>
                <a:gd name="T26" fmla="*/ 2467 w 2467"/>
                <a:gd name="T27" fmla="*/ 3386 h 3464"/>
                <a:gd name="T28" fmla="*/ 2437 w 2467"/>
                <a:gd name="T29" fmla="*/ 3458 h 3464"/>
                <a:gd name="T30" fmla="*/ 2411 w 2467"/>
                <a:gd name="T31" fmla="*/ 3464 h 3464"/>
                <a:gd name="T32" fmla="*/ 48 w 2467"/>
                <a:gd name="T33" fmla="*/ 31 h 3464"/>
                <a:gd name="T34" fmla="*/ 48 w 2467"/>
                <a:gd name="T35" fmla="*/ 32 h 3464"/>
                <a:gd name="T36" fmla="*/ 24 w 2467"/>
                <a:gd name="T37" fmla="*/ 90 h 3464"/>
                <a:gd name="T38" fmla="*/ 24 w 2467"/>
                <a:gd name="T39" fmla="*/ 1965 h 3464"/>
                <a:gd name="T40" fmla="*/ 52 w 2467"/>
                <a:gd name="T41" fmla="*/ 2062 h 3464"/>
                <a:gd name="T42" fmla="*/ 104 w 2467"/>
                <a:gd name="T43" fmla="*/ 2118 h 3464"/>
                <a:gd name="T44" fmla="*/ 2371 w 2467"/>
                <a:gd name="T45" fmla="*/ 3427 h 3464"/>
                <a:gd name="T46" fmla="*/ 2425 w 2467"/>
                <a:gd name="T47" fmla="*/ 3437 h 3464"/>
                <a:gd name="T48" fmla="*/ 2443 w 2467"/>
                <a:gd name="T49" fmla="*/ 3386 h 3464"/>
                <a:gd name="T50" fmla="*/ 2443 w 2467"/>
                <a:gd name="T51" fmla="*/ 1500 h 3464"/>
                <a:gd name="T52" fmla="*/ 2414 w 2467"/>
                <a:gd name="T53" fmla="*/ 1401 h 3464"/>
                <a:gd name="T54" fmla="*/ 2363 w 2467"/>
                <a:gd name="T55" fmla="*/ 1348 h 3464"/>
                <a:gd name="T56" fmla="*/ 92 w 2467"/>
                <a:gd name="T57" fmla="*/ 36 h 3464"/>
                <a:gd name="T58" fmla="*/ 49 w 2467"/>
                <a:gd name="T59" fmla="*/ 31 h 3464"/>
                <a:gd name="T60" fmla="*/ 48 w 2467"/>
                <a:gd name="T61" fmla="*/ 31 h 3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467" h="3464">
                  <a:moveTo>
                    <a:pt x="2411" y="3464"/>
                  </a:moveTo>
                  <a:cubicBezTo>
                    <a:pt x="2398" y="3464"/>
                    <a:pt x="2381" y="3460"/>
                    <a:pt x="2359" y="3448"/>
                  </a:cubicBezTo>
                  <a:cubicBezTo>
                    <a:pt x="92" y="2138"/>
                    <a:pt x="92" y="2138"/>
                    <a:pt x="92" y="2138"/>
                  </a:cubicBezTo>
                  <a:cubicBezTo>
                    <a:pt x="69" y="2125"/>
                    <a:pt x="48" y="2102"/>
                    <a:pt x="31" y="2073"/>
                  </a:cubicBezTo>
                  <a:cubicBezTo>
                    <a:pt x="11" y="2039"/>
                    <a:pt x="0" y="2000"/>
                    <a:pt x="0" y="1965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53"/>
                    <a:pt x="13" y="24"/>
                    <a:pt x="36" y="11"/>
                  </a:cubicBezTo>
                  <a:cubicBezTo>
                    <a:pt x="36" y="11"/>
                    <a:pt x="37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56" y="0"/>
                    <a:pt x="80" y="2"/>
                    <a:pt x="104" y="15"/>
                  </a:cubicBezTo>
                  <a:cubicBezTo>
                    <a:pt x="2376" y="1327"/>
                    <a:pt x="2376" y="1327"/>
                    <a:pt x="2376" y="1327"/>
                  </a:cubicBezTo>
                  <a:cubicBezTo>
                    <a:pt x="2398" y="1340"/>
                    <a:pt x="2418" y="1361"/>
                    <a:pt x="2434" y="1389"/>
                  </a:cubicBezTo>
                  <a:cubicBezTo>
                    <a:pt x="2455" y="1424"/>
                    <a:pt x="2467" y="1464"/>
                    <a:pt x="2467" y="1500"/>
                  </a:cubicBezTo>
                  <a:cubicBezTo>
                    <a:pt x="2467" y="3386"/>
                    <a:pt x="2467" y="3386"/>
                    <a:pt x="2467" y="3386"/>
                  </a:cubicBezTo>
                  <a:cubicBezTo>
                    <a:pt x="2467" y="3431"/>
                    <a:pt x="2450" y="3450"/>
                    <a:pt x="2437" y="3458"/>
                  </a:cubicBezTo>
                  <a:cubicBezTo>
                    <a:pt x="2430" y="3461"/>
                    <a:pt x="2422" y="3464"/>
                    <a:pt x="2411" y="3464"/>
                  </a:cubicBezTo>
                  <a:close/>
                  <a:moveTo>
                    <a:pt x="48" y="31"/>
                  </a:moveTo>
                  <a:cubicBezTo>
                    <a:pt x="48" y="31"/>
                    <a:pt x="48" y="31"/>
                    <a:pt x="48" y="32"/>
                  </a:cubicBezTo>
                  <a:cubicBezTo>
                    <a:pt x="33" y="40"/>
                    <a:pt x="24" y="61"/>
                    <a:pt x="24" y="90"/>
                  </a:cubicBezTo>
                  <a:cubicBezTo>
                    <a:pt x="24" y="1965"/>
                    <a:pt x="24" y="1965"/>
                    <a:pt x="24" y="1965"/>
                  </a:cubicBezTo>
                  <a:cubicBezTo>
                    <a:pt x="24" y="1996"/>
                    <a:pt x="35" y="2031"/>
                    <a:pt x="52" y="2062"/>
                  </a:cubicBezTo>
                  <a:cubicBezTo>
                    <a:pt x="66" y="2087"/>
                    <a:pt x="85" y="2107"/>
                    <a:pt x="104" y="2118"/>
                  </a:cubicBezTo>
                  <a:cubicBezTo>
                    <a:pt x="2371" y="3427"/>
                    <a:pt x="2371" y="3427"/>
                    <a:pt x="2371" y="3427"/>
                  </a:cubicBezTo>
                  <a:cubicBezTo>
                    <a:pt x="2394" y="3440"/>
                    <a:pt x="2413" y="3444"/>
                    <a:pt x="2425" y="3437"/>
                  </a:cubicBezTo>
                  <a:cubicBezTo>
                    <a:pt x="2436" y="3430"/>
                    <a:pt x="2443" y="3412"/>
                    <a:pt x="2443" y="3386"/>
                  </a:cubicBezTo>
                  <a:cubicBezTo>
                    <a:pt x="2443" y="1500"/>
                    <a:pt x="2443" y="1500"/>
                    <a:pt x="2443" y="1500"/>
                  </a:cubicBezTo>
                  <a:cubicBezTo>
                    <a:pt x="2443" y="1468"/>
                    <a:pt x="2432" y="1432"/>
                    <a:pt x="2414" y="1401"/>
                  </a:cubicBezTo>
                  <a:cubicBezTo>
                    <a:pt x="2400" y="1377"/>
                    <a:pt x="2382" y="1358"/>
                    <a:pt x="2363" y="1348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80" y="30"/>
                    <a:pt x="63" y="23"/>
                    <a:pt x="49" y="31"/>
                  </a:cubicBezTo>
                  <a:cubicBezTo>
                    <a:pt x="49" y="31"/>
                    <a:pt x="48" y="31"/>
                    <a:pt x="48" y="3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0" name="Freeform 2300">
              <a:extLst>
                <a:ext uri="{FF2B5EF4-FFF2-40B4-BE49-F238E27FC236}">
                  <a16:creationId xmlns:a16="http://schemas.microsoft.com/office/drawing/2014/main" id="{771AB6B0-0393-4407-8BDC-6BA85B498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" y="2906"/>
              <a:ext cx="682" cy="397"/>
            </a:xfrm>
            <a:custGeom>
              <a:avLst/>
              <a:gdLst>
                <a:gd name="T0" fmla="*/ 2456 w 2469"/>
                <a:gd name="T1" fmla="*/ 1436 h 1436"/>
                <a:gd name="T2" fmla="*/ 2450 w 2469"/>
                <a:gd name="T3" fmla="*/ 1434 h 1436"/>
                <a:gd name="T4" fmla="*/ 7 w 2469"/>
                <a:gd name="T5" fmla="*/ 24 h 1436"/>
                <a:gd name="T6" fmla="*/ 3 w 2469"/>
                <a:gd name="T7" fmla="*/ 8 h 1436"/>
                <a:gd name="T8" fmla="*/ 19 w 2469"/>
                <a:gd name="T9" fmla="*/ 3 h 1436"/>
                <a:gd name="T10" fmla="*/ 2462 w 2469"/>
                <a:gd name="T11" fmla="*/ 1413 h 1436"/>
                <a:gd name="T12" fmla="*/ 2466 w 2469"/>
                <a:gd name="T13" fmla="*/ 1430 h 1436"/>
                <a:gd name="T14" fmla="*/ 2456 w 2469"/>
                <a:gd name="T15" fmla="*/ 1436 h 1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9" h="1436">
                  <a:moveTo>
                    <a:pt x="2456" y="1436"/>
                  </a:moveTo>
                  <a:cubicBezTo>
                    <a:pt x="2453" y="1436"/>
                    <a:pt x="2451" y="1435"/>
                    <a:pt x="2450" y="143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2" y="21"/>
                    <a:pt x="0" y="14"/>
                    <a:pt x="3" y="8"/>
                  </a:cubicBezTo>
                  <a:cubicBezTo>
                    <a:pt x="6" y="2"/>
                    <a:pt x="14" y="0"/>
                    <a:pt x="19" y="3"/>
                  </a:cubicBezTo>
                  <a:cubicBezTo>
                    <a:pt x="2462" y="1413"/>
                    <a:pt x="2462" y="1413"/>
                    <a:pt x="2462" y="1413"/>
                  </a:cubicBezTo>
                  <a:cubicBezTo>
                    <a:pt x="2467" y="1417"/>
                    <a:pt x="2469" y="1424"/>
                    <a:pt x="2466" y="1430"/>
                  </a:cubicBezTo>
                  <a:cubicBezTo>
                    <a:pt x="2464" y="1434"/>
                    <a:pt x="2460" y="1436"/>
                    <a:pt x="2456" y="143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1" name="Freeform 2301">
              <a:extLst>
                <a:ext uri="{FF2B5EF4-FFF2-40B4-BE49-F238E27FC236}">
                  <a16:creationId xmlns:a16="http://schemas.microsoft.com/office/drawing/2014/main" id="{FD4AFB98-5002-41E1-AC85-591FD0A09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" y="2805"/>
              <a:ext cx="719" cy="982"/>
            </a:xfrm>
            <a:custGeom>
              <a:avLst/>
              <a:gdLst>
                <a:gd name="T0" fmla="*/ 2403 w 2601"/>
                <a:gd name="T1" fmla="*/ 3553 h 3553"/>
                <a:gd name="T2" fmla="*/ 2392 w 2601"/>
                <a:gd name="T3" fmla="*/ 3547 h 3553"/>
                <a:gd name="T4" fmla="*/ 2397 w 2601"/>
                <a:gd name="T5" fmla="*/ 3531 h 3553"/>
                <a:gd name="T6" fmla="*/ 2559 w 2601"/>
                <a:gd name="T7" fmla="*/ 3437 h 3553"/>
                <a:gd name="T8" fmla="*/ 2577 w 2601"/>
                <a:gd name="T9" fmla="*/ 3386 h 3553"/>
                <a:gd name="T10" fmla="*/ 2577 w 2601"/>
                <a:gd name="T11" fmla="*/ 1500 h 3553"/>
                <a:gd name="T12" fmla="*/ 2548 w 2601"/>
                <a:gd name="T13" fmla="*/ 1402 h 3553"/>
                <a:gd name="T14" fmla="*/ 2498 w 2601"/>
                <a:gd name="T15" fmla="*/ 1348 h 3553"/>
                <a:gd name="T16" fmla="*/ 226 w 2601"/>
                <a:gd name="T17" fmla="*/ 37 h 3553"/>
                <a:gd name="T18" fmla="*/ 182 w 2601"/>
                <a:gd name="T19" fmla="*/ 32 h 3553"/>
                <a:gd name="T20" fmla="*/ 20 w 2601"/>
                <a:gd name="T21" fmla="*/ 126 h 3553"/>
                <a:gd name="T22" fmla="*/ 4 w 2601"/>
                <a:gd name="T23" fmla="*/ 121 h 3553"/>
                <a:gd name="T24" fmla="*/ 8 w 2601"/>
                <a:gd name="T25" fmla="*/ 105 h 3553"/>
                <a:gd name="T26" fmla="*/ 170 w 2601"/>
                <a:gd name="T27" fmla="*/ 11 h 3553"/>
                <a:gd name="T28" fmla="*/ 238 w 2601"/>
                <a:gd name="T29" fmla="*/ 16 h 3553"/>
                <a:gd name="T30" fmla="*/ 2510 w 2601"/>
                <a:gd name="T31" fmla="*/ 1327 h 3553"/>
                <a:gd name="T32" fmla="*/ 2568 w 2601"/>
                <a:gd name="T33" fmla="*/ 1390 h 3553"/>
                <a:gd name="T34" fmla="*/ 2601 w 2601"/>
                <a:gd name="T35" fmla="*/ 1500 h 3553"/>
                <a:gd name="T36" fmla="*/ 2601 w 2601"/>
                <a:gd name="T37" fmla="*/ 3386 h 3553"/>
                <a:gd name="T38" fmla="*/ 2571 w 2601"/>
                <a:gd name="T39" fmla="*/ 3458 h 3553"/>
                <a:gd name="T40" fmla="*/ 2409 w 2601"/>
                <a:gd name="T41" fmla="*/ 3552 h 3553"/>
                <a:gd name="T42" fmla="*/ 2403 w 2601"/>
                <a:gd name="T43" fmla="*/ 3553 h 3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01" h="3553">
                  <a:moveTo>
                    <a:pt x="2403" y="3553"/>
                  </a:moveTo>
                  <a:cubicBezTo>
                    <a:pt x="2398" y="3553"/>
                    <a:pt x="2394" y="3551"/>
                    <a:pt x="2392" y="3547"/>
                  </a:cubicBezTo>
                  <a:cubicBezTo>
                    <a:pt x="2389" y="3542"/>
                    <a:pt x="2391" y="3534"/>
                    <a:pt x="2397" y="3531"/>
                  </a:cubicBezTo>
                  <a:cubicBezTo>
                    <a:pt x="2559" y="3437"/>
                    <a:pt x="2559" y="3437"/>
                    <a:pt x="2559" y="3437"/>
                  </a:cubicBezTo>
                  <a:cubicBezTo>
                    <a:pt x="2570" y="3431"/>
                    <a:pt x="2577" y="3412"/>
                    <a:pt x="2577" y="3386"/>
                  </a:cubicBezTo>
                  <a:cubicBezTo>
                    <a:pt x="2577" y="1500"/>
                    <a:pt x="2577" y="1500"/>
                    <a:pt x="2577" y="1500"/>
                  </a:cubicBezTo>
                  <a:cubicBezTo>
                    <a:pt x="2577" y="1469"/>
                    <a:pt x="2566" y="1433"/>
                    <a:pt x="2548" y="1402"/>
                  </a:cubicBezTo>
                  <a:cubicBezTo>
                    <a:pt x="2534" y="1378"/>
                    <a:pt x="2516" y="1359"/>
                    <a:pt x="2498" y="1348"/>
                  </a:cubicBezTo>
                  <a:cubicBezTo>
                    <a:pt x="226" y="37"/>
                    <a:pt x="226" y="37"/>
                    <a:pt x="226" y="37"/>
                  </a:cubicBezTo>
                  <a:cubicBezTo>
                    <a:pt x="209" y="27"/>
                    <a:pt x="194" y="25"/>
                    <a:pt x="182" y="32"/>
                  </a:cubicBezTo>
                  <a:cubicBezTo>
                    <a:pt x="20" y="126"/>
                    <a:pt x="20" y="126"/>
                    <a:pt x="20" y="126"/>
                  </a:cubicBezTo>
                  <a:cubicBezTo>
                    <a:pt x="14" y="129"/>
                    <a:pt x="7" y="127"/>
                    <a:pt x="4" y="121"/>
                  </a:cubicBezTo>
                  <a:cubicBezTo>
                    <a:pt x="0" y="115"/>
                    <a:pt x="2" y="108"/>
                    <a:pt x="8" y="105"/>
                  </a:cubicBezTo>
                  <a:cubicBezTo>
                    <a:pt x="170" y="11"/>
                    <a:pt x="170" y="11"/>
                    <a:pt x="170" y="11"/>
                  </a:cubicBezTo>
                  <a:cubicBezTo>
                    <a:pt x="189" y="0"/>
                    <a:pt x="213" y="2"/>
                    <a:pt x="238" y="16"/>
                  </a:cubicBezTo>
                  <a:cubicBezTo>
                    <a:pt x="2510" y="1327"/>
                    <a:pt x="2510" y="1327"/>
                    <a:pt x="2510" y="1327"/>
                  </a:cubicBezTo>
                  <a:cubicBezTo>
                    <a:pt x="2532" y="1340"/>
                    <a:pt x="2552" y="1362"/>
                    <a:pt x="2568" y="1390"/>
                  </a:cubicBezTo>
                  <a:cubicBezTo>
                    <a:pt x="2589" y="1424"/>
                    <a:pt x="2601" y="1464"/>
                    <a:pt x="2601" y="1500"/>
                  </a:cubicBezTo>
                  <a:cubicBezTo>
                    <a:pt x="2601" y="3386"/>
                    <a:pt x="2601" y="3386"/>
                    <a:pt x="2601" y="3386"/>
                  </a:cubicBezTo>
                  <a:cubicBezTo>
                    <a:pt x="2601" y="3431"/>
                    <a:pt x="2584" y="3450"/>
                    <a:pt x="2571" y="3458"/>
                  </a:cubicBezTo>
                  <a:cubicBezTo>
                    <a:pt x="2409" y="3552"/>
                    <a:pt x="2409" y="3552"/>
                    <a:pt x="2409" y="3552"/>
                  </a:cubicBezTo>
                  <a:cubicBezTo>
                    <a:pt x="2407" y="3553"/>
                    <a:pt x="2405" y="3553"/>
                    <a:pt x="2403" y="355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2" name="Freeform 2302">
              <a:extLst>
                <a:ext uri="{FF2B5EF4-FFF2-40B4-BE49-F238E27FC236}">
                  <a16:creationId xmlns:a16="http://schemas.microsoft.com/office/drawing/2014/main" id="{E39A4A3C-3A12-4255-9462-E1745DEE73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7" y="3096"/>
              <a:ext cx="66" cy="85"/>
            </a:xfrm>
            <a:custGeom>
              <a:avLst/>
              <a:gdLst>
                <a:gd name="T0" fmla="*/ 167 w 239"/>
                <a:gd name="T1" fmla="*/ 307 h 307"/>
                <a:gd name="T2" fmla="*/ 114 w 239"/>
                <a:gd name="T3" fmla="*/ 291 h 307"/>
                <a:gd name="T4" fmla="*/ 46 w 239"/>
                <a:gd name="T5" fmla="*/ 226 h 307"/>
                <a:gd name="T6" fmla="*/ 34 w 239"/>
                <a:gd name="T7" fmla="*/ 207 h 307"/>
                <a:gd name="T8" fmla="*/ 0 w 239"/>
                <a:gd name="T9" fmla="*/ 94 h 307"/>
                <a:gd name="T10" fmla="*/ 37 w 239"/>
                <a:gd name="T11" fmla="*/ 14 h 307"/>
                <a:gd name="T12" fmla="*/ 126 w 239"/>
                <a:gd name="T13" fmla="*/ 22 h 307"/>
                <a:gd name="T14" fmla="*/ 239 w 239"/>
                <a:gd name="T15" fmla="*/ 218 h 307"/>
                <a:gd name="T16" fmla="*/ 201 w 239"/>
                <a:gd name="T17" fmla="*/ 299 h 307"/>
                <a:gd name="T18" fmla="*/ 186 w 239"/>
                <a:gd name="T19" fmla="*/ 304 h 307"/>
                <a:gd name="T20" fmla="*/ 167 w 239"/>
                <a:gd name="T21" fmla="*/ 307 h 307"/>
                <a:gd name="T22" fmla="*/ 72 w 239"/>
                <a:gd name="T23" fmla="*/ 29 h 307"/>
                <a:gd name="T24" fmla="*/ 49 w 239"/>
                <a:gd name="T25" fmla="*/ 35 h 307"/>
                <a:gd name="T26" fmla="*/ 24 w 239"/>
                <a:gd name="T27" fmla="*/ 94 h 307"/>
                <a:gd name="T28" fmla="*/ 55 w 239"/>
                <a:gd name="T29" fmla="*/ 195 h 307"/>
                <a:gd name="T30" fmla="*/ 66 w 239"/>
                <a:gd name="T31" fmla="*/ 213 h 307"/>
                <a:gd name="T32" fmla="*/ 126 w 239"/>
                <a:gd name="T33" fmla="*/ 270 h 307"/>
                <a:gd name="T34" fmla="*/ 180 w 239"/>
                <a:gd name="T35" fmla="*/ 281 h 307"/>
                <a:gd name="T36" fmla="*/ 189 w 239"/>
                <a:gd name="T37" fmla="*/ 278 h 307"/>
                <a:gd name="T38" fmla="*/ 215 w 239"/>
                <a:gd name="T39" fmla="*/ 218 h 307"/>
                <a:gd name="T40" fmla="*/ 114 w 239"/>
                <a:gd name="T41" fmla="*/ 42 h 307"/>
                <a:gd name="T42" fmla="*/ 72 w 239"/>
                <a:gd name="T43" fmla="*/ 29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9" h="307">
                  <a:moveTo>
                    <a:pt x="167" y="307"/>
                  </a:moveTo>
                  <a:cubicBezTo>
                    <a:pt x="150" y="307"/>
                    <a:pt x="132" y="301"/>
                    <a:pt x="114" y="291"/>
                  </a:cubicBezTo>
                  <a:cubicBezTo>
                    <a:pt x="89" y="277"/>
                    <a:pt x="66" y="254"/>
                    <a:pt x="46" y="226"/>
                  </a:cubicBezTo>
                  <a:cubicBezTo>
                    <a:pt x="42" y="221"/>
                    <a:pt x="38" y="214"/>
                    <a:pt x="34" y="207"/>
                  </a:cubicBezTo>
                  <a:cubicBezTo>
                    <a:pt x="12" y="170"/>
                    <a:pt x="0" y="129"/>
                    <a:pt x="0" y="94"/>
                  </a:cubicBezTo>
                  <a:cubicBezTo>
                    <a:pt x="0" y="56"/>
                    <a:pt x="13" y="28"/>
                    <a:pt x="37" y="14"/>
                  </a:cubicBezTo>
                  <a:cubicBezTo>
                    <a:pt x="62" y="0"/>
                    <a:pt x="93" y="3"/>
                    <a:pt x="126" y="22"/>
                  </a:cubicBezTo>
                  <a:cubicBezTo>
                    <a:pt x="188" y="58"/>
                    <a:pt x="239" y="146"/>
                    <a:pt x="239" y="218"/>
                  </a:cubicBezTo>
                  <a:cubicBezTo>
                    <a:pt x="239" y="256"/>
                    <a:pt x="226" y="285"/>
                    <a:pt x="201" y="299"/>
                  </a:cubicBezTo>
                  <a:cubicBezTo>
                    <a:pt x="196" y="301"/>
                    <a:pt x="191" y="303"/>
                    <a:pt x="186" y="304"/>
                  </a:cubicBezTo>
                  <a:cubicBezTo>
                    <a:pt x="180" y="306"/>
                    <a:pt x="174" y="307"/>
                    <a:pt x="167" y="307"/>
                  </a:cubicBezTo>
                  <a:close/>
                  <a:moveTo>
                    <a:pt x="72" y="29"/>
                  </a:moveTo>
                  <a:cubicBezTo>
                    <a:pt x="63" y="29"/>
                    <a:pt x="56" y="31"/>
                    <a:pt x="49" y="35"/>
                  </a:cubicBezTo>
                  <a:cubicBezTo>
                    <a:pt x="33" y="44"/>
                    <a:pt x="24" y="65"/>
                    <a:pt x="24" y="94"/>
                  </a:cubicBezTo>
                  <a:cubicBezTo>
                    <a:pt x="24" y="125"/>
                    <a:pt x="35" y="161"/>
                    <a:pt x="55" y="195"/>
                  </a:cubicBezTo>
                  <a:cubicBezTo>
                    <a:pt x="59" y="202"/>
                    <a:pt x="62" y="208"/>
                    <a:pt x="66" y="213"/>
                  </a:cubicBezTo>
                  <a:cubicBezTo>
                    <a:pt x="84" y="238"/>
                    <a:pt x="104" y="258"/>
                    <a:pt x="126" y="270"/>
                  </a:cubicBezTo>
                  <a:cubicBezTo>
                    <a:pt x="146" y="282"/>
                    <a:pt x="164" y="285"/>
                    <a:pt x="180" y="281"/>
                  </a:cubicBezTo>
                  <a:cubicBezTo>
                    <a:pt x="183" y="280"/>
                    <a:pt x="186" y="279"/>
                    <a:pt x="189" y="278"/>
                  </a:cubicBezTo>
                  <a:cubicBezTo>
                    <a:pt x="206" y="268"/>
                    <a:pt x="215" y="247"/>
                    <a:pt x="215" y="218"/>
                  </a:cubicBezTo>
                  <a:cubicBezTo>
                    <a:pt x="215" y="154"/>
                    <a:pt x="170" y="75"/>
                    <a:pt x="114" y="42"/>
                  </a:cubicBezTo>
                  <a:cubicBezTo>
                    <a:pt x="99" y="34"/>
                    <a:pt x="84" y="29"/>
                    <a:pt x="72" y="2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3" name="Freeform 2303">
              <a:extLst>
                <a:ext uri="{FF2B5EF4-FFF2-40B4-BE49-F238E27FC236}">
                  <a16:creationId xmlns:a16="http://schemas.microsoft.com/office/drawing/2014/main" id="{5A29D920-AAAE-492B-B3D3-E1A57311EC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" y="3148"/>
              <a:ext cx="45" cy="47"/>
            </a:xfrm>
            <a:custGeom>
              <a:avLst/>
              <a:gdLst>
                <a:gd name="T0" fmla="*/ 13 w 160"/>
                <a:gd name="T1" fmla="*/ 169 h 169"/>
                <a:gd name="T2" fmla="*/ 10 w 160"/>
                <a:gd name="T3" fmla="*/ 169 h 169"/>
                <a:gd name="T4" fmla="*/ 2 w 160"/>
                <a:gd name="T5" fmla="*/ 154 h 169"/>
                <a:gd name="T6" fmla="*/ 146 w 160"/>
                <a:gd name="T7" fmla="*/ 0 h 169"/>
                <a:gd name="T8" fmla="*/ 159 w 160"/>
                <a:gd name="T9" fmla="*/ 11 h 169"/>
                <a:gd name="T10" fmla="*/ 149 w 160"/>
                <a:gd name="T11" fmla="*/ 24 h 169"/>
                <a:gd name="T12" fmla="*/ 25 w 160"/>
                <a:gd name="T13" fmla="*/ 160 h 169"/>
                <a:gd name="T14" fmla="*/ 13 w 160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0" h="169">
                  <a:moveTo>
                    <a:pt x="13" y="169"/>
                  </a:moveTo>
                  <a:cubicBezTo>
                    <a:pt x="12" y="169"/>
                    <a:pt x="11" y="169"/>
                    <a:pt x="10" y="169"/>
                  </a:cubicBezTo>
                  <a:cubicBezTo>
                    <a:pt x="4" y="167"/>
                    <a:pt x="0" y="161"/>
                    <a:pt x="2" y="154"/>
                  </a:cubicBezTo>
                  <a:cubicBezTo>
                    <a:pt x="26" y="63"/>
                    <a:pt x="92" y="8"/>
                    <a:pt x="146" y="0"/>
                  </a:cubicBezTo>
                  <a:cubicBezTo>
                    <a:pt x="152" y="0"/>
                    <a:pt x="159" y="4"/>
                    <a:pt x="159" y="11"/>
                  </a:cubicBezTo>
                  <a:cubicBezTo>
                    <a:pt x="160" y="17"/>
                    <a:pt x="156" y="23"/>
                    <a:pt x="149" y="24"/>
                  </a:cubicBezTo>
                  <a:cubicBezTo>
                    <a:pt x="104" y="31"/>
                    <a:pt x="46" y="80"/>
                    <a:pt x="25" y="160"/>
                  </a:cubicBezTo>
                  <a:cubicBezTo>
                    <a:pt x="24" y="166"/>
                    <a:pt x="19" y="169"/>
                    <a:pt x="13" y="16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4" name="Freeform 2304">
              <a:extLst>
                <a:ext uri="{FF2B5EF4-FFF2-40B4-BE49-F238E27FC236}">
                  <a16:creationId xmlns:a16="http://schemas.microsoft.com/office/drawing/2014/main" id="{840A5FB8-D7AA-41D0-B5B4-FF16BD965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7" y="3172"/>
              <a:ext cx="44" cy="90"/>
            </a:xfrm>
            <a:custGeom>
              <a:avLst/>
              <a:gdLst>
                <a:gd name="T0" fmla="*/ 148 w 160"/>
                <a:gd name="T1" fmla="*/ 325 h 325"/>
                <a:gd name="T2" fmla="*/ 136 w 160"/>
                <a:gd name="T3" fmla="*/ 315 h 325"/>
                <a:gd name="T4" fmla="*/ 4 w 160"/>
                <a:gd name="T5" fmla="*/ 20 h 325"/>
                <a:gd name="T6" fmla="*/ 7 w 160"/>
                <a:gd name="T7" fmla="*/ 4 h 325"/>
                <a:gd name="T8" fmla="*/ 23 w 160"/>
                <a:gd name="T9" fmla="*/ 6 h 325"/>
                <a:gd name="T10" fmla="*/ 160 w 160"/>
                <a:gd name="T11" fmla="*/ 311 h 325"/>
                <a:gd name="T12" fmla="*/ 160 w 160"/>
                <a:gd name="T13" fmla="*/ 313 h 325"/>
                <a:gd name="T14" fmla="*/ 148 w 160"/>
                <a:gd name="T15" fmla="*/ 3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0" h="325">
                  <a:moveTo>
                    <a:pt x="148" y="325"/>
                  </a:moveTo>
                  <a:cubicBezTo>
                    <a:pt x="142" y="325"/>
                    <a:pt x="137" y="321"/>
                    <a:pt x="136" y="315"/>
                  </a:cubicBezTo>
                  <a:cubicBezTo>
                    <a:pt x="114" y="205"/>
                    <a:pt x="53" y="83"/>
                    <a:pt x="4" y="20"/>
                  </a:cubicBezTo>
                  <a:cubicBezTo>
                    <a:pt x="0" y="15"/>
                    <a:pt x="1" y="8"/>
                    <a:pt x="7" y="4"/>
                  </a:cubicBezTo>
                  <a:cubicBezTo>
                    <a:pt x="12" y="0"/>
                    <a:pt x="19" y="1"/>
                    <a:pt x="23" y="6"/>
                  </a:cubicBezTo>
                  <a:cubicBezTo>
                    <a:pt x="74" y="71"/>
                    <a:pt x="137" y="197"/>
                    <a:pt x="160" y="311"/>
                  </a:cubicBezTo>
                  <a:cubicBezTo>
                    <a:pt x="160" y="311"/>
                    <a:pt x="160" y="312"/>
                    <a:pt x="160" y="313"/>
                  </a:cubicBezTo>
                  <a:cubicBezTo>
                    <a:pt x="160" y="320"/>
                    <a:pt x="155" y="325"/>
                    <a:pt x="148" y="325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5" name="Freeform 2305">
              <a:extLst>
                <a:ext uri="{FF2B5EF4-FFF2-40B4-BE49-F238E27FC236}">
                  <a16:creationId xmlns:a16="http://schemas.microsoft.com/office/drawing/2014/main" id="{59174F54-940A-4ED4-8E97-091973530A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" y="3021"/>
              <a:ext cx="148" cy="244"/>
            </a:xfrm>
            <a:custGeom>
              <a:avLst/>
              <a:gdLst>
                <a:gd name="T0" fmla="*/ 504 w 536"/>
                <a:gd name="T1" fmla="*/ 883 h 883"/>
                <a:gd name="T2" fmla="*/ 485 w 536"/>
                <a:gd name="T3" fmla="*/ 877 h 883"/>
                <a:gd name="T4" fmla="*/ 52 w 536"/>
                <a:gd name="T5" fmla="*/ 628 h 883"/>
                <a:gd name="T6" fmla="*/ 52 w 536"/>
                <a:gd name="T7" fmla="*/ 628 h 883"/>
                <a:gd name="T8" fmla="*/ 38 w 536"/>
                <a:gd name="T9" fmla="*/ 620 h 883"/>
                <a:gd name="T10" fmla="*/ 0 w 536"/>
                <a:gd name="T11" fmla="*/ 546 h 883"/>
                <a:gd name="T12" fmla="*/ 0 w 536"/>
                <a:gd name="T13" fmla="*/ 43 h 883"/>
                <a:gd name="T14" fmla="*/ 17 w 536"/>
                <a:gd name="T15" fmla="*/ 6 h 883"/>
                <a:gd name="T16" fmla="*/ 50 w 536"/>
                <a:gd name="T17" fmla="*/ 7 h 883"/>
                <a:gd name="T18" fmla="*/ 497 w 536"/>
                <a:gd name="T19" fmla="*/ 265 h 883"/>
                <a:gd name="T20" fmla="*/ 536 w 536"/>
                <a:gd name="T21" fmla="*/ 338 h 883"/>
                <a:gd name="T22" fmla="*/ 536 w 536"/>
                <a:gd name="T23" fmla="*/ 842 h 883"/>
                <a:gd name="T24" fmla="*/ 519 w 536"/>
                <a:gd name="T25" fmla="*/ 879 h 883"/>
                <a:gd name="T26" fmla="*/ 504 w 536"/>
                <a:gd name="T27" fmla="*/ 883 h 883"/>
                <a:gd name="T28" fmla="*/ 64 w 536"/>
                <a:gd name="T29" fmla="*/ 607 h 883"/>
                <a:gd name="T30" fmla="*/ 497 w 536"/>
                <a:gd name="T31" fmla="*/ 857 h 883"/>
                <a:gd name="T32" fmla="*/ 507 w 536"/>
                <a:gd name="T33" fmla="*/ 858 h 883"/>
                <a:gd name="T34" fmla="*/ 512 w 536"/>
                <a:gd name="T35" fmla="*/ 842 h 883"/>
                <a:gd name="T36" fmla="*/ 512 w 536"/>
                <a:gd name="T37" fmla="*/ 338 h 883"/>
                <a:gd name="T38" fmla="*/ 485 w 536"/>
                <a:gd name="T39" fmla="*/ 286 h 883"/>
                <a:gd name="T40" fmla="*/ 38 w 536"/>
                <a:gd name="T41" fmla="*/ 28 h 883"/>
                <a:gd name="T42" fmla="*/ 29 w 536"/>
                <a:gd name="T43" fmla="*/ 26 h 883"/>
                <a:gd name="T44" fmla="*/ 24 w 536"/>
                <a:gd name="T45" fmla="*/ 43 h 883"/>
                <a:gd name="T46" fmla="*/ 24 w 536"/>
                <a:gd name="T47" fmla="*/ 546 h 883"/>
                <a:gd name="T48" fmla="*/ 50 w 536"/>
                <a:gd name="T49" fmla="*/ 599 h 883"/>
                <a:gd name="T50" fmla="*/ 64 w 536"/>
                <a:gd name="T51" fmla="*/ 607 h 8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36" h="883">
                  <a:moveTo>
                    <a:pt x="504" y="883"/>
                  </a:moveTo>
                  <a:cubicBezTo>
                    <a:pt x="498" y="883"/>
                    <a:pt x="491" y="881"/>
                    <a:pt x="485" y="877"/>
                  </a:cubicBezTo>
                  <a:cubicBezTo>
                    <a:pt x="52" y="628"/>
                    <a:pt x="52" y="628"/>
                    <a:pt x="52" y="628"/>
                  </a:cubicBezTo>
                  <a:cubicBezTo>
                    <a:pt x="52" y="628"/>
                    <a:pt x="52" y="628"/>
                    <a:pt x="52" y="628"/>
                  </a:cubicBezTo>
                  <a:cubicBezTo>
                    <a:pt x="38" y="620"/>
                    <a:pt x="38" y="620"/>
                    <a:pt x="38" y="620"/>
                  </a:cubicBezTo>
                  <a:cubicBezTo>
                    <a:pt x="17" y="607"/>
                    <a:pt x="0" y="575"/>
                    <a:pt x="0" y="546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25"/>
                    <a:pt x="6" y="12"/>
                    <a:pt x="17" y="6"/>
                  </a:cubicBezTo>
                  <a:cubicBezTo>
                    <a:pt x="27" y="0"/>
                    <a:pt x="39" y="1"/>
                    <a:pt x="50" y="7"/>
                  </a:cubicBezTo>
                  <a:cubicBezTo>
                    <a:pt x="497" y="265"/>
                    <a:pt x="497" y="265"/>
                    <a:pt x="497" y="265"/>
                  </a:cubicBezTo>
                  <a:cubicBezTo>
                    <a:pt x="519" y="278"/>
                    <a:pt x="536" y="310"/>
                    <a:pt x="536" y="338"/>
                  </a:cubicBezTo>
                  <a:cubicBezTo>
                    <a:pt x="536" y="842"/>
                    <a:pt x="536" y="842"/>
                    <a:pt x="536" y="842"/>
                  </a:cubicBezTo>
                  <a:cubicBezTo>
                    <a:pt x="536" y="859"/>
                    <a:pt x="530" y="873"/>
                    <a:pt x="519" y="879"/>
                  </a:cubicBezTo>
                  <a:cubicBezTo>
                    <a:pt x="514" y="882"/>
                    <a:pt x="509" y="883"/>
                    <a:pt x="504" y="883"/>
                  </a:cubicBezTo>
                  <a:close/>
                  <a:moveTo>
                    <a:pt x="64" y="607"/>
                  </a:moveTo>
                  <a:cubicBezTo>
                    <a:pt x="497" y="857"/>
                    <a:pt x="497" y="857"/>
                    <a:pt x="497" y="857"/>
                  </a:cubicBezTo>
                  <a:cubicBezTo>
                    <a:pt x="499" y="858"/>
                    <a:pt x="504" y="860"/>
                    <a:pt x="507" y="858"/>
                  </a:cubicBezTo>
                  <a:cubicBezTo>
                    <a:pt x="509" y="857"/>
                    <a:pt x="512" y="852"/>
                    <a:pt x="512" y="842"/>
                  </a:cubicBezTo>
                  <a:cubicBezTo>
                    <a:pt x="512" y="338"/>
                    <a:pt x="512" y="338"/>
                    <a:pt x="512" y="338"/>
                  </a:cubicBezTo>
                  <a:cubicBezTo>
                    <a:pt x="512" y="319"/>
                    <a:pt x="499" y="294"/>
                    <a:pt x="485" y="286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7" y="27"/>
                    <a:pt x="32" y="25"/>
                    <a:pt x="29" y="26"/>
                  </a:cubicBezTo>
                  <a:cubicBezTo>
                    <a:pt x="26" y="28"/>
                    <a:pt x="24" y="33"/>
                    <a:pt x="24" y="43"/>
                  </a:cubicBezTo>
                  <a:cubicBezTo>
                    <a:pt x="24" y="546"/>
                    <a:pt x="24" y="546"/>
                    <a:pt x="24" y="546"/>
                  </a:cubicBezTo>
                  <a:cubicBezTo>
                    <a:pt x="24" y="566"/>
                    <a:pt x="36" y="590"/>
                    <a:pt x="50" y="599"/>
                  </a:cubicBezTo>
                  <a:lnTo>
                    <a:pt x="64" y="607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6" name="Freeform 2306">
              <a:extLst>
                <a:ext uri="{FF2B5EF4-FFF2-40B4-BE49-F238E27FC236}">
                  <a16:creationId xmlns:a16="http://schemas.microsoft.com/office/drawing/2014/main" id="{EB67D92F-B584-467C-BAA4-07312EE39B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" y="3227"/>
              <a:ext cx="36" cy="56"/>
            </a:xfrm>
            <a:custGeom>
              <a:avLst/>
              <a:gdLst>
                <a:gd name="T0" fmla="*/ 113 w 129"/>
                <a:gd name="T1" fmla="*/ 202 h 202"/>
                <a:gd name="T2" fmla="*/ 105 w 129"/>
                <a:gd name="T3" fmla="*/ 199 h 202"/>
                <a:gd name="T4" fmla="*/ 12 w 129"/>
                <a:gd name="T5" fmla="*/ 146 h 202"/>
                <a:gd name="T6" fmla="*/ 0 w 129"/>
                <a:gd name="T7" fmla="*/ 123 h 202"/>
                <a:gd name="T8" fmla="*/ 0 w 129"/>
                <a:gd name="T9" fmla="*/ 18 h 202"/>
                <a:gd name="T10" fmla="*/ 8 w 129"/>
                <a:gd name="T11" fmla="*/ 2 h 202"/>
                <a:gd name="T12" fmla="*/ 24 w 129"/>
                <a:gd name="T13" fmla="*/ 3 h 202"/>
                <a:gd name="T14" fmla="*/ 117 w 129"/>
                <a:gd name="T15" fmla="*/ 56 h 202"/>
                <a:gd name="T16" fmla="*/ 129 w 129"/>
                <a:gd name="T17" fmla="*/ 79 h 202"/>
                <a:gd name="T18" fmla="*/ 129 w 129"/>
                <a:gd name="T19" fmla="*/ 184 h 202"/>
                <a:gd name="T20" fmla="*/ 121 w 129"/>
                <a:gd name="T21" fmla="*/ 200 h 202"/>
                <a:gd name="T22" fmla="*/ 113 w 129"/>
                <a:gd name="T23" fmla="*/ 202 h 202"/>
                <a:gd name="T24" fmla="*/ 117 w 129"/>
                <a:gd name="T25" fmla="*/ 178 h 202"/>
                <a:gd name="T26" fmla="*/ 117 w 129"/>
                <a:gd name="T27" fmla="*/ 178 h 202"/>
                <a:gd name="T28" fmla="*/ 24 w 129"/>
                <a:gd name="T29" fmla="*/ 30 h 202"/>
                <a:gd name="T30" fmla="*/ 24 w 129"/>
                <a:gd name="T31" fmla="*/ 123 h 202"/>
                <a:gd name="T32" fmla="*/ 25 w 129"/>
                <a:gd name="T33" fmla="*/ 125 h 202"/>
                <a:gd name="T34" fmla="*/ 105 w 129"/>
                <a:gd name="T35" fmla="*/ 172 h 202"/>
                <a:gd name="T36" fmla="*/ 105 w 129"/>
                <a:gd name="T37" fmla="*/ 79 h 202"/>
                <a:gd name="T38" fmla="*/ 104 w 129"/>
                <a:gd name="T39" fmla="*/ 77 h 202"/>
                <a:gd name="T40" fmla="*/ 24 w 129"/>
                <a:gd name="T41" fmla="*/ 30 h 202"/>
                <a:gd name="T42" fmla="*/ 12 w 129"/>
                <a:gd name="T43" fmla="*/ 24 h 202"/>
                <a:gd name="T44" fmla="*/ 12 w 129"/>
                <a:gd name="T45" fmla="*/ 2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9" h="202">
                  <a:moveTo>
                    <a:pt x="113" y="202"/>
                  </a:moveTo>
                  <a:cubicBezTo>
                    <a:pt x="110" y="202"/>
                    <a:pt x="107" y="201"/>
                    <a:pt x="105" y="199"/>
                  </a:cubicBezTo>
                  <a:cubicBezTo>
                    <a:pt x="12" y="146"/>
                    <a:pt x="12" y="146"/>
                    <a:pt x="12" y="146"/>
                  </a:cubicBezTo>
                  <a:cubicBezTo>
                    <a:pt x="5" y="141"/>
                    <a:pt x="0" y="132"/>
                    <a:pt x="0" y="12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1"/>
                    <a:pt x="3" y="6"/>
                    <a:pt x="8" y="2"/>
                  </a:cubicBezTo>
                  <a:cubicBezTo>
                    <a:pt x="13" y="0"/>
                    <a:pt x="19" y="0"/>
                    <a:pt x="24" y="3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24" y="60"/>
                    <a:pt x="129" y="70"/>
                    <a:pt x="129" y="79"/>
                  </a:cubicBezTo>
                  <a:cubicBezTo>
                    <a:pt x="129" y="184"/>
                    <a:pt x="129" y="184"/>
                    <a:pt x="129" y="184"/>
                  </a:cubicBezTo>
                  <a:cubicBezTo>
                    <a:pt x="129" y="191"/>
                    <a:pt x="126" y="196"/>
                    <a:pt x="121" y="200"/>
                  </a:cubicBezTo>
                  <a:cubicBezTo>
                    <a:pt x="119" y="201"/>
                    <a:pt x="116" y="202"/>
                    <a:pt x="113" y="202"/>
                  </a:cubicBezTo>
                  <a:close/>
                  <a:moveTo>
                    <a:pt x="117" y="178"/>
                  </a:moveTo>
                  <a:cubicBezTo>
                    <a:pt x="117" y="178"/>
                    <a:pt x="117" y="178"/>
                    <a:pt x="117" y="178"/>
                  </a:cubicBezTo>
                  <a:close/>
                  <a:moveTo>
                    <a:pt x="24" y="30"/>
                  </a:moveTo>
                  <a:cubicBezTo>
                    <a:pt x="24" y="123"/>
                    <a:pt x="24" y="123"/>
                    <a:pt x="24" y="123"/>
                  </a:cubicBezTo>
                  <a:cubicBezTo>
                    <a:pt x="24" y="123"/>
                    <a:pt x="24" y="125"/>
                    <a:pt x="25" y="125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5" y="79"/>
                    <a:pt x="105" y="79"/>
                    <a:pt x="105" y="79"/>
                  </a:cubicBezTo>
                  <a:cubicBezTo>
                    <a:pt x="105" y="79"/>
                    <a:pt x="105" y="77"/>
                    <a:pt x="104" y="77"/>
                  </a:cubicBezTo>
                  <a:lnTo>
                    <a:pt x="24" y="30"/>
                  </a:lnTo>
                  <a:close/>
                  <a:moveTo>
                    <a:pt x="12" y="24"/>
                  </a:moveTo>
                  <a:cubicBezTo>
                    <a:pt x="12" y="24"/>
                    <a:pt x="12" y="24"/>
                    <a:pt x="12" y="2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7" name="Freeform 2307">
              <a:extLst>
                <a:ext uri="{FF2B5EF4-FFF2-40B4-BE49-F238E27FC236}">
                  <a16:creationId xmlns:a16="http://schemas.microsoft.com/office/drawing/2014/main" id="{5E87F733-3961-4995-9A1B-DBA2B111CC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2" y="3260"/>
              <a:ext cx="36" cy="56"/>
            </a:xfrm>
            <a:custGeom>
              <a:avLst/>
              <a:gdLst>
                <a:gd name="T0" fmla="*/ 114 w 130"/>
                <a:gd name="T1" fmla="*/ 202 h 202"/>
                <a:gd name="T2" fmla="*/ 105 w 130"/>
                <a:gd name="T3" fmla="*/ 199 h 202"/>
                <a:gd name="T4" fmla="*/ 105 w 130"/>
                <a:gd name="T5" fmla="*/ 199 h 202"/>
                <a:gd name="T6" fmla="*/ 13 w 130"/>
                <a:gd name="T7" fmla="*/ 146 h 202"/>
                <a:gd name="T8" fmla="*/ 0 w 130"/>
                <a:gd name="T9" fmla="*/ 123 h 202"/>
                <a:gd name="T10" fmla="*/ 0 w 130"/>
                <a:gd name="T11" fmla="*/ 19 h 202"/>
                <a:gd name="T12" fmla="*/ 8 w 130"/>
                <a:gd name="T13" fmla="*/ 3 h 202"/>
                <a:gd name="T14" fmla="*/ 25 w 130"/>
                <a:gd name="T15" fmla="*/ 3 h 202"/>
                <a:gd name="T16" fmla="*/ 117 w 130"/>
                <a:gd name="T17" fmla="*/ 56 h 202"/>
                <a:gd name="T18" fmla="*/ 130 w 130"/>
                <a:gd name="T19" fmla="*/ 80 h 202"/>
                <a:gd name="T20" fmla="*/ 130 w 130"/>
                <a:gd name="T21" fmla="*/ 184 h 202"/>
                <a:gd name="T22" fmla="*/ 121 w 130"/>
                <a:gd name="T23" fmla="*/ 200 h 202"/>
                <a:gd name="T24" fmla="*/ 114 w 130"/>
                <a:gd name="T25" fmla="*/ 202 h 202"/>
                <a:gd name="T26" fmla="*/ 24 w 130"/>
                <a:gd name="T27" fmla="*/ 30 h 202"/>
                <a:gd name="T28" fmla="*/ 24 w 130"/>
                <a:gd name="T29" fmla="*/ 123 h 202"/>
                <a:gd name="T30" fmla="*/ 25 w 130"/>
                <a:gd name="T31" fmla="*/ 126 h 202"/>
                <a:gd name="T32" fmla="*/ 106 w 130"/>
                <a:gd name="T33" fmla="*/ 172 h 202"/>
                <a:gd name="T34" fmla="*/ 106 w 130"/>
                <a:gd name="T35" fmla="*/ 80 h 202"/>
                <a:gd name="T36" fmla="*/ 104 w 130"/>
                <a:gd name="T37" fmla="*/ 77 h 202"/>
                <a:gd name="T38" fmla="*/ 24 w 130"/>
                <a:gd name="T39" fmla="*/ 3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202">
                  <a:moveTo>
                    <a:pt x="114" y="202"/>
                  </a:moveTo>
                  <a:cubicBezTo>
                    <a:pt x="111" y="202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3" y="146"/>
                    <a:pt x="13" y="146"/>
                    <a:pt x="13" y="146"/>
                  </a:cubicBezTo>
                  <a:cubicBezTo>
                    <a:pt x="5" y="142"/>
                    <a:pt x="0" y="132"/>
                    <a:pt x="0" y="12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2"/>
                    <a:pt x="3" y="6"/>
                    <a:pt x="8" y="3"/>
                  </a:cubicBezTo>
                  <a:cubicBezTo>
                    <a:pt x="13" y="0"/>
                    <a:pt x="19" y="0"/>
                    <a:pt x="25" y="3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24" y="61"/>
                    <a:pt x="130" y="71"/>
                    <a:pt x="130" y="80"/>
                  </a:cubicBezTo>
                  <a:cubicBezTo>
                    <a:pt x="130" y="184"/>
                    <a:pt x="130" y="184"/>
                    <a:pt x="130" y="184"/>
                  </a:cubicBezTo>
                  <a:cubicBezTo>
                    <a:pt x="130" y="191"/>
                    <a:pt x="127" y="197"/>
                    <a:pt x="121" y="200"/>
                  </a:cubicBezTo>
                  <a:cubicBezTo>
                    <a:pt x="119" y="201"/>
                    <a:pt x="116" y="202"/>
                    <a:pt x="114" y="202"/>
                  </a:cubicBezTo>
                  <a:close/>
                  <a:moveTo>
                    <a:pt x="24" y="30"/>
                  </a:moveTo>
                  <a:cubicBezTo>
                    <a:pt x="24" y="123"/>
                    <a:pt x="24" y="123"/>
                    <a:pt x="24" y="123"/>
                  </a:cubicBezTo>
                  <a:cubicBezTo>
                    <a:pt x="24" y="124"/>
                    <a:pt x="24" y="125"/>
                    <a:pt x="25" y="126"/>
                  </a:cubicBezTo>
                  <a:cubicBezTo>
                    <a:pt x="106" y="172"/>
                    <a:pt x="106" y="172"/>
                    <a:pt x="106" y="172"/>
                  </a:cubicBezTo>
                  <a:cubicBezTo>
                    <a:pt x="106" y="80"/>
                    <a:pt x="106" y="80"/>
                    <a:pt x="106" y="80"/>
                  </a:cubicBezTo>
                  <a:cubicBezTo>
                    <a:pt x="106" y="79"/>
                    <a:pt x="105" y="78"/>
                    <a:pt x="104" y="77"/>
                  </a:cubicBezTo>
                  <a:lnTo>
                    <a:pt x="24" y="30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8" name="Freeform 2308">
              <a:extLst>
                <a:ext uri="{FF2B5EF4-FFF2-40B4-BE49-F238E27FC236}">
                  <a16:creationId xmlns:a16="http://schemas.microsoft.com/office/drawing/2014/main" id="{EF191C8D-FD4F-4874-A19A-5DF7A210C4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8" y="3292"/>
              <a:ext cx="36" cy="56"/>
            </a:xfrm>
            <a:custGeom>
              <a:avLst/>
              <a:gdLst>
                <a:gd name="T0" fmla="*/ 114 w 130"/>
                <a:gd name="T1" fmla="*/ 202 h 202"/>
                <a:gd name="T2" fmla="*/ 105 w 130"/>
                <a:gd name="T3" fmla="*/ 200 h 202"/>
                <a:gd name="T4" fmla="*/ 13 w 130"/>
                <a:gd name="T5" fmla="*/ 146 h 202"/>
                <a:gd name="T6" fmla="*/ 0 w 130"/>
                <a:gd name="T7" fmla="*/ 123 h 202"/>
                <a:gd name="T8" fmla="*/ 0 w 130"/>
                <a:gd name="T9" fmla="*/ 19 h 202"/>
                <a:gd name="T10" fmla="*/ 8 w 130"/>
                <a:gd name="T11" fmla="*/ 3 h 202"/>
                <a:gd name="T12" fmla="*/ 25 w 130"/>
                <a:gd name="T13" fmla="*/ 4 h 202"/>
                <a:gd name="T14" fmla="*/ 117 w 130"/>
                <a:gd name="T15" fmla="*/ 57 h 202"/>
                <a:gd name="T16" fmla="*/ 130 w 130"/>
                <a:gd name="T17" fmla="*/ 80 h 202"/>
                <a:gd name="T18" fmla="*/ 130 w 130"/>
                <a:gd name="T19" fmla="*/ 184 h 202"/>
                <a:gd name="T20" fmla="*/ 121 w 130"/>
                <a:gd name="T21" fmla="*/ 200 h 202"/>
                <a:gd name="T22" fmla="*/ 114 w 130"/>
                <a:gd name="T23" fmla="*/ 202 h 202"/>
                <a:gd name="T24" fmla="*/ 117 w 130"/>
                <a:gd name="T25" fmla="*/ 179 h 202"/>
                <a:gd name="T26" fmla="*/ 117 w 130"/>
                <a:gd name="T27" fmla="*/ 179 h 202"/>
                <a:gd name="T28" fmla="*/ 24 w 130"/>
                <a:gd name="T29" fmla="*/ 31 h 202"/>
                <a:gd name="T30" fmla="*/ 24 w 130"/>
                <a:gd name="T31" fmla="*/ 123 h 202"/>
                <a:gd name="T32" fmla="*/ 25 w 130"/>
                <a:gd name="T33" fmla="*/ 126 h 202"/>
                <a:gd name="T34" fmla="*/ 106 w 130"/>
                <a:gd name="T35" fmla="*/ 173 h 202"/>
                <a:gd name="T36" fmla="*/ 106 w 130"/>
                <a:gd name="T37" fmla="*/ 80 h 202"/>
                <a:gd name="T38" fmla="*/ 105 w 130"/>
                <a:gd name="T39" fmla="*/ 77 h 202"/>
                <a:gd name="T40" fmla="*/ 24 w 130"/>
                <a:gd name="T41" fmla="*/ 31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0" h="202">
                  <a:moveTo>
                    <a:pt x="114" y="202"/>
                  </a:moveTo>
                  <a:cubicBezTo>
                    <a:pt x="111" y="202"/>
                    <a:pt x="108" y="201"/>
                    <a:pt x="105" y="200"/>
                  </a:cubicBezTo>
                  <a:cubicBezTo>
                    <a:pt x="13" y="146"/>
                    <a:pt x="13" y="146"/>
                    <a:pt x="13" y="146"/>
                  </a:cubicBezTo>
                  <a:cubicBezTo>
                    <a:pt x="5" y="142"/>
                    <a:pt x="0" y="133"/>
                    <a:pt x="0" y="12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2"/>
                    <a:pt x="3" y="6"/>
                    <a:pt x="8" y="3"/>
                  </a:cubicBezTo>
                  <a:cubicBezTo>
                    <a:pt x="13" y="0"/>
                    <a:pt x="19" y="0"/>
                    <a:pt x="25" y="4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125" y="61"/>
                    <a:pt x="130" y="71"/>
                    <a:pt x="130" y="80"/>
                  </a:cubicBezTo>
                  <a:cubicBezTo>
                    <a:pt x="130" y="184"/>
                    <a:pt x="130" y="184"/>
                    <a:pt x="130" y="184"/>
                  </a:cubicBezTo>
                  <a:cubicBezTo>
                    <a:pt x="130" y="191"/>
                    <a:pt x="127" y="197"/>
                    <a:pt x="121" y="200"/>
                  </a:cubicBezTo>
                  <a:cubicBezTo>
                    <a:pt x="119" y="202"/>
                    <a:pt x="116" y="202"/>
                    <a:pt x="114" y="202"/>
                  </a:cubicBezTo>
                  <a:close/>
                  <a:moveTo>
                    <a:pt x="117" y="179"/>
                  </a:moveTo>
                  <a:cubicBezTo>
                    <a:pt x="117" y="179"/>
                    <a:pt x="117" y="179"/>
                    <a:pt x="117" y="179"/>
                  </a:cubicBezTo>
                  <a:close/>
                  <a:moveTo>
                    <a:pt x="24" y="31"/>
                  </a:moveTo>
                  <a:cubicBezTo>
                    <a:pt x="24" y="123"/>
                    <a:pt x="24" y="123"/>
                    <a:pt x="24" y="123"/>
                  </a:cubicBezTo>
                  <a:cubicBezTo>
                    <a:pt x="24" y="124"/>
                    <a:pt x="25" y="125"/>
                    <a:pt x="25" y="126"/>
                  </a:cubicBezTo>
                  <a:cubicBezTo>
                    <a:pt x="106" y="173"/>
                    <a:pt x="106" y="173"/>
                    <a:pt x="106" y="173"/>
                  </a:cubicBezTo>
                  <a:cubicBezTo>
                    <a:pt x="106" y="80"/>
                    <a:pt x="106" y="80"/>
                    <a:pt x="106" y="80"/>
                  </a:cubicBezTo>
                  <a:cubicBezTo>
                    <a:pt x="106" y="79"/>
                    <a:pt x="105" y="78"/>
                    <a:pt x="105" y="77"/>
                  </a:cubicBezTo>
                  <a:lnTo>
                    <a:pt x="24" y="31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9" name="Freeform 2309">
              <a:extLst>
                <a:ext uri="{FF2B5EF4-FFF2-40B4-BE49-F238E27FC236}">
                  <a16:creationId xmlns:a16="http://schemas.microsoft.com/office/drawing/2014/main" id="{B734CBCE-9464-46A9-87F7-159D04E581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1" y="3136"/>
              <a:ext cx="370" cy="238"/>
            </a:xfrm>
            <a:custGeom>
              <a:avLst/>
              <a:gdLst>
                <a:gd name="T0" fmla="*/ 1300 w 1338"/>
                <a:gd name="T1" fmla="*/ 861 h 861"/>
                <a:gd name="T2" fmla="*/ 1276 w 1338"/>
                <a:gd name="T3" fmla="*/ 854 h 861"/>
                <a:gd name="T4" fmla="*/ 1276 w 1338"/>
                <a:gd name="T5" fmla="*/ 854 h 861"/>
                <a:gd name="T6" fmla="*/ 51 w 1338"/>
                <a:gd name="T7" fmla="*/ 146 h 861"/>
                <a:gd name="T8" fmla="*/ 0 w 1338"/>
                <a:gd name="T9" fmla="*/ 51 h 861"/>
                <a:gd name="T10" fmla="*/ 39 w 1338"/>
                <a:gd name="T11" fmla="*/ 0 h 861"/>
                <a:gd name="T12" fmla="*/ 63 w 1338"/>
                <a:gd name="T13" fmla="*/ 7 h 861"/>
                <a:gd name="T14" fmla="*/ 1288 w 1338"/>
                <a:gd name="T15" fmla="*/ 714 h 861"/>
                <a:gd name="T16" fmla="*/ 1338 w 1338"/>
                <a:gd name="T17" fmla="*/ 810 h 861"/>
                <a:gd name="T18" fmla="*/ 1300 w 1338"/>
                <a:gd name="T19" fmla="*/ 861 h 861"/>
                <a:gd name="T20" fmla="*/ 1288 w 1338"/>
                <a:gd name="T21" fmla="*/ 833 h 861"/>
                <a:gd name="T22" fmla="*/ 1300 w 1338"/>
                <a:gd name="T23" fmla="*/ 837 h 861"/>
                <a:gd name="T24" fmla="*/ 1314 w 1338"/>
                <a:gd name="T25" fmla="*/ 810 h 861"/>
                <a:gd name="T26" fmla="*/ 1276 w 1338"/>
                <a:gd name="T27" fmla="*/ 735 h 861"/>
                <a:gd name="T28" fmla="*/ 51 w 1338"/>
                <a:gd name="T29" fmla="*/ 27 h 861"/>
                <a:gd name="T30" fmla="*/ 39 w 1338"/>
                <a:gd name="T31" fmla="*/ 24 h 861"/>
                <a:gd name="T32" fmla="*/ 24 w 1338"/>
                <a:gd name="T33" fmla="*/ 51 h 861"/>
                <a:gd name="T34" fmla="*/ 63 w 1338"/>
                <a:gd name="T35" fmla="*/ 126 h 861"/>
                <a:gd name="T36" fmla="*/ 1288 w 1338"/>
                <a:gd name="T37" fmla="*/ 833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38" h="861">
                  <a:moveTo>
                    <a:pt x="1300" y="861"/>
                  </a:moveTo>
                  <a:cubicBezTo>
                    <a:pt x="1292" y="861"/>
                    <a:pt x="1284" y="858"/>
                    <a:pt x="1276" y="854"/>
                  </a:cubicBezTo>
                  <a:cubicBezTo>
                    <a:pt x="1276" y="854"/>
                    <a:pt x="1276" y="854"/>
                    <a:pt x="1276" y="854"/>
                  </a:cubicBezTo>
                  <a:cubicBezTo>
                    <a:pt x="51" y="146"/>
                    <a:pt x="51" y="146"/>
                    <a:pt x="51" y="146"/>
                  </a:cubicBezTo>
                  <a:cubicBezTo>
                    <a:pt x="22" y="130"/>
                    <a:pt x="0" y="88"/>
                    <a:pt x="0" y="51"/>
                  </a:cubicBezTo>
                  <a:cubicBezTo>
                    <a:pt x="0" y="15"/>
                    <a:pt x="19" y="0"/>
                    <a:pt x="39" y="0"/>
                  </a:cubicBezTo>
                  <a:cubicBezTo>
                    <a:pt x="47" y="0"/>
                    <a:pt x="55" y="2"/>
                    <a:pt x="63" y="7"/>
                  </a:cubicBezTo>
                  <a:cubicBezTo>
                    <a:pt x="1288" y="714"/>
                    <a:pt x="1288" y="714"/>
                    <a:pt x="1288" y="714"/>
                  </a:cubicBezTo>
                  <a:cubicBezTo>
                    <a:pt x="1316" y="730"/>
                    <a:pt x="1338" y="772"/>
                    <a:pt x="1338" y="810"/>
                  </a:cubicBezTo>
                  <a:cubicBezTo>
                    <a:pt x="1338" y="845"/>
                    <a:pt x="1319" y="861"/>
                    <a:pt x="1300" y="861"/>
                  </a:cubicBezTo>
                  <a:close/>
                  <a:moveTo>
                    <a:pt x="1288" y="833"/>
                  </a:moveTo>
                  <a:cubicBezTo>
                    <a:pt x="1292" y="835"/>
                    <a:pt x="1296" y="837"/>
                    <a:pt x="1300" y="837"/>
                  </a:cubicBezTo>
                  <a:cubicBezTo>
                    <a:pt x="1311" y="837"/>
                    <a:pt x="1314" y="822"/>
                    <a:pt x="1314" y="810"/>
                  </a:cubicBezTo>
                  <a:cubicBezTo>
                    <a:pt x="1314" y="781"/>
                    <a:pt x="1297" y="747"/>
                    <a:pt x="1276" y="735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46" y="25"/>
                    <a:pt x="42" y="24"/>
                    <a:pt x="39" y="24"/>
                  </a:cubicBezTo>
                  <a:cubicBezTo>
                    <a:pt x="28" y="24"/>
                    <a:pt x="24" y="38"/>
                    <a:pt x="24" y="51"/>
                  </a:cubicBezTo>
                  <a:cubicBezTo>
                    <a:pt x="24" y="79"/>
                    <a:pt x="42" y="114"/>
                    <a:pt x="63" y="126"/>
                  </a:cubicBezTo>
                  <a:lnTo>
                    <a:pt x="1288" y="833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0" name="Freeform 2310">
              <a:extLst>
                <a:ext uri="{FF2B5EF4-FFF2-40B4-BE49-F238E27FC236}">
                  <a16:creationId xmlns:a16="http://schemas.microsoft.com/office/drawing/2014/main" id="{125A1E23-140F-49A1-BAFB-38491EE2C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7" y="3215"/>
              <a:ext cx="231" cy="136"/>
            </a:xfrm>
            <a:custGeom>
              <a:avLst/>
              <a:gdLst>
                <a:gd name="T0" fmla="*/ 823 w 837"/>
                <a:gd name="T1" fmla="*/ 493 h 493"/>
                <a:gd name="T2" fmla="*/ 817 w 837"/>
                <a:gd name="T3" fmla="*/ 492 h 493"/>
                <a:gd name="T4" fmla="*/ 8 w 837"/>
                <a:gd name="T5" fmla="*/ 24 h 493"/>
                <a:gd name="T6" fmla="*/ 3 w 837"/>
                <a:gd name="T7" fmla="*/ 8 h 493"/>
                <a:gd name="T8" fmla="*/ 20 w 837"/>
                <a:gd name="T9" fmla="*/ 3 h 493"/>
                <a:gd name="T10" fmla="*/ 829 w 837"/>
                <a:gd name="T11" fmla="*/ 471 h 493"/>
                <a:gd name="T12" fmla="*/ 833 w 837"/>
                <a:gd name="T13" fmla="*/ 487 h 493"/>
                <a:gd name="T14" fmla="*/ 823 w 837"/>
                <a:gd name="T15" fmla="*/ 493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7" h="493">
                  <a:moveTo>
                    <a:pt x="823" y="493"/>
                  </a:moveTo>
                  <a:cubicBezTo>
                    <a:pt x="821" y="493"/>
                    <a:pt x="819" y="493"/>
                    <a:pt x="817" y="492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4"/>
                    <a:pt x="3" y="8"/>
                  </a:cubicBezTo>
                  <a:cubicBezTo>
                    <a:pt x="6" y="2"/>
                    <a:pt x="14" y="0"/>
                    <a:pt x="20" y="3"/>
                  </a:cubicBezTo>
                  <a:cubicBezTo>
                    <a:pt x="829" y="471"/>
                    <a:pt x="829" y="471"/>
                    <a:pt x="829" y="471"/>
                  </a:cubicBezTo>
                  <a:cubicBezTo>
                    <a:pt x="835" y="474"/>
                    <a:pt x="837" y="481"/>
                    <a:pt x="833" y="487"/>
                  </a:cubicBezTo>
                  <a:cubicBezTo>
                    <a:pt x="831" y="491"/>
                    <a:pt x="827" y="493"/>
                    <a:pt x="823" y="49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1" name="Freeform 2311">
              <a:extLst>
                <a:ext uri="{FF2B5EF4-FFF2-40B4-BE49-F238E27FC236}">
                  <a16:creationId xmlns:a16="http://schemas.microsoft.com/office/drawing/2014/main" id="{9C1C86A3-73D2-42B7-A892-DDF01EC5A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7" y="3245"/>
              <a:ext cx="231" cy="136"/>
            </a:xfrm>
            <a:custGeom>
              <a:avLst/>
              <a:gdLst>
                <a:gd name="T0" fmla="*/ 823 w 837"/>
                <a:gd name="T1" fmla="*/ 493 h 493"/>
                <a:gd name="T2" fmla="*/ 817 w 837"/>
                <a:gd name="T3" fmla="*/ 492 h 493"/>
                <a:gd name="T4" fmla="*/ 8 w 837"/>
                <a:gd name="T5" fmla="*/ 24 h 493"/>
                <a:gd name="T6" fmla="*/ 3 w 837"/>
                <a:gd name="T7" fmla="*/ 8 h 493"/>
                <a:gd name="T8" fmla="*/ 20 w 837"/>
                <a:gd name="T9" fmla="*/ 3 h 493"/>
                <a:gd name="T10" fmla="*/ 829 w 837"/>
                <a:gd name="T11" fmla="*/ 471 h 493"/>
                <a:gd name="T12" fmla="*/ 833 w 837"/>
                <a:gd name="T13" fmla="*/ 487 h 493"/>
                <a:gd name="T14" fmla="*/ 823 w 837"/>
                <a:gd name="T15" fmla="*/ 493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7" h="493">
                  <a:moveTo>
                    <a:pt x="823" y="493"/>
                  </a:moveTo>
                  <a:cubicBezTo>
                    <a:pt x="821" y="493"/>
                    <a:pt x="819" y="493"/>
                    <a:pt x="817" y="492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4"/>
                    <a:pt x="3" y="8"/>
                  </a:cubicBezTo>
                  <a:cubicBezTo>
                    <a:pt x="6" y="2"/>
                    <a:pt x="14" y="0"/>
                    <a:pt x="20" y="3"/>
                  </a:cubicBezTo>
                  <a:cubicBezTo>
                    <a:pt x="829" y="471"/>
                    <a:pt x="829" y="471"/>
                    <a:pt x="829" y="471"/>
                  </a:cubicBezTo>
                  <a:cubicBezTo>
                    <a:pt x="835" y="474"/>
                    <a:pt x="837" y="481"/>
                    <a:pt x="833" y="487"/>
                  </a:cubicBezTo>
                  <a:cubicBezTo>
                    <a:pt x="831" y="491"/>
                    <a:pt x="827" y="493"/>
                    <a:pt x="823" y="49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2" name="Freeform 2312">
              <a:extLst>
                <a:ext uri="{FF2B5EF4-FFF2-40B4-BE49-F238E27FC236}">
                  <a16:creationId xmlns:a16="http://schemas.microsoft.com/office/drawing/2014/main" id="{C2B9137D-4DA0-436F-A7CE-7F7892F88F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7" y="3275"/>
              <a:ext cx="231" cy="136"/>
            </a:xfrm>
            <a:custGeom>
              <a:avLst/>
              <a:gdLst>
                <a:gd name="T0" fmla="*/ 823 w 837"/>
                <a:gd name="T1" fmla="*/ 493 h 493"/>
                <a:gd name="T2" fmla="*/ 817 w 837"/>
                <a:gd name="T3" fmla="*/ 492 h 493"/>
                <a:gd name="T4" fmla="*/ 8 w 837"/>
                <a:gd name="T5" fmla="*/ 24 h 493"/>
                <a:gd name="T6" fmla="*/ 3 w 837"/>
                <a:gd name="T7" fmla="*/ 8 h 493"/>
                <a:gd name="T8" fmla="*/ 20 w 837"/>
                <a:gd name="T9" fmla="*/ 4 h 493"/>
                <a:gd name="T10" fmla="*/ 829 w 837"/>
                <a:gd name="T11" fmla="*/ 471 h 493"/>
                <a:gd name="T12" fmla="*/ 833 w 837"/>
                <a:gd name="T13" fmla="*/ 487 h 493"/>
                <a:gd name="T14" fmla="*/ 823 w 837"/>
                <a:gd name="T15" fmla="*/ 493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7" h="493">
                  <a:moveTo>
                    <a:pt x="823" y="493"/>
                  </a:moveTo>
                  <a:cubicBezTo>
                    <a:pt x="821" y="493"/>
                    <a:pt x="819" y="493"/>
                    <a:pt x="817" y="492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4"/>
                    <a:pt x="3" y="8"/>
                  </a:cubicBezTo>
                  <a:cubicBezTo>
                    <a:pt x="6" y="2"/>
                    <a:pt x="14" y="0"/>
                    <a:pt x="20" y="4"/>
                  </a:cubicBezTo>
                  <a:cubicBezTo>
                    <a:pt x="829" y="471"/>
                    <a:pt x="829" y="471"/>
                    <a:pt x="829" y="471"/>
                  </a:cubicBezTo>
                  <a:cubicBezTo>
                    <a:pt x="835" y="474"/>
                    <a:pt x="837" y="481"/>
                    <a:pt x="833" y="487"/>
                  </a:cubicBezTo>
                  <a:cubicBezTo>
                    <a:pt x="831" y="491"/>
                    <a:pt x="827" y="493"/>
                    <a:pt x="823" y="49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3" name="Freeform 2313">
              <a:extLst>
                <a:ext uri="{FF2B5EF4-FFF2-40B4-BE49-F238E27FC236}">
                  <a16:creationId xmlns:a16="http://schemas.microsoft.com/office/drawing/2014/main" id="{83B4A7AB-5915-4805-9367-B3B3943B0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7" y="3305"/>
              <a:ext cx="231" cy="137"/>
            </a:xfrm>
            <a:custGeom>
              <a:avLst/>
              <a:gdLst>
                <a:gd name="T0" fmla="*/ 823 w 837"/>
                <a:gd name="T1" fmla="*/ 493 h 493"/>
                <a:gd name="T2" fmla="*/ 817 w 837"/>
                <a:gd name="T3" fmla="*/ 492 h 493"/>
                <a:gd name="T4" fmla="*/ 8 w 837"/>
                <a:gd name="T5" fmla="*/ 24 h 493"/>
                <a:gd name="T6" fmla="*/ 3 w 837"/>
                <a:gd name="T7" fmla="*/ 8 h 493"/>
                <a:gd name="T8" fmla="*/ 20 w 837"/>
                <a:gd name="T9" fmla="*/ 4 h 493"/>
                <a:gd name="T10" fmla="*/ 829 w 837"/>
                <a:gd name="T11" fmla="*/ 471 h 493"/>
                <a:gd name="T12" fmla="*/ 833 w 837"/>
                <a:gd name="T13" fmla="*/ 487 h 493"/>
                <a:gd name="T14" fmla="*/ 823 w 837"/>
                <a:gd name="T15" fmla="*/ 493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7" h="493">
                  <a:moveTo>
                    <a:pt x="823" y="493"/>
                  </a:moveTo>
                  <a:cubicBezTo>
                    <a:pt x="821" y="493"/>
                    <a:pt x="819" y="493"/>
                    <a:pt x="817" y="492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4"/>
                    <a:pt x="3" y="8"/>
                  </a:cubicBezTo>
                  <a:cubicBezTo>
                    <a:pt x="6" y="2"/>
                    <a:pt x="14" y="0"/>
                    <a:pt x="20" y="4"/>
                  </a:cubicBezTo>
                  <a:cubicBezTo>
                    <a:pt x="829" y="471"/>
                    <a:pt x="829" y="471"/>
                    <a:pt x="829" y="471"/>
                  </a:cubicBezTo>
                  <a:cubicBezTo>
                    <a:pt x="835" y="474"/>
                    <a:pt x="837" y="482"/>
                    <a:pt x="833" y="487"/>
                  </a:cubicBezTo>
                  <a:cubicBezTo>
                    <a:pt x="831" y="491"/>
                    <a:pt x="827" y="493"/>
                    <a:pt x="823" y="49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4" name="Freeform 2314">
              <a:extLst>
                <a:ext uri="{FF2B5EF4-FFF2-40B4-BE49-F238E27FC236}">
                  <a16:creationId xmlns:a16="http://schemas.microsoft.com/office/drawing/2014/main" id="{AF927B65-EB73-4DCE-AB0D-33FA104155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3" y="3363"/>
              <a:ext cx="96" cy="58"/>
            </a:xfrm>
            <a:custGeom>
              <a:avLst/>
              <a:gdLst>
                <a:gd name="T0" fmla="*/ 331 w 345"/>
                <a:gd name="T1" fmla="*/ 209 h 209"/>
                <a:gd name="T2" fmla="*/ 325 w 345"/>
                <a:gd name="T3" fmla="*/ 207 h 209"/>
                <a:gd name="T4" fmla="*/ 8 w 345"/>
                <a:gd name="T5" fmla="*/ 24 h 209"/>
                <a:gd name="T6" fmla="*/ 3 w 345"/>
                <a:gd name="T7" fmla="*/ 8 h 209"/>
                <a:gd name="T8" fmla="*/ 20 w 345"/>
                <a:gd name="T9" fmla="*/ 3 h 209"/>
                <a:gd name="T10" fmla="*/ 337 w 345"/>
                <a:gd name="T11" fmla="*/ 187 h 209"/>
                <a:gd name="T12" fmla="*/ 341 w 345"/>
                <a:gd name="T13" fmla="*/ 203 h 209"/>
                <a:gd name="T14" fmla="*/ 331 w 345"/>
                <a:gd name="T1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5" h="209">
                  <a:moveTo>
                    <a:pt x="331" y="209"/>
                  </a:moveTo>
                  <a:cubicBezTo>
                    <a:pt x="329" y="209"/>
                    <a:pt x="327" y="209"/>
                    <a:pt x="325" y="207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4"/>
                    <a:pt x="3" y="8"/>
                  </a:cubicBezTo>
                  <a:cubicBezTo>
                    <a:pt x="6" y="2"/>
                    <a:pt x="14" y="0"/>
                    <a:pt x="20" y="3"/>
                  </a:cubicBezTo>
                  <a:cubicBezTo>
                    <a:pt x="337" y="187"/>
                    <a:pt x="337" y="187"/>
                    <a:pt x="337" y="187"/>
                  </a:cubicBezTo>
                  <a:cubicBezTo>
                    <a:pt x="343" y="190"/>
                    <a:pt x="345" y="197"/>
                    <a:pt x="341" y="203"/>
                  </a:cubicBezTo>
                  <a:cubicBezTo>
                    <a:pt x="339" y="207"/>
                    <a:pt x="335" y="209"/>
                    <a:pt x="331" y="20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5" name="Freeform 2315">
              <a:extLst>
                <a:ext uri="{FF2B5EF4-FFF2-40B4-BE49-F238E27FC236}">
                  <a16:creationId xmlns:a16="http://schemas.microsoft.com/office/drawing/2014/main" id="{2DEB6ED7-B85F-4922-8BF6-FC77C69B07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3" y="3393"/>
              <a:ext cx="96" cy="58"/>
            </a:xfrm>
            <a:custGeom>
              <a:avLst/>
              <a:gdLst>
                <a:gd name="T0" fmla="*/ 331 w 345"/>
                <a:gd name="T1" fmla="*/ 209 h 209"/>
                <a:gd name="T2" fmla="*/ 325 w 345"/>
                <a:gd name="T3" fmla="*/ 207 h 209"/>
                <a:gd name="T4" fmla="*/ 8 w 345"/>
                <a:gd name="T5" fmla="*/ 24 h 209"/>
                <a:gd name="T6" fmla="*/ 3 w 345"/>
                <a:gd name="T7" fmla="*/ 8 h 209"/>
                <a:gd name="T8" fmla="*/ 20 w 345"/>
                <a:gd name="T9" fmla="*/ 3 h 209"/>
                <a:gd name="T10" fmla="*/ 337 w 345"/>
                <a:gd name="T11" fmla="*/ 187 h 209"/>
                <a:gd name="T12" fmla="*/ 341 w 345"/>
                <a:gd name="T13" fmla="*/ 203 h 209"/>
                <a:gd name="T14" fmla="*/ 331 w 345"/>
                <a:gd name="T1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5" h="209">
                  <a:moveTo>
                    <a:pt x="331" y="209"/>
                  </a:moveTo>
                  <a:cubicBezTo>
                    <a:pt x="329" y="209"/>
                    <a:pt x="327" y="209"/>
                    <a:pt x="325" y="207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4"/>
                    <a:pt x="3" y="8"/>
                  </a:cubicBezTo>
                  <a:cubicBezTo>
                    <a:pt x="6" y="2"/>
                    <a:pt x="14" y="0"/>
                    <a:pt x="20" y="3"/>
                  </a:cubicBezTo>
                  <a:cubicBezTo>
                    <a:pt x="337" y="187"/>
                    <a:pt x="337" y="187"/>
                    <a:pt x="337" y="187"/>
                  </a:cubicBezTo>
                  <a:cubicBezTo>
                    <a:pt x="343" y="190"/>
                    <a:pt x="345" y="197"/>
                    <a:pt x="341" y="203"/>
                  </a:cubicBezTo>
                  <a:cubicBezTo>
                    <a:pt x="339" y="207"/>
                    <a:pt x="335" y="209"/>
                    <a:pt x="331" y="20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6" name="Freeform 2316">
              <a:extLst>
                <a:ext uri="{FF2B5EF4-FFF2-40B4-BE49-F238E27FC236}">
                  <a16:creationId xmlns:a16="http://schemas.microsoft.com/office/drawing/2014/main" id="{E482A39C-60F9-4DD8-B5F0-2BB97F408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3" y="3424"/>
              <a:ext cx="96" cy="57"/>
            </a:xfrm>
            <a:custGeom>
              <a:avLst/>
              <a:gdLst>
                <a:gd name="T0" fmla="*/ 331 w 345"/>
                <a:gd name="T1" fmla="*/ 209 h 209"/>
                <a:gd name="T2" fmla="*/ 325 w 345"/>
                <a:gd name="T3" fmla="*/ 208 h 209"/>
                <a:gd name="T4" fmla="*/ 8 w 345"/>
                <a:gd name="T5" fmla="*/ 24 h 209"/>
                <a:gd name="T6" fmla="*/ 3 w 345"/>
                <a:gd name="T7" fmla="*/ 8 h 209"/>
                <a:gd name="T8" fmla="*/ 20 w 345"/>
                <a:gd name="T9" fmla="*/ 3 h 209"/>
                <a:gd name="T10" fmla="*/ 337 w 345"/>
                <a:gd name="T11" fmla="*/ 187 h 209"/>
                <a:gd name="T12" fmla="*/ 341 w 345"/>
                <a:gd name="T13" fmla="*/ 203 h 209"/>
                <a:gd name="T14" fmla="*/ 331 w 345"/>
                <a:gd name="T1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5" h="209">
                  <a:moveTo>
                    <a:pt x="331" y="209"/>
                  </a:moveTo>
                  <a:cubicBezTo>
                    <a:pt x="329" y="209"/>
                    <a:pt x="327" y="209"/>
                    <a:pt x="325" y="208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4"/>
                    <a:pt x="3" y="8"/>
                  </a:cubicBezTo>
                  <a:cubicBezTo>
                    <a:pt x="6" y="2"/>
                    <a:pt x="14" y="0"/>
                    <a:pt x="20" y="3"/>
                  </a:cubicBezTo>
                  <a:cubicBezTo>
                    <a:pt x="337" y="187"/>
                    <a:pt x="337" y="187"/>
                    <a:pt x="337" y="187"/>
                  </a:cubicBezTo>
                  <a:cubicBezTo>
                    <a:pt x="343" y="190"/>
                    <a:pt x="345" y="197"/>
                    <a:pt x="341" y="203"/>
                  </a:cubicBezTo>
                  <a:cubicBezTo>
                    <a:pt x="339" y="207"/>
                    <a:pt x="335" y="209"/>
                    <a:pt x="331" y="20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7" name="Freeform 2317">
              <a:extLst>
                <a:ext uri="{FF2B5EF4-FFF2-40B4-BE49-F238E27FC236}">
                  <a16:creationId xmlns:a16="http://schemas.microsoft.com/office/drawing/2014/main" id="{7A0E438F-BAFF-4F2C-B99E-0663C6E88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3" y="3454"/>
              <a:ext cx="96" cy="57"/>
            </a:xfrm>
            <a:custGeom>
              <a:avLst/>
              <a:gdLst>
                <a:gd name="T0" fmla="*/ 331 w 345"/>
                <a:gd name="T1" fmla="*/ 209 h 209"/>
                <a:gd name="T2" fmla="*/ 325 w 345"/>
                <a:gd name="T3" fmla="*/ 208 h 209"/>
                <a:gd name="T4" fmla="*/ 8 w 345"/>
                <a:gd name="T5" fmla="*/ 24 h 209"/>
                <a:gd name="T6" fmla="*/ 3 w 345"/>
                <a:gd name="T7" fmla="*/ 8 h 209"/>
                <a:gd name="T8" fmla="*/ 20 w 345"/>
                <a:gd name="T9" fmla="*/ 4 h 209"/>
                <a:gd name="T10" fmla="*/ 337 w 345"/>
                <a:gd name="T11" fmla="*/ 187 h 209"/>
                <a:gd name="T12" fmla="*/ 341 w 345"/>
                <a:gd name="T13" fmla="*/ 203 h 209"/>
                <a:gd name="T14" fmla="*/ 331 w 345"/>
                <a:gd name="T1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5" h="209">
                  <a:moveTo>
                    <a:pt x="331" y="209"/>
                  </a:moveTo>
                  <a:cubicBezTo>
                    <a:pt x="329" y="209"/>
                    <a:pt x="327" y="209"/>
                    <a:pt x="325" y="208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4"/>
                    <a:pt x="3" y="8"/>
                  </a:cubicBezTo>
                  <a:cubicBezTo>
                    <a:pt x="6" y="2"/>
                    <a:pt x="14" y="0"/>
                    <a:pt x="20" y="4"/>
                  </a:cubicBezTo>
                  <a:cubicBezTo>
                    <a:pt x="337" y="187"/>
                    <a:pt x="337" y="187"/>
                    <a:pt x="337" y="187"/>
                  </a:cubicBezTo>
                  <a:cubicBezTo>
                    <a:pt x="343" y="190"/>
                    <a:pt x="345" y="198"/>
                    <a:pt x="341" y="203"/>
                  </a:cubicBezTo>
                  <a:cubicBezTo>
                    <a:pt x="339" y="207"/>
                    <a:pt x="335" y="209"/>
                    <a:pt x="331" y="20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8" name="Freeform 2318">
              <a:extLst>
                <a:ext uri="{FF2B5EF4-FFF2-40B4-BE49-F238E27FC236}">
                  <a16:creationId xmlns:a16="http://schemas.microsoft.com/office/drawing/2014/main" id="{3213970E-ED85-4047-B904-E56C09670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5" y="3306"/>
              <a:ext cx="150" cy="88"/>
            </a:xfrm>
            <a:custGeom>
              <a:avLst/>
              <a:gdLst>
                <a:gd name="T0" fmla="*/ 526 w 540"/>
                <a:gd name="T1" fmla="*/ 321 h 321"/>
                <a:gd name="T2" fmla="*/ 520 w 540"/>
                <a:gd name="T3" fmla="*/ 320 h 321"/>
                <a:gd name="T4" fmla="*/ 8 w 540"/>
                <a:gd name="T5" fmla="*/ 24 h 321"/>
                <a:gd name="T6" fmla="*/ 3 w 540"/>
                <a:gd name="T7" fmla="*/ 8 h 321"/>
                <a:gd name="T8" fmla="*/ 20 w 540"/>
                <a:gd name="T9" fmla="*/ 3 h 321"/>
                <a:gd name="T10" fmla="*/ 532 w 540"/>
                <a:gd name="T11" fmla="*/ 299 h 321"/>
                <a:gd name="T12" fmla="*/ 536 w 540"/>
                <a:gd name="T13" fmla="*/ 315 h 321"/>
                <a:gd name="T14" fmla="*/ 526 w 540"/>
                <a:gd name="T15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0" h="321">
                  <a:moveTo>
                    <a:pt x="526" y="321"/>
                  </a:moveTo>
                  <a:cubicBezTo>
                    <a:pt x="524" y="321"/>
                    <a:pt x="522" y="321"/>
                    <a:pt x="520" y="320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3"/>
                    <a:pt x="3" y="8"/>
                  </a:cubicBezTo>
                  <a:cubicBezTo>
                    <a:pt x="6" y="2"/>
                    <a:pt x="14" y="0"/>
                    <a:pt x="20" y="3"/>
                  </a:cubicBezTo>
                  <a:cubicBezTo>
                    <a:pt x="532" y="299"/>
                    <a:pt x="532" y="299"/>
                    <a:pt x="532" y="299"/>
                  </a:cubicBezTo>
                  <a:cubicBezTo>
                    <a:pt x="538" y="302"/>
                    <a:pt x="540" y="310"/>
                    <a:pt x="536" y="315"/>
                  </a:cubicBezTo>
                  <a:cubicBezTo>
                    <a:pt x="534" y="319"/>
                    <a:pt x="530" y="321"/>
                    <a:pt x="526" y="32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9" name="Freeform 2319">
              <a:extLst>
                <a:ext uri="{FF2B5EF4-FFF2-40B4-BE49-F238E27FC236}">
                  <a16:creationId xmlns:a16="http://schemas.microsoft.com/office/drawing/2014/main" id="{2D272278-ED45-4FF0-9D06-2869FE2FD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5" y="3336"/>
              <a:ext cx="150" cy="88"/>
            </a:xfrm>
            <a:custGeom>
              <a:avLst/>
              <a:gdLst>
                <a:gd name="T0" fmla="*/ 526 w 540"/>
                <a:gd name="T1" fmla="*/ 321 h 321"/>
                <a:gd name="T2" fmla="*/ 520 w 540"/>
                <a:gd name="T3" fmla="*/ 320 h 321"/>
                <a:gd name="T4" fmla="*/ 8 w 540"/>
                <a:gd name="T5" fmla="*/ 24 h 321"/>
                <a:gd name="T6" fmla="*/ 3 w 540"/>
                <a:gd name="T7" fmla="*/ 8 h 321"/>
                <a:gd name="T8" fmla="*/ 20 w 540"/>
                <a:gd name="T9" fmla="*/ 3 h 321"/>
                <a:gd name="T10" fmla="*/ 532 w 540"/>
                <a:gd name="T11" fmla="*/ 299 h 321"/>
                <a:gd name="T12" fmla="*/ 536 w 540"/>
                <a:gd name="T13" fmla="*/ 315 h 321"/>
                <a:gd name="T14" fmla="*/ 526 w 540"/>
                <a:gd name="T15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0" h="321">
                  <a:moveTo>
                    <a:pt x="526" y="321"/>
                  </a:moveTo>
                  <a:cubicBezTo>
                    <a:pt x="524" y="321"/>
                    <a:pt x="522" y="321"/>
                    <a:pt x="520" y="320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3"/>
                    <a:pt x="3" y="8"/>
                  </a:cubicBezTo>
                  <a:cubicBezTo>
                    <a:pt x="6" y="2"/>
                    <a:pt x="14" y="0"/>
                    <a:pt x="20" y="3"/>
                  </a:cubicBezTo>
                  <a:cubicBezTo>
                    <a:pt x="532" y="299"/>
                    <a:pt x="532" y="299"/>
                    <a:pt x="532" y="299"/>
                  </a:cubicBezTo>
                  <a:cubicBezTo>
                    <a:pt x="538" y="302"/>
                    <a:pt x="540" y="310"/>
                    <a:pt x="536" y="315"/>
                  </a:cubicBezTo>
                  <a:cubicBezTo>
                    <a:pt x="534" y="319"/>
                    <a:pt x="530" y="321"/>
                    <a:pt x="526" y="32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0" name="Freeform 2320">
              <a:extLst>
                <a:ext uri="{FF2B5EF4-FFF2-40B4-BE49-F238E27FC236}">
                  <a16:creationId xmlns:a16="http://schemas.microsoft.com/office/drawing/2014/main" id="{5F673AB9-19E2-4D26-9C2B-B48F03C13F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1" y="3416"/>
              <a:ext cx="370" cy="244"/>
            </a:xfrm>
            <a:custGeom>
              <a:avLst/>
              <a:gdLst>
                <a:gd name="T0" fmla="*/ 1327 w 1340"/>
                <a:gd name="T1" fmla="*/ 886 h 886"/>
                <a:gd name="T2" fmla="*/ 1321 w 1340"/>
                <a:gd name="T3" fmla="*/ 884 h 886"/>
                <a:gd name="T4" fmla="*/ 7 w 1340"/>
                <a:gd name="T5" fmla="*/ 125 h 886"/>
                <a:gd name="T6" fmla="*/ 1 w 1340"/>
                <a:gd name="T7" fmla="*/ 117 h 886"/>
                <a:gd name="T8" fmla="*/ 4 w 1340"/>
                <a:gd name="T9" fmla="*/ 107 h 886"/>
                <a:gd name="T10" fmla="*/ 249 w 1340"/>
                <a:gd name="T11" fmla="*/ 69 h 886"/>
                <a:gd name="T12" fmla="*/ 343 w 1340"/>
                <a:gd name="T13" fmla="*/ 149 h 886"/>
                <a:gd name="T14" fmla="*/ 412 w 1340"/>
                <a:gd name="T15" fmla="*/ 210 h 886"/>
                <a:gd name="T16" fmla="*/ 479 w 1340"/>
                <a:gd name="T17" fmla="*/ 209 h 886"/>
                <a:gd name="T18" fmla="*/ 568 w 1340"/>
                <a:gd name="T19" fmla="*/ 207 h 886"/>
                <a:gd name="T20" fmla="*/ 570 w 1340"/>
                <a:gd name="T21" fmla="*/ 208 h 886"/>
                <a:gd name="T22" fmla="*/ 634 w 1340"/>
                <a:gd name="T23" fmla="*/ 267 h 886"/>
                <a:gd name="T24" fmla="*/ 693 w 1340"/>
                <a:gd name="T25" fmla="*/ 322 h 886"/>
                <a:gd name="T26" fmla="*/ 827 w 1340"/>
                <a:gd name="T27" fmla="*/ 306 h 886"/>
                <a:gd name="T28" fmla="*/ 1000 w 1340"/>
                <a:gd name="T29" fmla="*/ 293 h 886"/>
                <a:gd name="T30" fmla="*/ 1339 w 1340"/>
                <a:gd name="T31" fmla="*/ 870 h 886"/>
                <a:gd name="T32" fmla="*/ 1335 w 1340"/>
                <a:gd name="T33" fmla="*/ 883 h 886"/>
                <a:gd name="T34" fmla="*/ 1327 w 1340"/>
                <a:gd name="T35" fmla="*/ 886 h 886"/>
                <a:gd name="T36" fmla="*/ 32 w 1340"/>
                <a:gd name="T37" fmla="*/ 112 h 886"/>
                <a:gd name="T38" fmla="*/ 1306 w 1340"/>
                <a:gd name="T39" fmla="*/ 848 h 886"/>
                <a:gd name="T40" fmla="*/ 988 w 1340"/>
                <a:gd name="T41" fmla="*/ 314 h 886"/>
                <a:gd name="T42" fmla="*/ 838 w 1340"/>
                <a:gd name="T43" fmla="*/ 328 h 886"/>
                <a:gd name="T44" fmla="*/ 681 w 1340"/>
                <a:gd name="T45" fmla="*/ 342 h 886"/>
                <a:gd name="T46" fmla="*/ 616 w 1340"/>
                <a:gd name="T47" fmla="*/ 283 h 886"/>
                <a:gd name="T48" fmla="*/ 558 w 1340"/>
                <a:gd name="T49" fmla="*/ 228 h 886"/>
                <a:gd name="T50" fmla="*/ 558 w 1340"/>
                <a:gd name="T51" fmla="*/ 229 h 886"/>
                <a:gd name="T52" fmla="*/ 557 w 1340"/>
                <a:gd name="T53" fmla="*/ 228 h 886"/>
                <a:gd name="T54" fmla="*/ 490 w 1340"/>
                <a:gd name="T55" fmla="*/ 230 h 886"/>
                <a:gd name="T56" fmla="*/ 400 w 1340"/>
                <a:gd name="T57" fmla="*/ 231 h 886"/>
                <a:gd name="T58" fmla="*/ 325 w 1340"/>
                <a:gd name="T59" fmla="*/ 166 h 886"/>
                <a:gd name="T60" fmla="*/ 237 w 1340"/>
                <a:gd name="T61" fmla="*/ 90 h 886"/>
                <a:gd name="T62" fmla="*/ 32 w 1340"/>
                <a:gd name="T63" fmla="*/ 11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40" h="886">
                  <a:moveTo>
                    <a:pt x="1327" y="886"/>
                  </a:moveTo>
                  <a:cubicBezTo>
                    <a:pt x="1325" y="886"/>
                    <a:pt x="1323" y="886"/>
                    <a:pt x="1321" y="884"/>
                  </a:cubicBezTo>
                  <a:cubicBezTo>
                    <a:pt x="7" y="125"/>
                    <a:pt x="7" y="125"/>
                    <a:pt x="7" y="125"/>
                  </a:cubicBezTo>
                  <a:cubicBezTo>
                    <a:pt x="4" y="124"/>
                    <a:pt x="2" y="121"/>
                    <a:pt x="1" y="117"/>
                  </a:cubicBezTo>
                  <a:cubicBezTo>
                    <a:pt x="0" y="113"/>
                    <a:pt x="2" y="110"/>
                    <a:pt x="4" y="107"/>
                  </a:cubicBezTo>
                  <a:cubicBezTo>
                    <a:pt x="57" y="49"/>
                    <a:pt x="128" y="0"/>
                    <a:pt x="249" y="69"/>
                  </a:cubicBezTo>
                  <a:cubicBezTo>
                    <a:pt x="289" y="92"/>
                    <a:pt x="316" y="121"/>
                    <a:pt x="343" y="149"/>
                  </a:cubicBezTo>
                  <a:cubicBezTo>
                    <a:pt x="365" y="173"/>
                    <a:pt x="386" y="195"/>
                    <a:pt x="412" y="210"/>
                  </a:cubicBezTo>
                  <a:cubicBezTo>
                    <a:pt x="443" y="228"/>
                    <a:pt x="459" y="220"/>
                    <a:pt x="479" y="209"/>
                  </a:cubicBezTo>
                  <a:cubicBezTo>
                    <a:pt x="500" y="198"/>
                    <a:pt x="527" y="184"/>
                    <a:pt x="568" y="207"/>
                  </a:cubicBezTo>
                  <a:cubicBezTo>
                    <a:pt x="569" y="207"/>
                    <a:pt x="569" y="207"/>
                    <a:pt x="570" y="208"/>
                  </a:cubicBezTo>
                  <a:cubicBezTo>
                    <a:pt x="595" y="222"/>
                    <a:pt x="615" y="245"/>
                    <a:pt x="634" y="267"/>
                  </a:cubicBezTo>
                  <a:cubicBezTo>
                    <a:pt x="653" y="289"/>
                    <a:pt x="671" y="309"/>
                    <a:pt x="693" y="322"/>
                  </a:cubicBezTo>
                  <a:cubicBezTo>
                    <a:pt x="742" y="350"/>
                    <a:pt x="782" y="330"/>
                    <a:pt x="827" y="306"/>
                  </a:cubicBezTo>
                  <a:cubicBezTo>
                    <a:pt x="876" y="281"/>
                    <a:pt x="931" y="253"/>
                    <a:pt x="1000" y="293"/>
                  </a:cubicBezTo>
                  <a:cubicBezTo>
                    <a:pt x="1167" y="389"/>
                    <a:pt x="1302" y="759"/>
                    <a:pt x="1339" y="870"/>
                  </a:cubicBezTo>
                  <a:cubicBezTo>
                    <a:pt x="1340" y="875"/>
                    <a:pt x="1339" y="880"/>
                    <a:pt x="1335" y="883"/>
                  </a:cubicBezTo>
                  <a:cubicBezTo>
                    <a:pt x="1333" y="885"/>
                    <a:pt x="1330" y="886"/>
                    <a:pt x="1327" y="886"/>
                  </a:cubicBezTo>
                  <a:close/>
                  <a:moveTo>
                    <a:pt x="32" y="112"/>
                  </a:moveTo>
                  <a:cubicBezTo>
                    <a:pt x="1306" y="848"/>
                    <a:pt x="1306" y="848"/>
                    <a:pt x="1306" y="848"/>
                  </a:cubicBezTo>
                  <a:cubicBezTo>
                    <a:pt x="1230" y="630"/>
                    <a:pt x="1110" y="384"/>
                    <a:pt x="988" y="314"/>
                  </a:cubicBezTo>
                  <a:cubicBezTo>
                    <a:pt x="931" y="280"/>
                    <a:pt x="886" y="303"/>
                    <a:pt x="838" y="328"/>
                  </a:cubicBezTo>
                  <a:cubicBezTo>
                    <a:pt x="791" y="352"/>
                    <a:pt x="741" y="377"/>
                    <a:pt x="681" y="342"/>
                  </a:cubicBezTo>
                  <a:cubicBezTo>
                    <a:pt x="655" y="328"/>
                    <a:pt x="635" y="305"/>
                    <a:pt x="616" y="283"/>
                  </a:cubicBezTo>
                  <a:cubicBezTo>
                    <a:pt x="597" y="261"/>
                    <a:pt x="580" y="241"/>
                    <a:pt x="558" y="228"/>
                  </a:cubicBezTo>
                  <a:cubicBezTo>
                    <a:pt x="557" y="228"/>
                    <a:pt x="558" y="228"/>
                    <a:pt x="558" y="229"/>
                  </a:cubicBezTo>
                  <a:cubicBezTo>
                    <a:pt x="558" y="228"/>
                    <a:pt x="557" y="228"/>
                    <a:pt x="557" y="228"/>
                  </a:cubicBezTo>
                  <a:cubicBezTo>
                    <a:pt x="527" y="211"/>
                    <a:pt x="511" y="219"/>
                    <a:pt x="490" y="230"/>
                  </a:cubicBezTo>
                  <a:cubicBezTo>
                    <a:pt x="469" y="241"/>
                    <a:pt x="442" y="256"/>
                    <a:pt x="400" y="231"/>
                  </a:cubicBezTo>
                  <a:cubicBezTo>
                    <a:pt x="371" y="214"/>
                    <a:pt x="348" y="191"/>
                    <a:pt x="325" y="166"/>
                  </a:cubicBezTo>
                  <a:cubicBezTo>
                    <a:pt x="300" y="139"/>
                    <a:pt x="274" y="112"/>
                    <a:pt x="237" y="90"/>
                  </a:cubicBezTo>
                  <a:cubicBezTo>
                    <a:pt x="138" y="33"/>
                    <a:pt x="79" y="65"/>
                    <a:pt x="32" y="11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1" name="Freeform 2321">
              <a:extLst>
                <a:ext uri="{FF2B5EF4-FFF2-40B4-BE49-F238E27FC236}">
                  <a16:creationId xmlns:a16="http://schemas.microsoft.com/office/drawing/2014/main" id="{C482DA59-50C3-44CF-A8B8-06B344D27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" y="2927"/>
              <a:ext cx="24" cy="35"/>
            </a:xfrm>
            <a:custGeom>
              <a:avLst/>
              <a:gdLst>
                <a:gd name="T0" fmla="*/ 43 w 86"/>
                <a:gd name="T1" fmla="*/ 13 h 126"/>
                <a:gd name="T2" fmla="*/ 86 w 86"/>
                <a:gd name="T3" fmla="*/ 88 h 126"/>
                <a:gd name="T4" fmla="*/ 43 w 86"/>
                <a:gd name="T5" fmla="*/ 112 h 126"/>
                <a:gd name="T6" fmla="*/ 0 w 86"/>
                <a:gd name="T7" fmla="*/ 38 h 126"/>
                <a:gd name="T8" fmla="*/ 43 w 86"/>
                <a:gd name="T9" fmla="*/ 1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126">
                  <a:moveTo>
                    <a:pt x="43" y="13"/>
                  </a:moveTo>
                  <a:cubicBezTo>
                    <a:pt x="67" y="27"/>
                    <a:pt x="86" y="60"/>
                    <a:pt x="86" y="88"/>
                  </a:cubicBezTo>
                  <a:cubicBezTo>
                    <a:pt x="86" y="115"/>
                    <a:pt x="67" y="126"/>
                    <a:pt x="43" y="112"/>
                  </a:cubicBezTo>
                  <a:cubicBezTo>
                    <a:pt x="20" y="99"/>
                    <a:pt x="0" y="66"/>
                    <a:pt x="0" y="38"/>
                  </a:cubicBezTo>
                  <a:cubicBezTo>
                    <a:pt x="0" y="11"/>
                    <a:pt x="20" y="0"/>
                    <a:pt x="43" y="13"/>
                  </a:cubicBezTo>
                  <a:close/>
                </a:path>
              </a:pathLst>
            </a:custGeom>
            <a:solidFill>
              <a:srgbClr val="DAE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2" name="Freeform 2322">
              <a:extLst>
                <a:ext uri="{FF2B5EF4-FFF2-40B4-BE49-F238E27FC236}">
                  <a16:creationId xmlns:a16="http://schemas.microsoft.com/office/drawing/2014/main" id="{F8B01E2B-5C5A-44A6-99BA-E9ED768F5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8" y="2903"/>
              <a:ext cx="24" cy="35"/>
            </a:xfrm>
            <a:custGeom>
              <a:avLst/>
              <a:gdLst>
                <a:gd name="T0" fmla="*/ 43 w 86"/>
                <a:gd name="T1" fmla="*/ 14 h 127"/>
                <a:gd name="T2" fmla="*/ 86 w 86"/>
                <a:gd name="T3" fmla="*/ 88 h 127"/>
                <a:gd name="T4" fmla="*/ 43 w 86"/>
                <a:gd name="T5" fmla="*/ 113 h 127"/>
                <a:gd name="T6" fmla="*/ 0 w 86"/>
                <a:gd name="T7" fmla="*/ 38 h 127"/>
                <a:gd name="T8" fmla="*/ 43 w 86"/>
                <a:gd name="T9" fmla="*/ 1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127">
                  <a:moveTo>
                    <a:pt x="43" y="14"/>
                  </a:moveTo>
                  <a:cubicBezTo>
                    <a:pt x="67" y="27"/>
                    <a:pt x="86" y="61"/>
                    <a:pt x="86" y="88"/>
                  </a:cubicBezTo>
                  <a:cubicBezTo>
                    <a:pt x="86" y="115"/>
                    <a:pt x="67" y="127"/>
                    <a:pt x="43" y="113"/>
                  </a:cubicBezTo>
                  <a:cubicBezTo>
                    <a:pt x="20" y="99"/>
                    <a:pt x="0" y="66"/>
                    <a:pt x="0" y="38"/>
                  </a:cubicBezTo>
                  <a:cubicBezTo>
                    <a:pt x="0" y="11"/>
                    <a:pt x="20" y="0"/>
                    <a:pt x="43" y="1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3" name="Freeform 2323">
              <a:extLst>
                <a:ext uri="{FF2B5EF4-FFF2-40B4-BE49-F238E27FC236}">
                  <a16:creationId xmlns:a16="http://schemas.microsoft.com/office/drawing/2014/main" id="{0C6BE902-AA52-4223-A6A6-64AD67495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" y="2879"/>
              <a:ext cx="24" cy="35"/>
            </a:xfrm>
            <a:custGeom>
              <a:avLst/>
              <a:gdLst>
                <a:gd name="T0" fmla="*/ 44 w 86"/>
                <a:gd name="T1" fmla="*/ 14 h 127"/>
                <a:gd name="T2" fmla="*/ 86 w 86"/>
                <a:gd name="T3" fmla="*/ 88 h 127"/>
                <a:gd name="T4" fmla="*/ 44 w 86"/>
                <a:gd name="T5" fmla="*/ 113 h 127"/>
                <a:gd name="T6" fmla="*/ 0 w 86"/>
                <a:gd name="T7" fmla="*/ 39 h 127"/>
                <a:gd name="T8" fmla="*/ 44 w 86"/>
                <a:gd name="T9" fmla="*/ 1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127">
                  <a:moveTo>
                    <a:pt x="44" y="14"/>
                  </a:moveTo>
                  <a:cubicBezTo>
                    <a:pt x="67" y="28"/>
                    <a:pt x="86" y="61"/>
                    <a:pt x="86" y="88"/>
                  </a:cubicBezTo>
                  <a:cubicBezTo>
                    <a:pt x="86" y="116"/>
                    <a:pt x="67" y="127"/>
                    <a:pt x="44" y="113"/>
                  </a:cubicBezTo>
                  <a:cubicBezTo>
                    <a:pt x="20" y="99"/>
                    <a:pt x="0" y="66"/>
                    <a:pt x="0" y="39"/>
                  </a:cubicBezTo>
                  <a:cubicBezTo>
                    <a:pt x="0" y="11"/>
                    <a:pt x="20" y="0"/>
                    <a:pt x="44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4" name="Freeform 2324">
              <a:extLst>
                <a:ext uri="{FF2B5EF4-FFF2-40B4-BE49-F238E27FC236}">
                  <a16:creationId xmlns:a16="http://schemas.microsoft.com/office/drawing/2014/main" id="{7B66F1A8-DB7D-4108-A496-AA0630538A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1" y="3663"/>
              <a:ext cx="89" cy="278"/>
            </a:xfrm>
            <a:custGeom>
              <a:avLst/>
              <a:gdLst>
                <a:gd name="T0" fmla="*/ 319 w 319"/>
                <a:gd name="T1" fmla="*/ 0 h 1005"/>
                <a:gd name="T2" fmla="*/ 311 w 319"/>
                <a:gd name="T3" fmla="*/ 565 h 1005"/>
                <a:gd name="T4" fmla="*/ 159 w 319"/>
                <a:gd name="T5" fmla="*/ 913 h 1005"/>
                <a:gd name="T6" fmla="*/ 0 w 319"/>
                <a:gd name="T7" fmla="*/ 1005 h 1005"/>
                <a:gd name="T8" fmla="*/ 145 w 319"/>
                <a:gd name="T9" fmla="*/ 660 h 1005"/>
                <a:gd name="T10" fmla="*/ 154 w 319"/>
                <a:gd name="T11" fmla="*/ 96 h 1005"/>
                <a:gd name="T12" fmla="*/ 319 w 319"/>
                <a:gd name="T13" fmla="*/ 0 h 1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9" h="1005">
                  <a:moveTo>
                    <a:pt x="319" y="0"/>
                  </a:moveTo>
                  <a:cubicBezTo>
                    <a:pt x="311" y="565"/>
                    <a:pt x="311" y="565"/>
                    <a:pt x="311" y="565"/>
                  </a:cubicBezTo>
                  <a:cubicBezTo>
                    <a:pt x="311" y="753"/>
                    <a:pt x="257" y="857"/>
                    <a:pt x="159" y="913"/>
                  </a:cubicBezTo>
                  <a:cubicBezTo>
                    <a:pt x="0" y="1005"/>
                    <a:pt x="0" y="1005"/>
                    <a:pt x="0" y="1005"/>
                  </a:cubicBezTo>
                  <a:cubicBezTo>
                    <a:pt x="93" y="948"/>
                    <a:pt x="145" y="844"/>
                    <a:pt x="145" y="660"/>
                  </a:cubicBezTo>
                  <a:cubicBezTo>
                    <a:pt x="154" y="96"/>
                    <a:pt x="154" y="96"/>
                    <a:pt x="154" y="96"/>
                  </a:cubicBezTo>
                  <a:lnTo>
                    <a:pt x="319" y="0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5" name="Freeform 2325">
              <a:extLst>
                <a:ext uri="{FF2B5EF4-FFF2-40B4-BE49-F238E27FC236}">
                  <a16:creationId xmlns:a16="http://schemas.microsoft.com/office/drawing/2014/main" id="{B5EA8B43-4736-42B3-AEC5-FA0A7BECE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6" y="3546"/>
              <a:ext cx="114" cy="144"/>
            </a:xfrm>
            <a:custGeom>
              <a:avLst/>
              <a:gdLst>
                <a:gd name="T0" fmla="*/ 410 w 410"/>
                <a:gd name="T1" fmla="*/ 424 h 520"/>
                <a:gd name="T2" fmla="*/ 245 w 410"/>
                <a:gd name="T3" fmla="*/ 520 h 520"/>
                <a:gd name="T4" fmla="*/ 0 w 410"/>
                <a:gd name="T5" fmla="*/ 96 h 520"/>
                <a:gd name="T6" fmla="*/ 166 w 410"/>
                <a:gd name="T7" fmla="*/ 0 h 520"/>
                <a:gd name="T8" fmla="*/ 410 w 410"/>
                <a:gd name="T9" fmla="*/ 424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0" h="520">
                  <a:moveTo>
                    <a:pt x="410" y="424"/>
                  </a:moveTo>
                  <a:cubicBezTo>
                    <a:pt x="245" y="520"/>
                    <a:pt x="245" y="520"/>
                    <a:pt x="245" y="520"/>
                  </a:cubicBezTo>
                  <a:cubicBezTo>
                    <a:pt x="125" y="415"/>
                    <a:pt x="30" y="252"/>
                    <a:pt x="0" y="96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96" y="156"/>
                    <a:pt x="290" y="320"/>
                    <a:pt x="410" y="424"/>
                  </a:cubicBez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6" name="Freeform 2326">
              <a:extLst>
                <a:ext uri="{FF2B5EF4-FFF2-40B4-BE49-F238E27FC236}">
                  <a16:creationId xmlns:a16="http://schemas.microsoft.com/office/drawing/2014/main" id="{DC6836E2-216B-4AC0-97C3-D3AB6C8802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5" y="3443"/>
              <a:ext cx="359" cy="517"/>
            </a:xfrm>
            <a:custGeom>
              <a:avLst/>
              <a:gdLst>
                <a:gd name="T0" fmla="*/ 1301 w 1301"/>
                <a:gd name="T1" fmla="*/ 892 h 1870"/>
                <a:gd name="T2" fmla="*/ 1292 w 1301"/>
                <a:gd name="T3" fmla="*/ 1456 h 1870"/>
                <a:gd name="T4" fmla="*/ 1147 w 1301"/>
                <a:gd name="T5" fmla="*/ 1801 h 1870"/>
                <a:gd name="T6" fmla="*/ 1145 w 1301"/>
                <a:gd name="T7" fmla="*/ 1802 h 1870"/>
                <a:gd name="T8" fmla="*/ 1140 w 1301"/>
                <a:gd name="T9" fmla="*/ 1805 h 1870"/>
                <a:gd name="T10" fmla="*/ 650 w 1301"/>
                <a:gd name="T11" fmla="*/ 1861 h 1870"/>
                <a:gd name="T12" fmla="*/ 9 w 1301"/>
                <a:gd name="T13" fmla="*/ 715 h 1870"/>
                <a:gd name="T14" fmla="*/ 0 w 1301"/>
                <a:gd name="T15" fmla="*/ 141 h 1870"/>
                <a:gd name="T16" fmla="*/ 224 w 1301"/>
                <a:gd name="T17" fmla="*/ 55 h 1870"/>
                <a:gd name="T18" fmla="*/ 245 w 1301"/>
                <a:gd name="T19" fmla="*/ 0 h 1870"/>
                <a:gd name="T20" fmla="*/ 1056 w 1301"/>
                <a:gd name="T21" fmla="*/ 468 h 1870"/>
                <a:gd name="T22" fmla="*/ 1301 w 1301"/>
                <a:gd name="T23" fmla="*/ 892 h 1870"/>
                <a:gd name="T24" fmla="*/ 871 w 1301"/>
                <a:gd name="T25" fmla="*/ 1454 h 1870"/>
                <a:gd name="T26" fmla="*/ 871 w 1301"/>
                <a:gd name="T27" fmla="*/ 1033 h 1870"/>
                <a:gd name="T28" fmla="*/ 828 w 1301"/>
                <a:gd name="T29" fmla="*/ 958 h 1870"/>
                <a:gd name="T30" fmla="*/ 812 w 1301"/>
                <a:gd name="T31" fmla="*/ 948 h 1870"/>
                <a:gd name="T32" fmla="*/ 812 w 1301"/>
                <a:gd name="T33" fmla="*/ 753 h 1870"/>
                <a:gd name="T34" fmla="*/ 633 w 1301"/>
                <a:gd name="T35" fmla="*/ 443 h 1870"/>
                <a:gd name="T36" fmla="*/ 453 w 1301"/>
                <a:gd name="T37" fmla="*/ 546 h 1870"/>
                <a:gd name="T38" fmla="*/ 453 w 1301"/>
                <a:gd name="T39" fmla="*/ 742 h 1870"/>
                <a:gd name="T40" fmla="*/ 437 w 1301"/>
                <a:gd name="T41" fmla="*/ 732 h 1870"/>
                <a:gd name="T42" fmla="*/ 394 w 1301"/>
                <a:gd name="T43" fmla="*/ 757 h 1870"/>
                <a:gd name="T44" fmla="*/ 394 w 1301"/>
                <a:gd name="T45" fmla="*/ 1179 h 1870"/>
                <a:gd name="T46" fmla="*/ 437 w 1301"/>
                <a:gd name="T47" fmla="*/ 1254 h 1870"/>
                <a:gd name="T48" fmla="*/ 828 w 1301"/>
                <a:gd name="T49" fmla="*/ 1479 h 1870"/>
                <a:gd name="T50" fmla="*/ 871 w 1301"/>
                <a:gd name="T51" fmla="*/ 1454 h 18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01" h="1870">
                  <a:moveTo>
                    <a:pt x="1301" y="892"/>
                  </a:moveTo>
                  <a:cubicBezTo>
                    <a:pt x="1292" y="1456"/>
                    <a:pt x="1292" y="1456"/>
                    <a:pt x="1292" y="1456"/>
                  </a:cubicBezTo>
                  <a:cubicBezTo>
                    <a:pt x="1292" y="1640"/>
                    <a:pt x="1240" y="1744"/>
                    <a:pt x="1147" y="1801"/>
                  </a:cubicBezTo>
                  <a:cubicBezTo>
                    <a:pt x="1145" y="1802"/>
                    <a:pt x="1145" y="1802"/>
                    <a:pt x="1145" y="1802"/>
                  </a:cubicBezTo>
                  <a:cubicBezTo>
                    <a:pt x="1140" y="1805"/>
                    <a:pt x="1140" y="1805"/>
                    <a:pt x="1140" y="1805"/>
                  </a:cubicBezTo>
                  <a:cubicBezTo>
                    <a:pt x="1028" y="1870"/>
                    <a:pt x="859" y="1870"/>
                    <a:pt x="650" y="1861"/>
                  </a:cubicBezTo>
                  <a:cubicBezTo>
                    <a:pt x="262" y="1430"/>
                    <a:pt x="9" y="1121"/>
                    <a:pt x="9" y="715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100" y="169"/>
                    <a:pt x="182" y="137"/>
                    <a:pt x="224" y="55"/>
                  </a:cubicBezTo>
                  <a:cubicBezTo>
                    <a:pt x="233" y="39"/>
                    <a:pt x="240" y="20"/>
                    <a:pt x="245" y="0"/>
                  </a:cubicBezTo>
                  <a:cubicBezTo>
                    <a:pt x="1056" y="468"/>
                    <a:pt x="1056" y="468"/>
                    <a:pt x="1056" y="468"/>
                  </a:cubicBezTo>
                  <a:cubicBezTo>
                    <a:pt x="1086" y="624"/>
                    <a:pt x="1181" y="787"/>
                    <a:pt x="1301" y="892"/>
                  </a:cubicBezTo>
                  <a:close/>
                  <a:moveTo>
                    <a:pt x="871" y="1454"/>
                  </a:moveTo>
                  <a:cubicBezTo>
                    <a:pt x="871" y="1033"/>
                    <a:pt x="871" y="1033"/>
                    <a:pt x="871" y="1033"/>
                  </a:cubicBezTo>
                  <a:cubicBezTo>
                    <a:pt x="871" y="1005"/>
                    <a:pt x="852" y="972"/>
                    <a:pt x="828" y="958"/>
                  </a:cubicBezTo>
                  <a:cubicBezTo>
                    <a:pt x="812" y="948"/>
                    <a:pt x="812" y="948"/>
                    <a:pt x="812" y="948"/>
                  </a:cubicBezTo>
                  <a:cubicBezTo>
                    <a:pt x="812" y="753"/>
                    <a:pt x="812" y="753"/>
                    <a:pt x="812" y="753"/>
                  </a:cubicBezTo>
                  <a:cubicBezTo>
                    <a:pt x="812" y="639"/>
                    <a:pt x="731" y="500"/>
                    <a:pt x="633" y="443"/>
                  </a:cubicBezTo>
                  <a:cubicBezTo>
                    <a:pt x="534" y="385"/>
                    <a:pt x="453" y="432"/>
                    <a:pt x="453" y="546"/>
                  </a:cubicBezTo>
                  <a:cubicBezTo>
                    <a:pt x="453" y="742"/>
                    <a:pt x="453" y="742"/>
                    <a:pt x="453" y="742"/>
                  </a:cubicBezTo>
                  <a:cubicBezTo>
                    <a:pt x="437" y="732"/>
                    <a:pt x="437" y="732"/>
                    <a:pt x="437" y="732"/>
                  </a:cubicBezTo>
                  <a:cubicBezTo>
                    <a:pt x="413" y="718"/>
                    <a:pt x="394" y="730"/>
                    <a:pt x="394" y="757"/>
                  </a:cubicBezTo>
                  <a:cubicBezTo>
                    <a:pt x="394" y="1179"/>
                    <a:pt x="394" y="1179"/>
                    <a:pt x="394" y="1179"/>
                  </a:cubicBezTo>
                  <a:cubicBezTo>
                    <a:pt x="394" y="1206"/>
                    <a:pt x="413" y="1240"/>
                    <a:pt x="437" y="1254"/>
                  </a:cubicBezTo>
                  <a:cubicBezTo>
                    <a:pt x="828" y="1479"/>
                    <a:pt x="828" y="1479"/>
                    <a:pt x="828" y="1479"/>
                  </a:cubicBezTo>
                  <a:cubicBezTo>
                    <a:pt x="852" y="1493"/>
                    <a:pt x="871" y="1482"/>
                    <a:pt x="871" y="14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7" name="Freeform 2327">
              <a:extLst>
                <a:ext uri="{FF2B5EF4-FFF2-40B4-BE49-F238E27FC236}">
                  <a16:creationId xmlns:a16="http://schemas.microsoft.com/office/drawing/2014/main" id="{335CEA87-9D73-4DC4-968A-1096DF872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5" y="3666"/>
              <a:ext cx="199" cy="294"/>
            </a:xfrm>
            <a:custGeom>
              <a:avLst/>
              <a:gdLst>
                <a:gd name="T0" fmla="*/ 637 w 721"/>
                <a:gd name="T1" fmla="*/ 0 h 1065"/>
                <a:gd name="T2" fmla="*/ 629 w 721"/>
                <a:gd name="T3" fmla="*/ 554 h 1065"/>
                <a:gd name="T4" fmla="*/ 477 w 721"/>
                <a:gd name="T5" fmla="*/ 914 h 1065"/>
                <a:gd name="T6" fmla="*/ 476 w 721"/>
                <a:gd name="T7" fmla="*/ 914 h 1065"/>
                <a:gd name="T8" fmla="*/ 471 w 721"/>
                <a:gd name="T9" fmla="*/ 917 h 1065"/>
                <a:gd name="T10" fmla="*/ 0 w 721"/>
                <a:gd name="T11" fmla="*/ 978 h 1065"/>
                <a:gd name="T12" fmla="*/ 70 w 721"/>
                <a:gd name="T13" fmla="*/ 1056 h 1065"/>
                <a:gd name="T14" fmla="*/ 560 w 721"/>
                <a:gd name="T15" fmla="*/ 1000 h 1065"/>
                <a:gd name="T16" fmla="*/ 565 w 721"/>
                <a:gd name="T17" fmla="*/ 997 h 1065"/>
                <a:gd name="T18" fmla="*/ 567 w 721"/>
                <a:gd name="T19" fmla="*/ 996 h 1065"/>
                <a:gd name="T20" fmla="*/ 712 w 721"/>
                <a:gd name="T21" fmla="*/ 651 h 1065"/>
                <a:gd name="T22" fmla="*/ 721 w 721"/>
                <a:gd name="T23" fmla="*/ 87 h 1065"/>
                <a:gd name="T24" fmla="*/ 637 w 721"/>
                <a:gd name="T25" fmla="*/ 0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1" h="1065">
                  <a:moveTo>
                    <a:pt x="637" y="0"/>
                  </a:moveTo>
                  <a:cubicBezTo>
                    <a:pt x="629" y="554"/>
                    <a:pt x="629" y="554"/>
                    <a:pt x="629" y="554"/>
                  </a:cubicBezTo>
                  <a:cubicBezTo>
                    <a:pt x="629" y="746"/>
                    <a:pt x="575" y="854"/>
                    <a:pt x="477" y="914"/>
                  </a:cubicBezTo>
                  <a:cubicBezTo>
                    <a:pt x="476" y="914"/>
                    <a:pt x="476" y="914"/>
                    <a:pt x="476" y="914"/>
                  </a:cubicBezTo>
                  <a:cubicBezTo>
                    <a:pt x="471" y="917"/>
                    <a:pt x="471" y="917"/>
                    <a:pt x="471" y="917"/>
                  </a:cubicBezTo>
                  <a:cubicBezTo>
                    <a:pt x="361" y="981"/>
                    <a:pt x="199" y="985"/>
                    <a:pt x="0" y="978"/>
                  </a:cubicBezTo>
                  <a:cubicBezTo>
                    <a:pt x="23" y="1003"/>
                    <a:pt x="46" y="1029"/>
                    <a:pt x="70" y="1056"/>
                  </a:cubicBezTo>
                  <a:cubicBezTo>
                    <a:pt x="279" y="1065"/>
                    <a:pt x="448" y="1065"/>
                    <a:pt x="560" y="1000"/>
                  </a:cubicBezTo>
                  <a:cubicBezTo>
                    <a:pt x="565" y="997"/>
                    <a:pt x="565" y="997"/>
                    <a:pt x="565" y="997"/>
                  </a:cubicBezTo>
                  <a:cubicBezTo>
                    <a:pt x="567" y="996"/>
                    <a:pt x="567" y="996"/>
                    <a:pt x="567" y="996"/>
                  </a:cubicBezTo>
                  <a:cubicBezTo>
                    <a:pt x="660" y="939"/>
                    <a:pt x="712" y="835"/>
                    <a:pt x="712" y="651"/>
                  </a:cubicBezTo>
                  <a:cubicBezTo>
                    <a:pt x="721" y="87"/>
                    <a:pt x="721" y="87"/>
                    <a:pt x="721" y="87"/>
                  </a:cubicBezTo>
                  <a:cubicBezTo>
                    <a:pt x="691" y="61"/>
                    <a:pt x="663" y="32"/>
                    <a:pt x="637" y="0"/>
                  </a:cubicBezTo>
                  <a:close/>
                </a:path>
              </a:pathLst>
            </a:custGeom>
            <a:solidFill>
              <a:srgbClr val="DAE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8" name="Freeform 2328">
              <a:extLst>
                <a:ext uri="{FF2B5EF4-FFF2-40B4-BE49-F238E27FC236}">
                  <a16:creationId xmlns:a16="http://schemas.microsoft.com/office/drawing/2014/main" id="{668D61F4-8FAB-4B7B-8BD1-4551452B4F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2" y="3417"/>
              <a:ext cx="270" cy="156"/>
            </a:xfrm>
            <a:custGeom>
              <a:avLst/>
              <a:gdLst>
                <a:gd name="T0" fmla="*/ 270 w 270"/>
                <a:gd name="T1" fmla="*/ 129 h 156"/>
                <a:gd name="T2" fmla="*/ 224 w 270"/>
                <a:gd name="T3" fmla="*/ 156 h 156"/>
                <a:gd name="T4" fmla="*/ 0 w 270"/>
                <a:gd name="T5" fmla="*/ 26 h 156"/>
                <a:gd name="T6" fmla="*/ 46 w 270"/>
                <a:gd name="T7" fmla="*/ 0 h 156"/>
                <a:gd name="T8" fmla="*/ 270 w 270"/>
                <a:gd name="T9" fmla="*/ 129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0" h="156">
                  <a:moveTo>
                    <a:pt x="270" y="129"/>
                  </a:moveTo>
                  <a:lnTo>
                    <a:pt x="224" y="156"/>
                  </a:lnTo>
                  <a:lnTo>
                    <a:pt x="0" y="26"/>
                  </a:lnTo>
                  <a:lnTo>
                    <a:pt x="46" y="0"/>
                  </a:lnTo>
                  <a:lnTo>
                    <a:pt x="270" y="129"/>
                  </a:lnTo>
                  <a:close/>
                </a:path>
              </a:pathLst>
            </a:custGeom>
            <a:solidFill>
              <a:srgbClr val="DAE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9" name="Freeform 2329">
              <a:extLst>
                <a:ext uri="{FF2B5EF4-FFF2-40B4-BE49-F238E27FC236}">
                  <a16:creationId xmlns:a16="http://schemas.microsoft.com/office/drawing/2014/main" id="{A0026E07-2B66-4C9D-BBAC-B6D439E048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3" y="3642"/>
              <a:ext cx="132" cy="214"/>
            </a:xfrm>
            <a:custGeom>
              <a:avLst/>
              <a:gdLst>
                <a:gd name="T0" fmla="*/ 239 w 477"/>
                <a:gd name="T1" fmla="*/ 406 h 775"/>
                <a:gd name="T2" fmla="*/ 285 w 477"/>
                <a:gd name="T3" fmla="*/ 379 h 775"/>
                <a:gd name="T4" fmla="*/ 239 w 477"/>
                <a:gd name="T5" fmla="*/ 299 h 775"/>
                <a:gd name="T6" fmla="*/ 192 w 477"/>
                <a:gd name="T7" fmla="*/ 326 h 775"/>
                <a:gd name="T8" fmla="*/ 239 w 477"/>
                <a:gd name="T9" fmla="*/ 406 h 775"/>
                <a:gd name="T10" fmla="*/ 477 w 477"/>
                <a:gd name="T11" fmla="*/ 315 h 775"/>
                <a:gd name="T12" fmla="*/ 477 w 477"/>
                <a:gd name="T13" fmla="*/ 736 h 775"/>
                <a:gd name="T14" fmla="*/ 434 w 477"/>
                <a:gd name="T15" fmla="*/ 761 h 775"/>
                <a:gd name="T16" fmla="*/ 43 w 477"/>
                <a:gd name="T17" fmla="*/ 536 h 775"/>
                <a:gd name="T18" fmla="*/ 0 w 477"/>
                <a:gd name="T19" fmla="*/ 461 h 775"/>
                <a:gd name="T20" fmla="*/ 0 w 477"/>
                <a:gd name="T21" fmla="*/ 39 h 775"/>
                <a:gd name="T22" fmla="*/ 43 w 477"/>
                <a:gd name="T23" fmla="*/ 14 h 775"/>
                <a:gd name="T24" fmla="*/ 434 w 477"/>
                <a:gd name="T25" fmla="*/ 240 h 775"/>
                <a:gd name="T26" fmla="*/ 477 w 477"/>
                <a:gd name="T27" fmla="*/ 315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7" h="775">
                  <a:moveTo>
                    <a:pt x="239" y="406"/>
                  </a:moveTo>
                  <a:cubicBezTo>
                    <a:pt x="264" y="421"/>
                    <a:pt x="285" y="409"/>
                    <a:pt x="285" y="379"/>
                  </a:cubicBezTo>
                  <a:cubicBezTo>
                    <a:pt x="285" y="350"/>
                    <a:pt x="264" y="314"/>
                    <a:pt x="239" y="299"/>
                  </a:cubicBezTo>
                  <a:cubicBezTo>
                    <a:pt x="213" y="285"/>
                    <a:pt x="192" y="297"/>
                    <a:pt x="192" y="326"/>
                  </a:cubicBezTo>
                  <a:cubicBezTo>
                    <a:pt x="192" y="355"/>
                    <a:pt x="213" y="391"/>
                    <a:pt x="239" y="406"/>
                  </a:cubicBezTo>
                  <a:close/>
                  <a:moveTo>
                    <a:pt x="477" y="315"/>
                  </a:moveTo>
                  <a:cubicBezTo>
                    <a:pt x="477" y="736"/>
                    <a:pt x="477" y="736"/>
                    <a:pt x="477" y="736"/>
                  </a:cubicBezTo>
                  <a:cubicBezTo>
                    <a:pt x="477" y="764"/>
                    <a:pt x="458" y="775"/>
                    <a:pt x="434" y="761"/>
                  </a:cubicBezTo>
                  <a:cubicBezTo>
                    <a:pt x="43" y="536"/>
                    <a:pt x="43" y="536"/>
                    <a:pt x="43" y="536"/>
                  </a:cubicBezTo>
                  <a:cubicBezTo>
                    <a:pt x="19" y="522"/>
                    <a:pt x="0" y="488"/>
                    <a:pt x="0" y="46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2"/>
                    <a:pt x="19" y="0"/>
                    <a:pt x="43" y="14"/>
                  </a:cubicBezTo>
                  <a:cubicBezTo>
                    <a:pt x="434" y="240"/>
                    <a:pt x="434" y="240"/>
                    <a:pt x="434" y="240"/>
                  </a:cubicBezTo>
                  <a:cubicBezTo>
                    <a:pt x="458" y="254"/>
                    <a:pt x="477" y="287"/>
                    <a:pt x="477" y="315"/>
                  </a:cubicBezTo>
                  <a:close/>
                </a:path>
              </a:pathLst>
            </a:custGeom>
            <a:solidFill>
              <a:srgbClr val="1BD7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0" name="Freeform 2330">
              <a:extLst>
                <a:ext uri="{FF2B5EF4-FFF2-40B4-BE49-F238E27FC236}">
                  <a16:creationId xmlns:a16="http://schemas.microsoft.com/office/drawing/2014/main" id="{03977FE7-9C78-46DE-A34C-500133AA2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" y="3550"/>
              <a:ext cx="99" cy="155"/>
            </a:xfrm>
            <a:custGeom>
              <a:avLst/>
              <a:gdLst>
                <a:gd name="T0" fmla="*/ 359 w 359"/>
                <a:gd name="T1" fmla="*/ 368 h 563"/>
                <a:gd name="T2" fmla="*/ 359 w 359"/>
                <a:gd name="T3" fmla="*/ 563 h 563"/>
                <a:gd name="T4" fmla="*/ 289 w 359"/>
                <a:gd name="T5" fmla="*/ 523 h 563"/>
                <a:gd name="T6" fmla="*/ 289 w 359"/>
                <a:gd name="T7" fmla="*/ 328 h 563"/>
                <a:gd name="T8" fmla="*/ 180 w 359"/>
                <a:gd name="T9" fmla="*/ 138 h 563"/>
                <a:gd name="T10" fmla="*/ 70 w 359"/>
                <a:gd name="T11" fmla="*/ 201 h 563"/>
                <a:gd name="T12" fmla="*/ 70 w 359"/>
                <a:gd name="T13" fmla="*/ 397 h 563"/>
                <a:gd name="T14" fmla="*/ 0 w 359"/>
                <a:gd name="T15" fmla="*/ 357 h 563"/>
                <a:gd name="T16" fmla="*/ 0 w 359"/>
                <a:gd name="T17" fmla="*/ 161 h 563"/>
                <a:gd name="T18" fmla="*/ 180 w 359"/>
                <a:gd name="T19" fmla="*/ 58 h 563"/>
                <a:gd name="T20" fmla="*/ 359 w 359"/>
                <a:gd name="T21" fmla="*/ 368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9" h="563">
                  <a:moveTo>
                    <a:pt x="359" y="368"/>
                  </a:moveTo>
                  <a:cubicBezTo>
                    <a:pt x="359" y="563"/>
                    <a:pt x="359" y="563"/>
                    <a:pt x="359" y="563"/>
                  </a:cubicBezTo>
                  <a:cubicBezTo>
                    <a:pt x="289" y="523"/>
                    <a:pt x="289" y="523"/>
                    <a:pt x="289" y="523"/>
                  </a:cubicBezTo>
                  <a:cubicBezTo>
                    <a:pt x="289" y="328"/>
                    <a:pt x="289" y="328"/>
                    <a:pt x="289" y="328"/>
                  </a:cubicBezTo>
                  <a:cubicBezTo>
                    <a:pt x="289" y="258"/>
                    <a:pt x="240" y="172"/>
                    <a:pt x="180" y="138"/>
                  </a:cubicBezTo>
                  <a:cubicBezTo>
                    <a:pt x="119" y="103"/>
                    <a:pt x="70" y="131"/>
                    <a:pt x="70" y="201"/>
                  </a:cubicBezTo>
                  <a:cubicBezTo>
                    <a:pt x="70" y="397"/>
                    <a:pt x="70" y="397"/>
                    <a:pt x="70" y="397"/>
                  </a:cubicBezTo>
                  <a:cubicBezTo>
                    <a:pt x="0" y="357"/>
                    <a:pt x="0" y="357"/>
                    <a:pt x="0" y="357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47"/>
                    <a:pt x="81" y="0"/>
                    <a:pt x="180" y="58"/>
                  </a:cubicBezTo>
                  <a:cubicBezTo>
                    <a:pt x="278" y="115"/>
                    <a:pt x="359" y="254"/>
                    <a:pt x="359" y="368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1" name="Freeform 2331">
              <a:extLst>
                <a:ext uri="{FF2B5EF4-FFF2-40B4-BE49-F238E27FC236}">
                  <a16:creationId xmlns:a16="http://schemas.microsoft.com/office/drawing/2014/main" id="{F971C56A-0F34-4EBD-890A-B8C3D39EE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9" y="3578"/>
              <a:ext cx="61" cy="116"/>
            </a:xfrm>
            <a:custGeom>
              <a:avLst/>
              <a:gdLst>
                <a:gd name="T0" fmla="*/ 219 w 219"/>
                <a:gd name="T1" fmla="*/ 225 h 420"/>
                <a:gd name="T2" fmla="*/ 219 w 219"/>
                <a:gd name="T3" fmla="*/ 420 h 420"/>
                <a:gd name="T4" fmla="*/ 0 w 219"/>
                <a:gd name="T5" fmla="*/ 294 h 420"/>
                <a:gd name="T6" fmla="*/ 0 w 219"/>
                <a:gd name="T7" fmla="*/ 98 h 420"/>
                <a:gd name="T8" fmla="*/ 110 w 219"/>
                <a:gd name="T9" fmla="*/ 35 h 420"/>
                <a:gd name="T10" fmla="*/ 219 w 219"/>
                <a:gd name="T11" fmla="*/ 225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9" h="420">
                  <a:moveTo>
                    <a:pt x="219" y="225"/>
                  </a:moveTo>
                  <a:cubicBezTo>
                    <a:pt x="219" y="420"/>
                    <a:pt x="219" y="420"/>
                    <a:pt x="219" y="420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28"/>
                    <a:pt x="49" y="0"/>
                    <a:pt x="110" y="35"/>
                  </a:cubicBezTo>
                  <a:cubicBezTo>
                    <a:pt x="170" y="69"/>
                    <a:pt x="219" y="155"/>
                    <a:pt x="219" y="22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2" name="Freeform 2332">
              <a:extLst>
                <a:ext uri="{FF2B5EF4-FFF2-40B4-BE49-F238E27FC236}">
                  <a16:creationId xmlns:a16="http://schemas.microsoft.com/office/drawing/2014/main" id="{66607E65-226A-4FC2-8448-85291CF2B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6" y="3721"/>
              <a:ext cx="26" cy="37"/>
            </a:xfrm>
            <a:custGeom>
              <a:avLst/>
              <a:gdLst>
                <a:gd name="T0" fmla="*/ 47 w 93"/>
                <a:gd name="T1" fmla="*/ 14 h 136"/>
                <a:gd name="T2" fmla="*/ 93 w 93"/>
                <a:gd name="T3" fmla="*/ 94 h 136"/>
                <a:gd name="T4" fmla="*/ 47 w 93"/>
                <a:gd name="T5" fmla="*/ 121 h 136"/>
                <a:gd name="T6" fmla="*/ 0 w 93"/>
                <a:gd name="T7" fmla="*/ 41 h 136"/>
                <a:gd name="T8" fmla="*/ 47 w 93"/>
                <a:gd name="T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136">
                  <a:moveTo>
                    <a:pt x="47" y="14"/>
                  </a:moveTo>
                  <a:cubicBezTo>
                    <a:pt x="72" y="29"/>
                    <a:pt x="93" y="65"/>
                    <a:pt x="93" y="94"/>
                  </a:cubicBezTo>
                  <a:cubicBezTo>
                    <a:pt x="93" y="124"/>
                    <a:pt x="72" y="136"/>
                    <a:pt x="47" y="121"/>
                  </a:cubicBezTo>
                  <a:cubicBezTo>
                    <a:pt x="21" y="106"/>
                    <a:pt x="0" y="70"/>
                    <a:pt x="0" y="41"/>
                  </a:cubicBezTo>
                  <a:cubicBezTo>
                    <a:pt x="0" y="12"/>
                    <a:pt x="21" y="0"/>
                    <a:pt x="47" y="1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3" name="Freeform 2333">
              <a:extLst>
                <a:ext uri="{FF2B5EF4-FFF2-40B4-BE49-F238E27FC236}">
                  <a16:creationId xmlns:a16="http://schemas.microsoft.com/office/drawing/2014/main" id="{D5DB24AE-3848-494F-B8B3-8348BA991C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5" y="3456"/>
              <a:ext cx="61" cy="34"/>
            </a:xfrm>
            <a:custGeom>
              <a:avLst/>
              <a:gdLst>
                <a:gd name="T0" fmla="*/ 166 w 224"/>
                <a:gd name="T1" fmla="*/ 0 h 124"/>
                <a:gd name="T2" fmla="*/ 224 w 224"/>
                <a:gd name="T3" fmla="*/ 10 h 124"/>
                <a:gd name="T4" fmla="*/ 0 w 224"/>
                <a:gd name="T5" fmla="*/ 96 h 124"/>
                <a:gd name="T6" fmla="*/ 166 w 224"/>
                <a:gd name="T7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4" h="124">
                  <a:moveTo>
                    <a:pt x="166" y="0"/>
                  </a:moveTo>
                  <a:cubicBezTo>
                    <a:pt x="186" y="6"/>
                    <a:pt x="206" y="9"/>
                    <a:pt x="224" y="10"/>
                  </a:cubicBezTo>
                  <a:cubicBezTo>
                    <a:pt x="182" y="92"/>
                    <a:pt x="100" y="124"/>
                    <a:pt x="0" y="96"/>
                  </a:cubicBezTo>
                  <a:lnTo>
                    <a:pt x="166" y="0"/>
                  </a:lnTo>
                  <a:close/>
                </a:path>
              </a:pathLst>
            </a:custGeom>
            <a:solidFill>
              <a:srgbClr val="DAE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4" name="Freeform 2334">
              <a:extLst>
                <a:ext uri="{FF2B5EF4-FFF2-40B4-BE49-F238E27FC236}">
                  <a16:creationId xmlns:a16="http://schemas.microsoft.com/office/drawing/2014/main" id="{37CCB21E-CC66-4FBD-9F0D-F99A892247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1" y="3440"/>
              <a:ext cx="366" cy="522"/>
            </a:xfrm>
            <a:custGeom>
              <a:avLst/>
              <a:gdLst>
                <a:gd name="T0" fmla="*/ 822 w 1325"/>
                <a:gd name="T1" fmla="*/ 1890 h 1890"/>
                <a:gd name="T2" fmla="*/ 662 w 1325"/>
                <a:gd name="T3" fmla="*/ 1886 h 1890"/>
                <a:gd name="T4" fmla="*/ 654 w 1325"/>
                <a:gd name="T5" fmla="*/ 1882 h 1890"/>
                <a:gd name="T6" fmla="*/ 9 w 1325"/>
                <a:gd name="T7" fmla="*/ 728 h 1890"/>
                <a:gd name="T8" fmla="*/ 0 w 1325"/>
                <a:gd name="T9" fmla="*/ 154 h 1890"/>
                <a:gd name="T10" fmla="*/ 5 w 1325"/>
                <a:gd name="T11" fmla="*/ 144 h 1890"/>
                <a:gd name="T12" fmla="*/ 16 w 1325"/>
                <a:gd name="T13" fmla="*/ 142 h 1890"/>
                <a:gd name="T14" fmla="*/ 226 w 1325"/>
                <a:gd name="T15" fmla="*/ 63 h 1890"/>
                <a:gd name="T16" fmla="*/ 245 w 1325"/>
                <a:gd name="T17" fmla="*/ 10 h 1890"/>
                <a:gd name="T18" fmla="*/ 252 w 1325"/>
                <a:gd name="T19" fmla="*/ 1 h 1890"/>
                <a:gd name="T20" fmla="*/ 263 w 1325"/>
                <a:gd name="T21" fmla="*/ 2 h 1890"/>
                <a:gd name="T22" fmla="*/ 1074 w 1325"/>
                <a:gd name="T23" fmla="*/ 470 h 1890"/>
                <a:gd name="T24" fmla="*/ 1080 w 1325"/>
                <a:gd name="T25" fmla="*/ 479 h 1890"/>
                <a:gd name="T26" fmla="*/ 1321 w 1325"/>
                <a:gd name="T27" fmla="*/ 896 h 1890"/>
                <a:gd name="T28" fmla="*/ 1325 w 1325"/>
                <a:gd name="T29" fmla="*/ 905 h 1890"/>
                <a:gd name="T30" fmla="*/ 1316 w 1325"/>
                <a:gd name="T31" fmla="*/ 1469 h 1890"/>
                <a:gd name="T32" fmla="*/ 1165 w 1325"/>
                <a:gd name="T33" fmla="*/ 1825 h 1890"/>
                <a:gd name="T34" fmla="*/ 1161 w 1325"/>
                <a:gd name="T35" fmla="*/ 1826 h 1890"/>
                <a:gd name="T36" fmla="*/ 1158 w 1325"/>
                <a:gd name="T37" fmla="*/ 1828 h 1890"/>
                <a:gd name="T38" fmla="*/ 822 w 1325"/>
                <a:gd name="T39" fmla="*/ 1890 h 1890"/>
                <a:gd name="T40" fmla="*/ 668 w 1325"/>
                <a:gd name="T41" fmla="*/ 1862 h 1890"/>
                <a:gd name="T42" fmla="*/ 1146 w 1325"/>
                <a:gd name="T43" fmla="*/ 1808 h 1890"/>
                <a:gd name="T44" fmla="*/ 1150 w 1325"/>
                <a:gd name="T45" fmla="*/ 1806 h 1890"/>
                <a:gd name="T46" fmla="*/ 1153 w 1325"/>
                <a:gd name="T47" fmla="*/ 1804 h 1890"/>
                <a:gd name="T48" fmla="*/ 1292 w 1325"/>
                <a:gd name="T49" fmla="*/ 1469 h 1890"/>
                <a:gd name="T50" fmla="*/ 1301 w 1325"/>
                <a:gd name="T51" fmla="*/ 910 h 1890"/>
                <a:gd name="T52" fmla="*/ 1057 w 1325"/>
                <a:gd name="T53" fmla="*/ 489 h 1890"/>
                <a:gd name="T54" fmla="*/ 264 w 1325"/>
                <a:gd name="T55" fmla="*/ 31 h 1890"/>
                <a:gd name="T56" fmla="*/ 247 w 1325"/>
                <a:gd name="T57" fmla="*/ 74 h 1890"/>
                <a:gd name="T58" fmla="*/ 25 w 1325"/>
                <a:gd name="T59" fmla="*/ 169 h 1890"/>
                <a:gd name="T60" fmla="*/ 33 w 1325"/>
                <a:gd name="T61" fmla="*/ 728 h 1890"/>
                <a:gd name="T62" fmla="*/ 668 w 1325"/>
                <a:gd name="T63" fmla="*/ 1862 h 1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25" h="1890">
                  <a:moveTo>
                    <a:pt x="822" y="1890"/>
                  </a:moveTo>
                  <a:cubicBezTo>
                    <a:pt x="770" y="1890"/>
                    <a:pt x="716" y="1888"/>
                    <a:pt x="662" y="1886"/>
                  </a:cubicBezTo>
                  <a:cubicBezTo>
                    <a:pt x="659" y="1886"/>
                    <a:pt x="656" y="1884"/>
                    <a:pt x="654" y="1882"/>
                  </a:cubicBezTo>
                  <a:cubicBezTo>
                    <a:pt x="264" y="1450"/>
                    <a:pt x="9" y="1136"/>
                    <a:pt x="9" y="728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150"/>
                    <a:pt x="2" y="147"/>
                    <a:pt x="5" y="144"/>
                  </a:cubicBezTo>
                  <a:cubicBezTo>
                    <a:pt x="8" y="142"/>
                    <a:pt x="12" y="141"/>
                    <a:pt x="16" y="142"/>
                  </a:cubicBezTo>
                  <a:cubicBezTo>
                    <a:pt x="109" y="169"/>
                    <a:pt x="186" y="140"/>
                    <a:pt x="226" y="63"/>
                  </a:cubicBezTo>
                  <a:cubicBezTo>
                    <a:pt x="234" y="47"/>
                    <a:pt x="240" y="29"/>
                    <a:pt x="245" y="10"/>
                  </a:cubicBezTo>
                  <a:cubicBezTo>
                    <a:pt x="246" y="6"/>
                    <a:pt x="249" y="3"/>
                    <a:pt x="252" y="1"/>
                  </a:cubicBezTo>
                  <a:cubicBezTo>
                    <a:pt x="256" y="0"/>
                    <a:pt x="260" y="0"/>
                    <a:pt x="263" y="2"/>
                  </a:cubicBezTo>
                  <a:cubicBezTo>
                    <a:pt x="1074" y="470"/>
                    <a:pt x="1074" y="470"/>
                    <a:pt x="1074" y="470"/>
                  </a:cubicBezTo>
                  <a:cubicBezTo>
                    <a:pt x="1077" y="472"/>
                    <a:pt x="1079" y="475"/>
                    <a:pt x="1080" y="479"/>
                  </a:cubicBezTo>
                  <a:cubicBezTo>
                    <a:pt x="1110" y="633"/>
                    <a:pt x="1202" y="793"/>
                    <a:pt x="1321" y="896"/>
                  </a:cubicBezTo>
                  <a:cubicBezTo>
                    <a:pt x="1323" y="898"/>
                    <a:pt x="1325" y="901"/>
                    <a:pt x="1325" y="905"/>
                  </a:cubicBezTo>
                  <a:cubicBezTo>
                    <a:pt x="1316" y="1469"/>
                    <a:pt x="1316" y="1469"/>
                    <a:pt x="1316" y="1469"/>
                  </a:cubicBezTo>
                  <a:cubicBezTo>
                    <a:pt x="1316" y="1649"/>
                    <a:pt x="1268" y="1761"/>
                    <a:pt x="1165" y="1825"/>
                  </a:cubicBezTo>
                  <a:cubicBezTo>
                    <a:pt x="1164" y="1825"/>
                    <a:pt x="1163" y="1826"/>
                    <a:pt x="1161" y="1826"/>
                  </a:cubicBezTo>
                  <a:cubicBezTo>
                    <a:pt x="1160" y="1827"/>
                    <a:pt x="1159" y="1828"/>
                    <a:pt x="1158" y="1828"/>
                  </a:cubicBezTo>
                  <a:cubicBezTo>
                    <a:pt x="1073" y="1878"/>
                    <a:pt x="954" y="1890"/>
                    <a:pt x="822" y="1890"/>
                  </a:cubicBezTo>
                  <a:close/>
                  <a:moveTo>
                    <a:pt x="668" y="1862"/>
                  </a:moveTo>
                  <a:cubicBezTo>
                    <a:pt x="856" y="1871"/>
                    <a:pt x="1034" y="1872"/>
                    <a:pt x="1146" y="1808"/>
                  </a:cubicBezTo>
                  <a:cubicBezTo>
                    <a:pt x="1148" y="1807"/>
                    <a:pt x="1149" y="1806"/>
                    <a:pt x="1150" y="1806"/>
                  </a:cubicBezTo>
                  <a:cubicBezTo>
                    <a:pt x="1151" y="1805"/>
                    <a:pt x="1152" y="1805"/>
                    <a:pt x="1153" y="1804"/>
                  </a:cubicBezTo>
                  <a:cubicBezTo>
                    <a:pt x="1248" y="1746"/>
                    <a:pt x="1292" y="1639"/>
                    <a:pt x="1292" y="1469"/>
                  </a:cubicBezTo>
                  <a:cubicBezTo>
                    <a:pt x="1301" y="910"/>
                    <a:pt x="1301" y="910"/>
                    <a:pt x="1301" y="910"/>
                  </a:cubicBezTo>
                  <a:cubicBezTo>
                    <a:pt x="1182" y="805"/>
                    <a:pt x="1089" y="644"/>
                    <a:pt x="1057" y="489"/>
                  </a:cubicBezTo>
                  <a:cubicBezTo>
                    <a:pt x="264" y="31"/>
                    <a:pt x="264" y="31"/>
                    <a:pt x="264" y="31"/>
                  </a:cubicBezTo>
                  <a:cubicBezTo>
                    <a:pt x="260" y="46"/>
                    <a:pt x="254" y="60"/>
                    <a:pt x="247" y="74"/>
                  </a:cubicBezTo>
                  <a:cubicBezTo>
                    <a:pt x="204" y="157"/>
                    <a:pt x="122" y="192"/>
                    <a:pt x="25" y="169"/>
                  </a:cubicBezTo>
                  <a:cubicBezTo>
                    <a:pt x="33" y="728"/>
                    <a:pt x="33" y="728"/>
                    <a:pt x="33" y="728"/>
                  </a:cubicBezTo>
                  <a:cubicBezTo>
                    <a:pt x="33" y="1126"/>
                    <a:pt x="284" y="1436"/>
                    <a:pt x="668" y="186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5" name="Freeform 2335">
              <a:extLst>
                <a:ext uri="{FF2B5EF4-FFF2-40B4-BE49-F238E27FC236}">
                  <a16:creationId xmlns:a16="http://schemas.microsoft.com/office/drawing/2014/main" id="{8A089C9D-371B-4287-8326-33D945B581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" y="3413"/>
              <a:ext cx="345" cy="532"/>
            </a:xfrm>
            <a:custGeom>
              <a:avLst/>
              <a:gdLst>
                <a:gd name="T0" fmla="*/ 909 w 1247"/>
                <a:gd name="T1" fmla="*/ 1926 h 1926"/>
                <a:gd name="T2" fmla="*/ 899 w 1247"/>
                <a:gd name="T3" fmla="*/ 1920 h 1926"/>
                <a:gd name="T4" fmla="*/ 903 w 1247"/>
                <a:gd name="T5" fmla="*/ 1904 h 1926"/>
                <a:gd name="T6" fmla="*/ 1069 w 1247"/>
                <a:gd name="T7" fmla="*/ 1808 h 1926"/>
                <a:gd name="T8" fmla="*/ 1215 w 1247"/>
                <a:gd name="T9" fmla="*/ 1470 h 1926"/>
                <a:gd name="T10" fmla="*/ 1223 w 1247"/>
                <a:gd name="T11" fmla="*/ 910 h 1926"/>
                <a:gd name="T12" fmla="*/ 980 w 1247"/>
                <a:gd name="T13" fmla="*/ 489 h 1926"/>
                <a:gd name="T14" fmla="*/ 180 w 1247"/>
                <a:gd name="T15" fmla="*/ 27 h 1926"/>
                <a:gd name="T16" fmla="*/ 20 w 1247"/>
                <a:gd name="T17" fmla="*/ 119 h 1926"/>
                <a:gd name="T18" fmla="*/ 4 w 1247"/>
                <a:gd name="T19" fmla="*/ 115 h 1926"/>
                <a:gd name="T20" fmla="*/ 8 w 1247"/>
                <a:gd name="T21" fmla="*/ 98 h 1926"/>
                <a:gd name="T22" fmla="*/ 174 w 1247"/>
                <a:gd name="T23" fmla="*/ 2 h 1926"/>
                <a:gd name="T24" fmla="*/ 186 w 1247"/>
                <a:gd name="T25" fmla="*/ 2 h 1926"/>
                <a:gd name="T26" fmla="*/ 997 w 1247"/>
                <a:gd name="T27" fmla="*/ 471 h 1926"/>
                <a:gd name="T28" fmla="*/ 1002 w 1247"/>
                <a:gd name="T29" fmla="*/ 479 h 1926"/>
                <a:gd name="T30" fmla="*/ 1243 w 1247"/>
                <a:gd name="T31" fmla="*/ 896 h 1926"/>
                <a:gd name="T32" fmla="*/ 1247 w 1247"/>
                <a:gd name="T33" fmla="*/ 905 h 1926"/>
                <a:gd name="T34" fmla="*/ 1239 w 1247"/>
                <a:gd name="T35" fmla="*/ 1470 h 1926"/>
                <a:gd name="T36" fmla="*/ 1081 w 1247"/>
                <a:gd name="T37" fmla="*/ 1829 h 1926"/>
                <a:gd name="T38" fmla="*/ 915 w 1247"/>
                <a:gd name="T39" fmla="*/ 1924 h 1926"/>
                <a:gd name="T40" fmla="*/ 909 w 1247"/>
                <a:gd name="T41" fmla="*/ 1926 h 1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47" h="1926">
                  <a:moveTo>
                    <a:pt x="909" y="1926"/>
                  </a:moveTo>
                  <a:cubicBezTo>
                    <a:pt x="905" y="1926"/>
                    <a:pt x="901" y="1924"/>
                    <a:pt x="899" y="1920"/>
                  </a:cubicBezTo>
                  <a:cubicBezTo>
                    <a:pt x="896" y="1914"/>
                    <a:pt x="898" y="1907"/>
                    <a:pt x="903" y="1904"/>
                  </a:cubicBezTo>
                  <a:cubicBezTo>
                    <a:pt x="1069" y="1808"/>
                    <a:pt x="1069" y="1808"/>
                    <a:pt x="1069" y="1808"/>
                  </a:cubicBezTo>
                  <a:cubicBezTo>
                    <a:pt x="1169" y="1750"/>
                    <a:pt x="1215" y="1643"/>
                    <a:pt x="1215" y="1470"/>
                  </a:cubicBezTo>
                  <a:cubicBezTo>
                    <a:pt x="1223" y="910"/>
                    <a:pt x="1223" y="910"/>
                    <a:pt x="1223" y="910"/>
                  </a:cubicBezTo>
                  <a:cubicBezTo>
                    <a:pt x="1104" y="805"/>
                    <a:pt x="1012" y="644"/>
                    <a:pt x="980" y="489"/>
                  </a:cubicBezTo>
                  <a:cubicBezTo>
                    <a:pt x="180" y="27"/>
                    <a:pt x="180" y="27"/>
                    <a:pt x="180" y="27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14" y="122"/>
                    <a:pt x="7" y="120"/>
                    <a:pt x="4" y="115"/>
                  </a:cubicBezTo>
                  <a:cubicBezTo>
                    <a:pt x="0" y="109"/>
                    <a:pt x="2" y="101"/>
                    <a:pt x="8" y="98"/>
                  </a:cubicBezTo>
                  <a:cubicBezTo>
                    <a:pt x="174" y="2"/>
                    <a:pt x="174" y="2"/>
                    <a:pt x="174" y="2"/>
                  </a:cubicBezTo>
                  <a:cubicBezTo>
                    <a:pt x="177" y="0"/>
                    <a:pt x="182" y="0"/>
                    <a:pt x="186" y="2"/>
                  </a:cubicBezTo>
                  <a:cubicBezTo>
                    <a:pt x="997" y="471"/>
                    <a:pt x="997" y="471"/>
                    <a:pt x="997" y="471"/>
                  </a:cubicBezTo>
                  <a:cubicBezTo>
                    <a:pt x="1000" y="472"/>
                    <a:pt x="1002" y="475"/>
                    <a:pt x="1002" y="479"/>
                  </a:cubicBezTo>
                  <a:cubicBezTo>
                    <a:pt x="1032" y="633"/>
                    <a:pt x="1125" y="793"/>
                    <a:pt x="1243" y="896"/>
                  </a:cubicBezTo>
                  <a:cubicBezTo>
                    <a:pt x="1246" y="898"/>
                    <a:pt x="1247" y="902"/>
                    <a:pt x="1247" y="905"/>
                  </a:cubicBezTo>
                  <a:cubicBezTo>
                    <a:pt x="1239" y="1470"/>
                    <a:pt x="1239" y="1470"/>
                    <a:pt x="1239" y="1470"/>
                  </a:cubicBezTo>
                  <a:cubicBezTo>
                    <a:pt x="1239" y="1652"/>
                    <a:pt x="1189" y="1767"/>
                    <a:pt x="1081" y="1829"/>
                  </a:cubicBezTo>
                  <a:cubicBezTo>
                    <a:pt x="915" y="1924"/>
                    <a:pt x="915" y="1924"/>
                    <a:pt x="915" y="1924"/>
                  </a:cubicBezTo>
                  <a:cubicBezTo>
                    <a:pt x="913" y="1925"/>
                    <a:pt x="911" y="1926"/>
                    <a:pt x="909" y="192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6" name="Freeform 2336">
              <a:extLst>
                <a:ext uri="{FF2B5EF4-FFF2-40B4-BE49-F238E27FC236}">
                  <a16:creationId xmlns:a16="http://schemas.microsoft.com/office/drawing/2014/main" id="{6A645040-F18D-4F64-ACBF-864E208258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1" y="3453"/>
              <a:ext cx="69" cy="33"/>
            </a:xfrm>
            <a:custGeom>
              <a:avLst/>
              <a:gdLst>
                <a:gd name="T0" fmla="*/ 13 w 250"/>
                <a:gd name="T1" fmla="*/ 120 h 120"/>
                <a:gd name="T2" fmla="*/ 3 w 250"/>
                <a:gd name="T3" fmla="*/ 114 h 120"/>
                <a:gd name="T4" fmla="*/ 7 w 250"/>
                <a:gd name="T5" fmla="*/ 98 h 120"/>
                <a:gd name="T6" fmla="*/ 173 w 250"/>
                <a:gd name="T7" fmla="*/ 2 h 120"/>
                <a:gd name="T8" fmla="*/ 182 w 250"/>
                <a:gd name="T9" fmla="*/ 1 h 120"/>
                <a:gd name="T10" fmla="*/ 238 w 250"/>
                <a:gd name="T11" fmla="*/ 10 h 120"/>
                <a:gd name="T12" fmla="*/ 249 w 250"/>
                <a:gd name="T13" fmla="*/ 23 h 120"/>
                <a:gd name="T14" fmla="*/ 237 w 250"/>
                <a:gd name="T15" fmla="*/ 34 h 120"/>
                <a:gd name="T16" fmla="*/ 181 w 250"/>
                <a:gd name="T17" fmla="*/ 25 h 120"/>
                <a:gd name="T18" fmla="*/ 19 w 250"/>
                <a:gd name="T19" fmla="*/ 118 h 120"/>
                <a:gd name="T20" fmla="*/ 13 w 250"/>
                <a:gd name="T2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120">
                  <a:moveTo>
                    <a:pt x="13" y="120"/>
                  </a:moveTo>
                  <a:cubicBezTo>
                    <a:pt x="9" y="120"/>
                    <a:pt x="5" y="118"/>
                    <a:pt x="3" y="114"/>
                  </a:cubicBezTo>
                  <a:cubicBezTo>
                    <a:pt x="0" y="108"/>
                    <a:pt x="2" y="101"/>
                    <a:pt x="7" y="98"/>
                  </a:cubicBezTo>
                  <a:cubicBezTo>
                    <a:pt x="173" y="2"/>
                    <a:pt x="173" y="2"/>
                    <a:pt x="173" y="2"/>
                  </a:cubicBezTo>
                  <a:cubicBezTo>
                    <a:pt x="176" y="0"/>
                    <a:pt x="179" y="0"/>
                    <a:pt x="182" y="1"/>
                  </a:cubicBezTo>
                  <a:cubicBezTo>
                    <a:pt x="201" y="6"/>
                    <a:pt x="220" y="9"/>
                    <a:pt x="238" y="10"/>
                  </a:cubicBezTo>
                  <a:cubicBezTo>
                    <a:pt x="245" y="10"/>
                    <a:pt x="250" y="16"/>
                    <a:pt x="249" y="23"/>
                  </a:cubicBezTo>
                  <a:cubicBezTo>
                    <a:pt x="249" y="29"/>
                    <a:pt x="244" y="34"/>
                    <a:pt x="237" y="34"/>
                  </a:cubicBezTo>
                  <a:cubicBezTo>
                    <a:pt x="218" y="33"/>
                    <a:pt x="199" y="30"/>
                    <a:pt x="181" y="25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17" y="119"/>
                    <a:pt x="15" y="120"/>
                    <a:pt x="13" y="120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7" name="Freeform 2337">
              <a:extLst>
                <a:ext uri="{FF2B5EF4-FFF2-40B4-BE49-F238E27FC236}">
                  <a16:creationId xmlns:a16="http://schemas.microsoft.com/office/drawing/2014/main" id="{1A597417-A5D0-4CE8-9196-502E42178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2" y="3542"/>
              <a:ext cx="54" cy="34"/>
            </a:xfrm>
            <a:custGeom>
              <a:avLst/>
              <a:gdLst>
                <a:gd name="T0" fmla="*/ 14 w 193"/>
                <a:gd name="T1" fmla="*/ 122 h 122"/>
                <a:gd name="T2" fmla="*/ 3 w 193"/>
                <a:gd name="T3" fmla="*/ 116 h 122"/>
                <a:gd name="T4" fmla="*/ 8 w 193"/>
                <a:gd name="T5" fmla="*/ 99 h 122"/>
                <a:gd name="T6" fmla="*/ 174 w 193"/>
                <a:gd name="T7" fmla="*/ 4 h 122"/>
                <a:gd name="T8" fmla="*/ 190 w 193"/>
                <a:gd name="T9" fmla="*/ 8 h 122"/>
                <a:gd name="T10" fmla="*/ 186 w 193"/>
                <a:gd name="T11" fmla="*/ 24 h 122"/>
                <a:gd name="T12" fmla="*/ 20 w 193"/>
                <a:gd name="T13" fmla="*/ 120 h 122"/>
                <a:gd name="T14" fmla="*/ 14 w 193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3" h="122">
                  <a:moveTo>
                    <a:pt x="14" y="122"/>
                  </a:moveTo>
                  <a:cubicBezTo>
                    <a:pt x="10" y="122"/>
                    <a:pt x="6" y="120"/>
                    <a:pt x="3" y="116"/>
                  </a:cubicBezTo>
                  <a:cubicBezTo>
                    <a:pt x="0" y="110"/>
                    <a:pt x="2" y="103"/>
                    <a:pt x="8" y="99"/>
                  </a:cubicBezTo>
                  <a:cubicBezTo>
                    <a:pt x="174" y="4"/>
                    <a:pt x="174" y="4"/>
                    <a:pt x="174" y="4"/>
                  </a:cubicBezTo>
                  <a:cubicBezTo>
                    <a:pt x="179" y="0"/>
                    <a:pt x="187" y="2"/>
                    <a:pt x="190" y="8"/>
                  </a:cubicBezTo>
                  <a:cubicBezTo>
                    <a:pt x="193" y="14"/>
                    <a:pt x="191" y="21"/>
                    <a:pt x="186" y="24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18" y="121"/>
                    <a:pt x="16" y="122"/>
                    <a:pt x="14" y="12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8" name="Freeform 2338">
              <a:extLst>
                <a:ext uri="{FF2B5EF4-FFF2-40B4-BE49-F238E27FC236}">
                  <a16:creationId xmlns:a16="http://schemas.microsoft.com/office/drawing/2014/main" id="{65BBD43B-6E93-4D56-A51A-47FDBE8A2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0" y="3659"/>
              <a:ext cx="53" cy="34"/>
            </a:xfrm>
            <a:custGeom>
              <a:avLst/>
              <a:gdLst>
                <a:gd name="T0" fmla="*/ 14 w 193"/>
                <a:gd name="T1" fmla="*/ 122 h 122"/>
                <a:gd name="T2" fmla="*/ 3 w 193"/>
                <a:gd name="T3" fmla="*/ 116 h 122"/>
                <a:gd name="T4" fmla="*/ 8 w 193"/>
                <a:gd name="T5" fmla="*/ 99 h 122"/>
                <a:gd name="T6" fmla="*/ 173 w 193"/>
                <a:gd name="T7" fmla="*/ 4 h 122"/>
                <a:gd name="T8" fmla="*/ 190 w 193"/>
                <a:gd name="T9" fmla="*/ 8 h 122"/>
                <a:gd name="T10" fmla="*/ 185 w 193"/>
                <a:gd name="T11" fmla="*/ 24 h 122"/>
                <a:gd name="T12" fmla="*/ 20 w 193"/>
                <a:gd name="T13" fmla="*/ 120 h 122"/>
                <a:gd name="T14" fmla="*/ 14 w 193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3" h="122">
                  <a:moveTo>
                    <a:pt x="14" y="122"/>
                  </a:moveTo>
                  <a:cubicBezTo>
                    <a:pt x="10" y="122"/>
                    <a:pt x="5" y="119"/>
                    <a:pt x="3" y="116"/>
                  </a:cubicBezTo>
                  <a:cubicBezTo>
                    <a:pt x="0" y="110"/>
                    <a:pt x="2" y="103"/>
                    <a:pt x="8" y="99"/>
                  </a:cubicBezTo>
                  <a:cubicBezTo>
                    <a:pt x="173" y="4"/>
                    <a:pt x="173" y="4"/>
                    <a:pt x="173" y="4"/>
                  </a:cubicBezTo>
                  <a:cubicBezTo>
                    <a:pt x="179" y="0"/>
                    <a:pt x="187" y="2"/>
                    <a:pt x="190" y="8"/>
                  </a:cubicBezTo>
                  <a:cubicBezTo>
                    <a:pt x="193" y="14"/>
                    <a:pt x="191" y="21"/>
                    <a:pt x="185" y="24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18" y="121"/>
                    <a:pt x="16" y="122"/>
                    <a:pt x="14" y="12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9" name="Freeform 2339">
              <a:extLst>
                <a:ext uri="{FF2B5EF4-FFF2-40B4-BE49-F238E27FC236}">
                  <a16:creationId xmlns:a16="http://schemas.microsoft.com/office/drawing/2014/main" id="{FA170618-FA55-42D2-B57E-8C1B5A0326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640"/>
              <a:ext cx="139" cy="217"/>
            </a:xfrm>
            <a:custGeom>
              <a:avLst/>
              <a:gdLst>
                <a:gd name="T0" fmla="*/ 465 w 501"/>
                <a:gd name="T1" fmla="*/ 785 h 785"/>
                <a:gd name="T2" fmla="*/ 440 w 501"/>
                <a:gd name="T3" fmla="*/ 777 h 785"/>
                <a:gd name="T4" fmla="*/ 49 w 501"/>
                <a:gd name="T5" fmla="*/ 552 h 785"/>
                <a:gd name="T6" fmla="*/ 0 w 501"/>
                <a:gd name="T7" fmla="*/ 467 h 785"/>
                <a:gd name="T8" fmla="*/ 0 w 501"/>
                <a:gd name="T9" fmla="*/ 45 h 785"/>
                <a:gd name="T10" fmla="*/ 19 w 501"/>
                <a:gd name="T11" fmla="*/ 7 h 785"/>
                <a:gd name="T12" fmla="*/ 61 w 501"/>
                <a:gd name="T13" fmla="*/ 10 h 785"/>
                <a:gd name="T14" fmla="*/ 452 w 501"/>
                <a:gd name="T15" fmla="*/ 235 h 785"/>
                <a:gd name="T16" fmla="*/ 501 w 501"/>
                <a:gd name="T17" fmla="*/ 321 h 785"/>
                <a:gd name="T18" fmla="*/ 501 w 501"/>
                <a:gd name="T19" fmla="*/ 742 h 785"/>
                <a:gd name="T20" fmla="*/ 482 w 501"/>
                <a:gd name="T21" fmla="*/ 781 h 785"/>
                <a:gd name="T22" fmla="*/ 465 w 501"/>
                <a:gd name="T23" fmla="*/ 785 h 785"/>
                <a:gd name="T24" fmla="*/ 36 w 501"/>
                <a:gd name="T25" fmla="*/ 26 h 785"/>
                <a:gd name="T26" fmla="*/ 31 w 501"/>
                <a:gd name="T27" fmla="*/ 28 h 785"/>
                <a:gd name="T28" fmla="*/ 24 w 501"/>
                <a:gd name="T29" fmla="*/ 45 h 785"/>
                <a:gd name="T30" fmla="*/ 24 w 501"/>
                <a:gd name="T31" fmla="*/ 467 h 785"/>
                <a:gd name="T32" fmla="*/ 61 w 501"/>
                <a:gd name="T33" fmla="*/ 531 h 785"/>
                <a:gd name="T34" fmla="*/ 452 w 501"/>
                <a:gd name="T35" fmla="*/ 757 h 785"/>
                <a:gd name="T36" fmla="*/ 470 w 501"/>
                <a:gd name="T37" fmla="*/ 760 h 785"/>
                <a:gd name="T38" fmla="*/ 477 w 501"/>
                <a:gd name="T39" fmla="*/ 742 h 785"/>
                <a:gd name="T40" fmla="*/ 477 w 501"/>
                <a:gd name="T41" fmla="*/ 321 h 785"/>
                <a:gd name="T42" fmla="*/ 440 w 501"/>
                <a:gd name="T43" fmla="*/ 256 h 785"/>
                <a:gd name="T44" fmla="*/ 49 w 501"/>
                <a:gd name="T45" fmla="*/ 31 h 785"/>
                <a:gd name="T46" fmla="*/ 36 w 501"/>
                <a:gd name="T47" fmla="*/ 26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1" h="785">
                  <a:moveTo>
                    <a:pt x="465" y="785"/>
                  </a:moveTo>
                  <a:cubicBezTo>
                    <a:pt x="457" y="785"/>
                    <a:pt x="448" y="782"/>
                    <a:pt x="440" y="777"/>
                  </a:cubicBezTo>
                  <a:cubicBezTo>
                    <a:pt x="49" y="552"/>
                    <a:pt x="49" y="552"/>
                    <a:pt x="49" y="552"/>
                  </a:cubicBezTo>
                  <a:cubicBezTo>
                    <a:pt x="22" y="536"/>
                    <a:pt x="0" y="498"/>
                    <a:pt x="0" y="467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8"/>
                    <a:pt x="7" y="14"/>
                    <a:pt x="19" y="7"/>
                  </a:cubicBezTo>
                  <a:cubicBezTo>
                    <a:pt x="31" y="0"/>
                    <a:pt x="46" y="1"/>
                    <a:pt x="61" y="10"/>
                  </a:cubicBezTo>
                  <a:cubicBezTo>
                    <a:pt x="452" y="235"/>
                    <a:pt x="452" y="235"/>
                    <a:pt x="452" y="235"/>
                  </a:cubicBezTo>
                  <a:cubicBezTo>
                    <a:pt x="480" y="251"/>
                    <a:pt x="501" y="289"/>
                    <a:pt x="501" y="321"/>
                  </a:cubicBezTo>
                  <a:cubicBezTo>
                    <a:pt x="501" y="742"/>
                    <a:pt x="501" y="742"/>
                    <a:pt x="501" y="742"/>
                  </a:cubicBezTo>
                  <a:cubicBezTo>
                    <a:pt x="501" y="760"/>
                    <a:pt x="494" y="774"/>
                    <a:pt x="482" y="781"/>
                  </a:cubicBezTo>
                  <a:cubicBezTo>
                    <a:pt x="477" y="783"/>
                    <a:pt x="471" y="785"/>
                    <a:pt x="465" y="785"/>
                  </a:cubicBezTo>
                  <a:close/>
                  <a:moveTo>
                    <a:pt x="36" y="26"/>
                  </a:moveTo>
                  <a:cubicBezTo>
                    <a:pt x="34" y="26"/>
                    <a:pt x="32" y="27"/>
                    <a:pt x="31" y="28"/>
                  </a:cubicBezTo>
                  <a:cubicBezTo>
                    <a:pt x="26" y="30"/>
                    <a:pt x="24" y="37"/>
                    <a:pt x="24" y="45"/>
                  </a:cubicBezTo>
                  <a:cubicBezTo>
                    <a:pt x="24" y="467"/>
                    <a:pt x="24" y="467"/>
                    <a:pt x="24" y="467"/>
                  </a:cubicBezTo>
                  <a:cubicBezTo>
                    <a:pt x="24" y="490"/>
                    <a:pt x="41" y="519"/>
                    <a:pt x="61" y="531"/>
                  </a:cubicBezTo>
                  <a:cubicBezTo>
                    <a:pt x="452" y="757"/>
                    <a:pt x="452" y="757"/>
                    <a:pt x="452" y="757"/>
                  </a:cubicBezTo>
                  <a:cubicBezTo>
                    <a:pt x="459" y="761"/>
                    <a:pt x="466" y="762"/>
                    <a:pt x="470" y="760"/>
                  </a:cubicBezTo>
                  <a:cubicBezTo>
                    <a:pt x="475" y="757"/>
                    <a:pt x="477" y="751"/>
                    <a:pt x="477" y="742"/>
                  </a:cubicBezTo>
                  <a:cubicBezTo>
                    <a:pt x="477" y="321"/>
                    <a:pt x="477" y="321"/>
                    <a:pt x="477" y="321"/>
                  </a:cubicBezTo>
                  <a:cubicBezTo>
                    <a:pt x="477" y="297"/>
                    <a:pt x="460" y="268"/>
                    <a:pt x="440" y="256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4" y="28"/>
                    <a:pt x="40" y="26"/>
                    <a:pt x="36" y="2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0" name="Freeform 2340">
              <a:extLst>
                <a:ext uri="{FF2B5EF4-FFF2-40B4-BE49-F238E27FC236}">
                  <a16:creationId xmlns:a16="http://schemas.microsoft.com/office/drawing/2014/main" id="{D0280E36-8FCC-48C8-8DB1-176365F24C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3" y="3719"/>
              <a:ext cx="32" cy="40"/>
            </a:xfrm>
            <a:custGeom>
              <a:avLst/>
              <a:gdLst>
                <a:gd name="T0" fmla="*/ 79 w 117"/>
                <a:gd name="T1" fmla="*/ 145 h 145"/>
                <a:gd name="T2" fmla="*/ 53 w 117"/>
                <a:gd name="T3" fmla="*/ 137 h 145"/>
                <a:gd name="T4" fmla="*/ 0 w 117"/>
                <a:gd name="T5" fmla="*/ 47 h 145"/>
                <a:gd name="T6" fmla="*/ 20 w 117"/>
                <a:gd name="T7" fmla="*/ 7 h 145"/>
                <a:gd name="T8" fmla="*/ 65 w 117"/>
                <a:gd name="T9" fmla="*/ 10 h 145"/>
                <a:gd name="T10" fmla="*/ 117 w 117"/>
                <a:gd name="T11" fmla="*/ 100 h 145"/>
                <a:gd name="T12" fmla="*/ 97 w 117"/>
                <a:gd name="T13" fmla="*/ 141 h 145"/>
                <a:gd name="T14" fmla="*/ 79 w 117"/>
                <a:gd name="T15" fmla="*/ 145 h 145"/>
                <a:gd name="T16" fmla="*/ 38 w 117"/>
                <a:gd name="T17" fmla="*/ 26 h 145"/>
                <a:gd name="T18" fmla="*/ 32 w 117"/>
                <a:gd name="T19" fmla="*/ 28 h 145"/>
                <a:gd name="T20" fmla="*/ 24 w 117"/>
                <a:gd name="T21" fmla="*/ 47 h 145"/>
                <a:gd name="T22" fmla="*/ 65 w 117"/>
                <a:gd name="T23" fmla="*/ 116 h 145"/>
                <a:gd name="T24" fmla="*/ 85 w 117"/>
                <a:gd name="T25" fmla="*/ 120 h 145"/>
                <a:gd name="T26" fmla="*/ 93 w 117"/>
                <a:gd name="T27" fmla="*/ 100 h 145"/>
                <a:gd name="T28" fmla="*/ 53 w 117"/>
                <a:gd name="T29" fmla="*/ 31 h 145"/>
                <a:gd name="T30" fmla="*/ 38 w 117"/>
                <a:gd name="T31" fmla="*/ 2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45">
                  <a:moveTo>
                    <a:pt x="79" y="145"/>
                  </a:moveTo>
                  <a:cubicBezTo>
                    <a:pt x="71" y="145"/>
                    <a:pt x="62" y="143"/>
                    <a:pt x="53" y="137"/>
                  </a:cubicBezTo>
                  <a:cubicBezTo>
                    <a:pt x="23" y="120"/>
                    <a:pt x="0" y="81"/>
                    <a:pt x="0" y="47"/>
                  </a:cubicBezTo>
                  <a:cubicBezTo>
                    <a:pt x="0" y="28"/>
                    <a:pt x="7" y="14"/>
                    <a:pt x="20" y="7"/>
                  </a:cubicBezTo>
                  <a:cubicBezTo>
                    <a:pt x="32" y="0"/>
                    <a:pt x="48" y="1"/>
                    <a:pt x="65" y="10"/>
                  </a:cubicBezTo>
                  <a:cubicBezTo>
                    <a:pt x="94" y="27"/>
                    <a:pt x="117" y="67"/>
                    <a:pt x="117" y="100"/>
                  </a:cubicBezTo>
                  <a:cubicBezTo>
                    <a:pt x="117" y="119"/>
                    <a:pt x="110" y="133"/>
                    <a:pt x="97" y="141"/>
                  </a:cubicBezTo>
                  <a:cubicBezTo>
                    <a:pt x="92" y="144"/>
                    <a:pt x="86" y="145"/>
                    <a:pt x="79" y="145"/>
                  </a:cubicBezTo>
                  <a:close/>
                  <a:moveTo>
                    <a:pt x="38" y="26"/>
                  </a:moveTo>
                  <a:cubicBezTo>
                    <a:pt x="36" y="26"/>
                    <a:pt x="34" y="27"/>
                    <a:pt x="32" y="28"/>
                  </a:cubicBezTo>
                  <a:cubicBezTo>
                    <a:pt x="27" y="30"/>
                    <a:pt x="24" y="37"/>
                    <a:pt x="24" y="47"/>
                  </a:cubicBezTo>
                  <a:cubicBezTo>
                    <a:pt x="24" y="72"/>
                    <a:pt x="43" y="104"/>
                    <a:pt x="65" y="116"/>
                  </a:cubicBezTo>
                  <a:cubicBezTo>
                    <a:pt x="73" y="121"/>
                    <a:pt x="80" y="123"/>
                    <a:pt x="85" y="120"/>
                  </a:cubicBezTo>
                  <a:cubicBezTo>
                    <a:pt x="90" y="117"/>
                    <a:pt x="93" y="110"/>
                    <a:pt x="93" y="100"/>
                  </a:cubicBezTo>
                  <a:cubicBezTo>
                    <a:pt x="93" y="75"/>
                    <a:pt x="74" y="43"/>
                    <a:pt x="53" y="31"/>
                  </a:cubicBezTo>
                  <a:cubicBezTo>
                    <a:pt x="47" y="28"/>
                    <a:pt x="42" y="26"/>
                    <a:pt x="38" y="2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1" name="Freeform 2341">
              <a:extLst>
                <a:ext uri="{FF2B5EF4-FFF2-40B4-BE49-F238E27FC236}">
                  <a16:creationId xmlns:a16="http://schemas.microsoft.com/office/drawing/2014/main" id="{B268E83E-19C7-4F4B-BCCC-74AB37084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6" y="3553"/>
              <a:ext cx="106" cy="156"/>
            </a:xfrm>
            <a:custGeom>
              <a:avLst/>
              <a:gdLst>
                <a:gd name="T0" fmla="*/ 371 w 383"/>
                <a:gd name="T1" fmla="*/ 562 h 562"/>
                <a:gd name="T2" fmla="*/ 359 w 383"/>
                <a:gd name="T3" fmla="*/ 550 h 562"/>
                <a:gd name="T4" fmla="*/ 359 w 383"/>
                <a:gd name="T5" fmla="*/ 355 h 562"/>
                <a:gd name="T6" fmla="*/ 186 w 383"/>
                <a:gd name="T7" fmla="*/ 55 h 562"/>
                <a:gd name="T8" fmla="*/ 71 w 383"/>
                <a:gd name="T9" fmla="*/ 42 h 562"/>
                <a:gd name="T10" fmla="*/ 24 w 383"/>
                <a:gd name="T11" fmla="*/ 148 h 562"/>
                <a:gd name="T12" fmla="*/ 24 w 383"/>
                <a:gd name="T13" fmla="*/ 344 h 562"/>
                <a:gd name="T14" fmla="*/ 12 w 383"/>
                <a:gd name="T15" fmla="*/ 356 h 562"/>
                <a:gd name="T16" fmla="*/ 0 w 383"/>
                <a:gd name="T17" fmla="*/ 344 h 562"/>
                <a:gd name="T18" fmla="*/ 0 w 383"/>
                <a:gd name="T19" fmla="*/ 148 h 562"/>
                <a:gd name="T20" fmla="*/ 59 w 383"/>
                <a:gd name="T21" fmla="*/ 22 h 562"/>
                <a:gd name="T22" fmla="*/ 198 w 383"/>
                <a:gd name="T23" fmla="*/ 34 h 562"/>
                <a:gd name="T24" fmla="*/ 383 w 383"/>
                <a:gd name="T25" fmla="*/ 355 h 562"/>
                <a:gd name="T26" fmla="*/ 383 w 383"/>
                <a:gd name="T27" fmla="*/ 550 h 562"/>
                <a:gd name="T28" fmla="*/ 371 w 383"/>
                <a:gd name="T29" fmla="*/ 562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3" h="562">
                  <a:moveTo>
                    <a:pt x="371" y="562"/>
                  </a:moveTo>
                  <a:cubicBezTo>
                    <a:pt x="364" y="562"/>
                    <a:pt x="359" y="557"/>
                    <a:pt x="359" y="550"/>
                  </a:cubicBezTo>
                  <a:cubicBezTo>
                    <a:pt x="359" y="355"/>
                    <a:pt x="359" y="355"/>
                    <a:pt x="359" y="355"/>
                  </a:cubicBezTo>
                  <a:cubicBezTo>
                    <a:pt x="359" y="245"/>
                    <a:pt x="281" y="110"/>
                    <a:pt x="186" y="55"/>
                  </a:cubicBezTo>
                  <a:cubicBezTo>
                    <a:pt x="142" y="30"/>
                    <a:pt x="101" y="25"/>
                    <a:pt x="71" y="42"/>
                  </a:cubicBezTo>
                  <a:cubicBezTo>
                    <a:pt x="41" y="60"/>
                    <a:pt x="24" y="97"/>
                    <a:pt x="24" y="148"/>
                  </a:cubicBezTo>
                  <a:cubicBezTo>
                    <a:pt x="24" y="344"/>
                    <a:pt x="24" y="344"/>
                    <a:pt x="24" y="344"/>
                  </a:cubicBezTo>
                  <a:cubicBezTo>
                    <a:pt x="24" y="350"/>
                    <a:pt x="19" y="356"/>
                    <a:pt x="12" y="356"/>
                  </a:cubicBezTo>
                  <a:cubicBezTo>
                    <a:pt x="6" y="356"/>
                    <a:pt x="0" y="350"/>
                    <a:pt x="0" y="344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8"/>
                    <a:pt x="21" y="43"/>
                    <a:pt x="59" y="22"/>
                  </a:cubicBezTo>
                  <a:cubicBezTo>
                    <a:pt x="97" y="0"/>
                    <a:pt x="146" y="4"/>
                    <a:pt x="198" y="34"/>
                  </a:cubicBezTo>
                  <a:cubicBezTo>
                    <a:pt x="300" y="93"/>
                    <a:pt x="383" y="237"/>
                    <a:pt x="383" y="355"/>
                  </a:cubicBezTo>
                  <a:cubicBezTo>
                    <a:pt x="383" y="550"/>
                    <a:pt x="383" y="550"/>
                    <a:pt x="383" y="550"/>
                  </a:cubicBezTo>
                  <a:cubicBezTo>
                    <a:pt x="383" y="557"/>
                    <a:pt x="377" y="562"/>
                    <a:pt x="371" y="56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2" name="Freeform 2342">
              <a:extLst>
                <a:ext uri="{FF2B5EF4-FFF2-40B4-BE49-F238E27FC236}">
                  <a16:creationId xmlns:a16="http://schemas.microsoft.com/office/drawing/2014/main" id="{4DA73E18-0BD3-46A7-AA34-183014AE7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6" y="3579"/>
              <a:ext cx="67" cy="119"/>
            </a:xfrm>
            <a:custGeom>
              <a:avLst/>
              <a:gdLst>
                <a:gd name="T0" fmla="*/ 231 w 243"/>
                <a:gd name="T1" fmla="*/ 430 h 430"/>
                <a:gd name="T2" fmla="*/ 219 w 243"/>
                <a:gd name="T3" fmla="*/ 418 h 430"/>
                <a:gd name="T4" fmla="*/ 219 w 243"/>
                <a:gd name="T5" fmla="*/ 223 h 430"/>
                <a:gd name="T6" fmla="*/ 116 w 243"/>
                <a:gd name="T7" fmla="*/ 43 h 430"/>
                <a:gd name="T8" fmla="*/ 50 w 243"/>
                <a:gd name="T9" fmla="*/ 35 h 430"/>
                <a:gd name="T10" fmla="*/ 24 w 243"/>
                <a:gd name="T11" fmla="*/ 96 h 430"/>
                <a:gd name="T12" fmla="*/ 24 w 243"/>
                <a:gd name="T13" fmla="*/ 292 h 430"/>
                <a:gd name="T14" fmla="*/ 12 w 243"/>
                <a:gd name="T15" fmla="*/ 304 h 430"/>
                <a:gd name="T16" fmla="*/ 0 w 243"/>
                <a:gd name="T17" fmla="*/ 292 h 430"/>
                <a:gd name="T18" fmla="*/ 0 w 243"/>
                <a:gd name="T19" fmla="*/ 96 h 430"/>
                <a:gd name="T20" fmla="*/ 38 w 243"/>
                <a:gd name="T21" fmla="*/ 14 h 430"/>
                <a:gd name="T22" fmla="*/ 128 w 243"/>
                <a:gd name="T23" fmla="*/ 22 h 430"/>
                <a:gd name="T24" fmla="*/ 243 w 243"/>
                <a:gd name="T25" fmla="*/ 223 h 430"/>
                <a:gd name="T26" fmla="*/ 243 w 243"/>
                <a:gd name="T27" fmla="*/ 418 h 430"/>
                <a:gd name="T28" fmla="*/ 231 w 243"/>
                <a:gd name="T29" fmla="*/ 43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3" h="430">
                  <a:moveTo>
                    <a:pt x="231" y="430"/>
                  </a:moveTo>
                  <a:cubicBezTo>
                    <a:pt x="225" y="430"/>
                    <a:pt x="219" y="425"/>
                    <a:pt x="219" y="418"/>
                  </a:cubicBezTo>
                  <a:cubicBezTo>
                    <a:pt x="219" y="223"/>
                    <a:pt x="219" y="223"/>
                    <a:pt x="219" y="223"/>
                  </a:cubicBezTo>
                  <a:cubicBezTo>
                    <a:pt x="219" y="157"/>
                    <a:pt x="173" y="76"/>
                    <a:pt x="116" y="43"/>
                  </a:cubicBezTo>
                  <a:cubicBezTo>
                    <a:pt x="90" y="28"/>
                    <a:pt x="67" y="26"/>
                    <a:pt x="50" y="35"/>
                  </a:cubicBezTo>
                  <a:cubicBezTo>
                    <a:pt x="33" y="45"/>
                    <a:pt x="24" y="67"/>
                    <a:pt x="24" y="96"/>
                  </a:cubicBezTo>
                  <a:cubicBezTo>
                    <a:pt x="24" y="292"/>
                    <a:pt x="24" y="292"/>
                    <a:pt x="24" y="292"/>
                  </a:cubicBezTo>
                  <a:cubicBezTo>
                    <a:pt x="24" y="298"/>
                    <a:pt x="18" y="304"/>
                    <a:pt x="12" y="304"/>
                  </a:cubicBezTo>
                  <a:cubicBezTo>
                    <a:pt x="5" y="304"/>
                    <a:pt x="0" y="298"/>
                    <a:pt x="0" y="292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58"/>
                    <a:pt x="13" y="29"/>
                    <a:pt x="38" y="14"/>
                  </a:cubicBezTo>
                  <a:cubicBezTo>
                    <a:pt x="62" y="0"/>
                    <a:pt x="94" y="3"/>
                    <a:pt x="128" y="22"/>
                  </a:cubicBezTo>
                  <a:cubicBezTo>
                    <a:pt x="191" y="59"/>
                    <a:pt x="243" y="149"/>
                    <a:pt x="243" y="223"/>
                  </a:cubicBezTo>
                  <a:cubicBezTo>
                    <a:pt x="243" y="418"/>
                    <a:pt x="243" y="418"/>
                    <a:pt x="243" y="418"/>
                  </a:cubicBezTo>
                  <a:cubicBezTo>
                    <a:pt x="243" y="425"/>
                    <a:pt x="238" y="430"/>
                    <a:pt x="231" y="430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3" name="Freeform 2343">
              <a:extLst>
                <a:ext uri="{FF2B5EF4-FFF2-40B4-BE49-F238E27FC236}">
                  <a16:creationId xmlns:a16="http://schemas.microsoft.com/office/drawing/2014/main" id="{2D7BC903-B75A-4C04-A0A9-A08823DA6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6" y="3751"/>
              <a:ext cx="7" cy="27"/>
            </a:xfrm>
            <a:custGeom>
              <a:avLst/>
              <a:gdLst>
                <a:gd name="T0" fmla="*/ 12 w 24"/>
                <a:gd name="T1" fmla="*/ 100 h 100"/>
                <a:gd name="T2" fmla="*/ 0 w 24"/>
                <a:gd name="T3" fmla="*/ 88 h 100"/>
                <a:gd name="T4" fmla="*/ 0 w 24"/>
                <a:gd name="T5" fmla="*/ 12 h 100"/>
                <a:gd name="T6" fmla="*/ 12 w 24"/>
                <a:gd name="T7" fmla="*/ 0 h 100"/>
                <a:gd name="T8" fmla="*/ 24 w 24"/>
                <a:gd name="T9" fmla="*/ 12 h 100"/>
                <a:gd name="T10" fmla="*/ 24 w 24"/>
                <a:gd name="T11" fmla="*/ 88 h 100"/>
                <a:gd name="T12" fmla="*/ 12 w 24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00">
                  <a:moveTo>
                    <a:pt x="12" y="100"/>
                  </a:moveTo>
                  <a:cubicBezTo>
                    <a:pt x="5" y="100"/>
                    <a:pt x="0" y="95"/>
                    <a:pt x="0" y="88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4" y="5"/>
                    <a:pt x="24" y="12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95"/>
                    <a:pt x="18" y="100"/>
                    <a:pt x="12" y="100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4" name="Freeform 2344">
              <a:extLst>
                <a:ext uri="{FF2B5EF4-FFF2-40B4-BE49-F238E27FC236}">
                  <a16:creationId xmlns:a16="http://schemas.microsoft.com/office/drawing/2014/main" id="{6F136CE0-AD87-4991-BC9D-76CFC4D2EC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" y="3430"/>
              <a:ext cx="21" cy="66"/>
            </a:xfrm>
            <a:custGeom>
              <a:avLst/>
              <a:gdLst>
                <a:gd name="T0" fmla="*/ 21 w 21"/>
                <a:gd name="T1" fmla="*/ 0 h 66"/>
                <a:gd name="T2" fmla="*/ 21 w 21"/>
                <a:gd name="T3" fmla="*/ 54 h 66"/>
                <a:gd name="T4" fmla="*/ 0 w 21"/>
                <a:gd name="T5" fmla="*/ 66 h 66"/>
                <a:gd name="T6" fmla="*/ 0 w 21"/>
                <a:gd name="T7" fmla="*/ 12 h 66"/>
                <a:gd name="T8" fmla="*/ 21 w 21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66">
                  <a:moveTo>
                    <a:pt x="21" y="0"/>
                  </a:moveTo>
                  <a:lnTo>
                    <a:pt x="21" y="54"/>
                  </a:lnTo>
                  <a:lnTo>
                    <a:pt x="0" y="66"/>
                  </a:lnTo>
                  <a:lnTo>
                    <a:pt x="0" y="12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5" name="Freeform 2345">
              <a:extLst>
                <a:ext uri="{FF2B5EF4-FFF2-40B4-BE49-F238E27FC236}">
                  <a16:creationId xmlns:a16="http://schemas.microsoft.com/office/drawing/2014/main" id="{EC64D230-42AB-4C29-852F-7729CB683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0" y="3409"/>
              <a:ext cx="59" cy="33"/>
            </a:xfrm>
            <a:custGeom>
              <a:avLst/>
              <a:gdLst>
                <a:gd name="T0" fmla="*/ 59 w 59"/>
                <a:gd name="T1" fmla="*/ 21 h 33"/>
                <a:gd name="T2" fmla="*/ 38 w 59"/>
                <a:gd name="T3" fmla="*/ 33 h 33"/>
                <a:gd name="T4" fmla="*/ 0 w 59"/>
                <a:gd name="T5" fmla="*/ 12 h 33"/>
                <a:gd name="T6" fmla="*/ 21 w 59"/>
                <a:gd name="T7" fmla="*/ 0 h 33"/>
                <a:gd name="T8" fmla="*/ 59 w 59"/>
                <a:gd name="T9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33">
                  <a:moveTo>
                    <a:pt x="59" y="21"/>
                  </a:moveTo>
                  <a:lnTo>
                    <a:pt x="38" y="33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59" y="21"/>
                  </a:lnTo>
                  <a:close/>
                </a:path>
              </a:pathLst>
            </a:custGeom>
            <a:solidFill>
              <a:srgbClr val="DAE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6" name="Freeform 2346">
              <a:extLst>
                <a:ext uri="{FF2B5EF4-FFF2-40B4-BE49-F238E27FC236}">
                  <a16:creationId xmlns:a16="http://schemas.microsoft.com/office/drawing/2014/main" id="{AE6C6F43-FC3F-45B8-AE85-D8F4E0C3E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0" y="3421"/>
              <a:ext cx="38" cy="75"/>
            </a:xfrm>
            <a:custGeom>
              <a:avLst/>
              <a:gdLst>
                <a:gd name="T0" fmla="*/ 38 w 38"/>
                <a:gd name="T1" fmla="*/ 21 h 75"/>
                <a:gd name="T2" fmla="*/ 38 w 38"/>
                <a:gd name="T3" fmla="*/ 75 h 75"/>
                <a:gd name="T4" fmla="*/ 0 w 38"/>
                <a:gd name="T5" fmla="*/ 53 h 75"/>
                <a:gd name="T6" fmla="*/ 0 w 38"/>
                <a:gd name="T7" fmla="*/ 0 h 75"/>
                <a:gd name="T8" fmla="*/ 38 w 38"/>
                <a:gd name="T9" fmla="*/ 2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75">
                  <a:moveTo>
                    <a:pt x="38" y="21"/>
                  </a:moveTo>
                  <a:lnTo>
                    <a:pt x="38" y="75"/>
                  </a:lnTo>
                  <a:lnTo>
                    <a:pt x="0" y="53"/>
                  </a:lnTo>
                  <a:lnTo>
                    <a:pt x="0" y="0"/>
                  </a:lnTo>
                  <a:lnTo>
                    <a:pt x="3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7" name="Freeform 2347">
              <a:extLst>
                <a:ext uri="{FF2B5EF4-FFF2-40B4-BE49-F238E27FC236}">
                  <a16:creationId xmlns:a16="http://schemas.microsoft.com/office/drawing/2014/main" id="{E20FF8E1-7C95-4A5A-8DAE-F26AE2F5CE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9" y="3383"/>
              <a:ext cx="41" cy="117"/>
            </a:xfrm>
            <a:custGeom>
              <a:avLst/>
              <a:gdLst>
                <a:gd name="T0" fmla="*/ 41 w 41"/>
                <a:gd name="T1" fmla="*/ 0 h 117"/>
                <a:gd name="T2" fmla="*/ 41 w 41"/>
                <a:gd name="T3" fmla="*/ 31 h 117"/>
                <a:gd name="T4" fmla="*/ 32 w 41"/>
                <a:gd name="T5" fmla="*/ 26 h 117"/>
                <a:gd name="T6" fmla="*/ 11 w 41"/>
                <a:gd name="T7" fmla="*/ 38 h 117"/>
                <a:gd name="T8" fmla="*/ 11 w 41"/>
                <a:gd name="T9" fmla="*/ 91 h 117"/>
                <a:gd name="T10" fmla="*/ 28 w 41"/>
                <a:gd name="T11" fmla="*/ 101 h 117"/>
                <a:gd name="T12" fmla="*/ 0 w 41"/>
                <a:gd name="T13" fmla="*/ 117 h 117"/>
                <a:gd name="T14" fmla="*/ 0 w 41"/>
                <a:gd name="T15" fmla="*/ 24 h 117"/>
                <a:gd name="T16" fmla="*/ 41 w 41"/>
                <a:gd name="T1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117">
                  <a:moveTo>
                    <a:pt x="41" y="0"/>
                  </a:moveTo>
                  <a:lnTo>
                    <a:pt x="41" y="31"/>
                  </a:lnTo>
                  <a:lnTo>
                    <a:pt x="32" y="26"/>
                  </a:lnTo>
                  <a:lnTo>
                    <a:pt x="11" y="38"/>
                  </a:lnTo>
                  <a:lnTo>
                    <a:pt x="11" y="91"/>
                  </a:lnTo>
                  <a:lnTo>
                    <a:pt x="28" y="101"/>
                  </a:lnTo>
                  <a:lnTo>
                    <a:pt x="0" y="117"/>
                  </a:lnTo>
                  <a:lnTo>
                    <a:pt x="0" y="24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8" name="Freeform 2348">
              <a:extLst>
                <a:ext uri="{FF2B5EF4-FFF2-40B4-BE49-F238E27FC236}">
                  <a16:creationId xmlns:a16="http://schemas.microsoft.com/office/drawing/2014/main" id="{8EEE6454-7CA3-4854-AA3E-2450D7228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6" y="3285"/>
              <a:ext cx="224" cy="122"/>
            </a:xfrm>
            <a:custGeom>
              <a:avLst/>
              <a:gdLst>
                <a:gd name="T0" fmla="*/ 811 w 811"/>
                <a:gd name="T1" fmla="*/ 355 h 441"/>
                <a:gd name="T2" fmla="*/ 662 w 811"/>
                <a:gd name="T3" fmla="*/ 441 h 441"/>
                <a:gd name="T4" fmla="*/ 81 w 811"/>
                <a:gd name="T5" fmla="*/ 105 h 441"/>
                <a:gd name="T6" fmla="*/ 30 w 811"/>
                <a:gd name="T7" fmla="*/ 90 h 441"/>
                <a:gd name="T8" fmla="*/ 0 w 811"/>
                <a:gd name="T9" fmla="*/ 98 h 441"/>
                <a:gd name="T10" fmla="*/ 146 w 811"/>
                <a:gd name="T11" fmla="*/ 13 h 441"/>
                <a:gd name="T12" fmla="*/ 229 w 811"/>
                <a:gd name="T13" fmla="*/ 20 h 441"/>
                <a:gd name="T14" fmla="*/ 811 w 811"/>
                <a:gd name="T15" fmla="*/ 355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1" h="441">
                  <a:moveTo>
                    <a:pt x="811" y="355"/>
                  </a:moveTo>
                  <a:cubicBezTo>
                    <a:pt x="662" y="441"/>
                    <a:pt x="662" y="441"/>
                    <a:pt x="662" y="441"/>
                  </a:cubicBezTo>
                  <a:cubicBezTo>
                    <a:pt x="81" y="105"/>
                    <a:pt x="81" y="105"/>
                    <a:pt x="81" y="105"/>
                  </a:cubicBezTo>
                  <a:cubicBezTo>
                    <a:pt x="63" y="95"/>
                    <a:pt x="46" y="90"/>
                    <a:pt x="30" y="90"/>
                  </a:cubicBezTo>
                  <a:cubicBezTo>
                    <a:pt x="19" y="90"/>
                    <a:pt x="9" y="93"/>
                    <a:pt x="0" y="98"/>
                  </a:cubicBezTo>
                  <a:cubicBezTo>
                    <a:pt x="146" y="13"/>
                    <a:pt x="146" y="13"/>
                    <a:pt x="146" y="13"/>
                  </a:cubicBezTo>
                  <a:cubicBezTo>
                    <a:pt x="169" y="0"/>
                    <a:pt x="197" y="1"/>
                    <a:pt x="229" y="20"/>
                  </a:cubicBezTo>
                  <a:lnTo>
                    <a:pt x="811" y="355"/>
                  </a:lnTo>
                  <a:close/>
                </a:path>
              </a:pathLst>
            </a:custGeom>
            <a:solidFill>
              <a:srgbClr val="DAE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9" name="Freeform 2349">
              <a:extLst>
                <a:ext uri="{FF2B5EF4-FFF2-40B4-BE49-F238E27FC236}">
                  <a16:creationId xmlns:a16="http://schemas.microsoft.com/office/drawing/2014/main" id="{52EE220B-6867-44E8-A07A-23C1593606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3" y="3310"/>
              <a:ext cx="196" cy="190"/>
            </a:xfrm>
            <a:custGeom>
              <a:avLst/>
              <a:gdLst>
                <a:gd name="T0" fmla="*/ 708 w 708"/>
                <a:gd name="T1" fmla="*/ 351 h 689"/>
                <a:gd name="T2" fmla="*/ 708 w 708"/>
                <a:gd name="T3" fmla="*/ 689 h 689"/>
                <a:gd name="T4" fmla="*/ 127 w 708"/>
                <a:gd name="T5" fmla="*/ 353 h 689"/>
                <a:gd name="T6" fmla="*/ 0 w 708"/>
                <a:gd name="T7" fmla="*/ 111 h 689"/>
                <a:gd name="T8" fmla="*/ 44 w 708"/>
                <a:gd name="T9" fmla="*/ 9 h 689"/>
                <a:gd name="T10" fmla="*/ 46 w 708"/>
                <a:gd name="T11" fmla="*/ 8 h 689"/>
                <a:gd name="T12" fmla="*/ 76 w 708"/>
                <a:gd name="T13" fmla="*/ 0 h 689"/>
                <a:gd name="T14" fmla="*/ 127 w 708"/>
                <a:gd name="T15" fmla="*/ 15 h 689"/>
                <a:gd name="T16" fmla="*/ 708 w 708"/>
                <a:gd name="T17" fmla="*/ 351 h 689"/>
                <a:gd name="T18" fmla="*/ 468 w 708"/>
                <a:gd name="T19" fmla="*/ 434 h 689"/>
                <a:gd name="T20" fmla="*/ 494 w 708"/>
                <a:gd name="T21" fmla="*/ 396 h 689"/>
                <a:gd name="T22" fmla="*/ 451 w 708"/>
                <a:gd name="T23" fmla="*/ 314 h 689"/>
                <a:gd name="T24" fmla="*/ 184 w 708"/>
                <a:gd name="T25" fmla="*/ 160 h 689"/>
                <a:gd name="T26" fmla="*/ 167 w 708"/>
                <a:gd name="T27" fmla="*/ 155 h 689"/>
                <a:gd name="T28" fmla="*/ 141 w 708"/>
                <a:gd name="T29" fmla="*/ 193 h 689"/>
                <a:gd name="T30" fmla="*/ 184 w 708"/>
                <a:gd name="T31" fmla="*/ 275 h 689"/>
                <a:gd name="T32" fmla="*/ 451 w 708"/>
                <a:gd name="T33" fmla="*/ 429 h 689"/>
                <a:gd name="T34" fmla="*/ 468 w 708"/>
                <a:gd name="T35" fmla="*/ 434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08" h="689">
                  <a:moveTo>
                    <a:pt x="708" y="351"/>
                  </a:moveTo>
                  <a:cubicBezTo>
                    <a:pt x="708" y="689"/>
                    <a:pt x="708" y="689"/>
                    <a:pt x="708" y="689"/>
                  </a:cubicBezTo>
                  <a:cubicBezTo>
                    <a:pt x="127" y="353"/>
                    <a:pt x="127" y="353"/>
                    <a:pt x="127" y="353"/>
                  </a:cubicBezTo>
                  <a:cubicBezTo>
                    <a:pt x="57" y="313"/>
                    <a:pt x="0" y="204"/>
                    <a:pt x="0" y="111"/>
                  </a:cubicBezTo>
                  <a:cubicBezTo>
                    <a:pt x="0" y="85"/>
                    <a:pt x="5" y="63"/>
                    <a:pt x="44" y="9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55" y="3"/>
                    <a:pt x="65" y="0"/>
                    <a:pt x="76" y="0"/>
                  </a:cubicBezTo>
                  <a:cubicBezTo>
                    <a:pt x="92" y="0"/>
                    <a:pt x="109" y="5"/>
                    <a:pt x="127" y="15"/>
                  </a:cubicBezTo>
                  <a:lnTo>
                    <a:pt x="708" y="351"/>
                  </a:lnTo>
                  <a:close/>
                  <a:moveTo>
                    <a:pt x="468" y="434"/>
                  </a:moveTo>
                  <a:cubicBezTo>
                    <a:pt x="484" y="434"/>
                    <a:pt x="494" y="420"/>
                    <a:pt x="494" y="396"/>
                  </a:cubicBezTo>
                  <a:cubicBezTo>
                    <a:pt x="494" y="365"/>
                    <a:pt x="475" y="328"/>
                    <a:pt x="451" y="314"/>
                  </a:cubicBezTo>
                  <a:cubicBezTo>
                    <a:pt x="184" y="160"/>
                    <a:pt x="184" y="160"/>
                    <a:pt x="184" y="160"/>
                  </a:cubicBezTo>
                  <a:cubicBezTo>
                    <a:pt x="178" y="157"/>
                    <a:pt x="172" y="155"/>
                    <a:pt x="167" y="155"/>
                  </a:cubicBezTo>
                  <a:cubicBezTo>
                    <a:pt x="152" y="155"/>
                    <a:pt x="141" y="169"/>
                    <a:pt x="141" y="193"/>
                  </a:cubicBezTo>
                  <a:cubicBezTo>
                    <a:pt x="141" y="224"/>
                    <a:pt x="161" y="261"/>
                    <a:pt x="184" y="275"/>
                  </a:cubicBezTo>
                  <a:cubicBezTo>
                    <a:pt x="451" y="429"/>
                    <a:pt x="451" y="429"/>
                    <a:pt x="451" y="429"/>
                  </a:cubicBezTo>
                  <a:cubicBezTo>
                    <a:pt x="457" y="432"/>
                    <a:pt x="463" y="434"/>
                    <a:pt x="468" y="43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0" name="Freeform 2350">
              <a:extLst>
                <a:ext uri="{FF2B5EF4-FFF2-40B4-BE49-F238E27FC236}">
                  <a16:creationId xmlns:a16="http://schemas.microsoft.com/office/drawing/2014/main" id="{5B45C888-D523-4663-91A8-FCEEEAA43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" y="3353"/>
              <a:ext cx="98" cy="77"/>
            </a:xfrm>
            <a:custGeom>
              <a:avLst/>
              <a:gdLst>
                <a:gd name="T0" fmla="*/ 353 w 353"/>
                <a:gd name="T1" fmla="*/ 241 h 279"/>
                <a:gd name="T2" fmla="*/ 327 w 353"/>
                <a:gd name="T3" fmla="*/ 279 h 279"/>
                <a:gd name="T4" fmla="*/ 310 w 353"/>
                <a:gd name="T5" fmla="*/ 274 h 279"/>
                <a:gd name="T6" fmla="*/ 43 w 353"/>
                <a:gd name="T7" fmla="*/ 120 h 279"/>
                <a:gd name="T8" fmla="*/ 0 w 353"/>
                <a:gd name="T9" fmla="*/ 38 h 279"/>
                <a:gd name="T10" fmla="*/ 26 w 353"/>
                <a:gd name="T11" fmla="*/ 0 h 279"/>
                <a:gd name="T12" fmla="*/ 43 w 353"/>
                <a:gd name="T13" fmla="*/ 5 h 279"/>
                <a:gd name="T14" fmla="*/ 310 w 353"/>
                <a:gd name="T15" fmla="*/ 159 h 279"/>
                <a:gd name="T16" fmla="*/ 353 w 353"/>
                <a:gd name="T17" fmla="*/ 241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79">
                  <a:moveTo>
                    <a:pt x="353" y="241"/>
                  </a:moveTo>
                  <a:cubicBezTo>
                    <a:pt x="353" y="265"/>
                    <a:pt x="343" y="279"/>
                    <a:pt x="327" y="279"/>
                  </a:cubicBezTo>
                  <a:cubicBezTo>
                    <a:pt x="322" y="279"/>
                    <a:pt x="316" y="277"/>
                    <a:pt x="310" y="274"/>
                  </a:cubicBezTo>
                  <a:cubicBezTo>
                    <a:pt x="43" y="120"/>
                    <a:pt x="43" y="120"/>
                    <a:pt x="43" y="120"/>
                  </a:cubicBezTo>
                  <a:cubicBezTo>
                    <a:pt x="20" y="106"/>
                    <a:pt x="0" y="69"/>
                    <a:pt x="0" y="38"/>
                  </a:cubicBezTo>
                  <a:cubicBezTo>
                    <a:pt x="0" y="14"/>
                    <a:pt x="11" y="0"/>
                    <a:pt x="26" y="0"/>
                  </a:cubicBezTo>
                  <a:cubicBezTo>
                    <a:pt x="31" y="0"/>
                    <a:pt x="37" y="2"/>
                    <a:pt x="43" y="5"/>
                  </a:cubicBezTo>
                  <a:cubicBezTo>
                    <a:pt x="310" y="159"/>
                    <a:pt x="310" y="159"/>
                    <a:pt x="310" y="159"/>
                  </a:cubicBezTo>
                  <a:cubicBezTo>
                    <a:pt x="334" y="173"/>
                    <a:pt x="353" y="210"/>
                    <a:pt x="353" y="241"/>
                  </a:cubicBezTo>
                  <a:close/>
                </a:path>
              </a:pathLst>
            </a:custGeom>
            <a:solidFill>
              <a:srgbClr val="1BD7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1" name="Freeform 2351">
              <a:extLst>
                <a:ext uri="{FF2B5EF4-FFF2-40B4-BE49-F238E27FC236}">
                  <a16:creationId xmlns:a16="http://schemas.microsoft.com/office/drawing/2014/main" id="{E7B4132D-7FFC-48E8-B976-84BB81755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0" y="3305"/>
              <a:ext cx="202" cy="199"/>
            </a:xfrm>
            <a:custGeom>
              <a:avLst/>
              <a:gdLst>
                <a:gd name="T0" fmla="*/ 720 w 732"/>
                <a:gd name="T1" fmla="*/ 718 h 718"/>
                <a:gd name="T2" fmla="*/ 714 w 732"/>
                <a:gd name="T3" fmla="*/ 716 h 718"/>
                <a:gd name="T4" fmla="*/ 133 w 732"/>
                <a:gd name="T5" fmla="*/ 380 h 718"/>
                <a:gd name="T6" fmla="*/ 0 w 732"/>
                <a:gd name="T7" fmla="*/ 128 h 718"/>
                <a:gd name="T8" fmla="*/ 46 w 732"/>
                <a:gd name="T9" fmla="*/ 19 h 718"/>
                <a:gd name="T10" fmla="*/ 51 w 732"/>
                <a:gd name="T11" fmla="*/ 15 h 718"/>
                <a:gd name="T12" fmla="*/ 52 w 732"/>
                <a:gd name="T13" fmla="*/ 14 h 718"/>
                <a:gd name="T14" fmla="*/ 145 w 732"/>
                <a:gd name="T15" fmla="*/ 22 h 718"/>
                <a:gd name="T16" fmla="*/ 726 w 732"/>
                <a:gd name="T17" fmla="*/ 358 h 718"/>
                <a:gd name="T18" fmla="*/ 732 w 732"/>
                <a:gd name="T19" fmla="*/ 368 h 718"/>
                <a:gd name="T20" fmla="*/ 732 w 732"/>
                <a:gd name="T21" fmla="*/ 706 h 718"/>
                <a:gd name="T22" fmla="*/ 726 w 732"/>
                <a:gd name="T23" fmla="*/ 716 h 718"/>
                <a:gd name="T24" fmla="*/ 720 w 732"/>
                <a:gd name="T25" fmla="*/ 718 h 718"/>
                <a:gd name="T26" fmla="*/ 64 w 732"/>
                <a:gd name="T27" fmla="*/ 35 h 718"/>
                <a:gd name="T28" fmla="*/ 24 w 732"/>
                <a:gd name="T29" fmla="*/ 128 h 718"/>
                <a:gd name="T30" fmla="*/ 145 w 732"/>
                <a:gd name="T31" fmla="*/ 360 h 718"/>
                <a:gd name="T32" fmla="*/ 708 w 732"/>
                <a:gd name="T33" fmla="*/ 685 h 718"/>
                <a:gd name="T34" fmla="*/ 708 w 732"/>
                <a:gd name="T35" fmla="*/ 375 h 718"/>
                <a:gd name="T36" fmla="*/ 133 w 732"/>
                <a:gd name="T37" fmla="*/ 43 h 718"/>
                <a:gd name="T38" fmla="*/ 64 w 732"/>
                <a:gd name="T39" fmla="*/ 35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32" h="718">
                  <a:moveTo>
                    <a:pt x="720" y="718"/>
                  </a:moveTo>
                  <a:cubicBezTo>
                    <a:pt x="718" y="718"/>
                    <a:pt x="716" y="717"/>
                    <a:pt x="714" y="716"/>
                  </a:cubicBezTo>
                  <a:cubicBezTo>
                    <a:pt x="133" y="380"/>
                    <a:pt x="133" y="380"/>
                    <a:pt x="133" y="380"/>
                  </a:cubicBezTo>
                  <a:cubicBezTo>
                    <a:pt x="60" y="338"/>
                    <a:pt x="0" y="225"/>
                    <a:pt x="0" y="128"/>
                  </a:cubicBezTo>
                  <a:cubicBezTo>
                    <a:pt x="0" y="97"/>
                    <a:pt x="7" y="72"/>
                    <a:pt x="46" y="19"/>
                  </a:cubicBezTo>
                  <a:cubicBezTo>
                    <a:pt x="47" y="17"/>
                    <a:pt x="49" y="16"/>
                    <a:pt x="51" y="15"/>
                  </a:cubicBezTo>
                  <a:cubicBezTo>
                    <a:pt x="51" y="15"/>
                    <a:pt x="52" y="14"/>
                    <a:pt x="52" y="14"/>
                  </a:cubicBezTo>
                  <a:cubicBezTo>
                    <a:pt x="78" y="0"/>
                    <a:pt x="111" y="3"/>
                    <a:pt x="145" y="22"/>
                  </a:cubicBezTo>
                  <a:cubicBezTo>
                    <a:pt x="726" y="358"/>
                    <a:pt x="726" y="358"/>
                    <a:pt x="726" y="358"/>
                  </a:cubicBezTo>
                  <a:cubicBezTo>
                    <a:pt x="730" y="360"/>
                    <a:pt x="732" y="364"/>
                    <a:pt x="732" y="368"/>
                  </a:cubicBezTo>
                  <a:cubicBezTo>
                    <a:pt x="732" y="706"/>
                    <a:pt x="732" y="706"/>
                    <a:pt x="732" y="706"/>
                  </a:cubicBezTo>
                  <a:cubicBezTo>
                    <a:pt x="732" y="710"/>
                    <a:pt x="730" y="714"/>
                    <a:pt x="726" y="716"/>
                  </a:cubicBezTo>
                  <a:cubicBezTo>
                    <a:pt x="724" y="717"/>
                    <a:pt x="722" y="718"/>
                    <a:pt x="720" y="718"/>
                  </a:cubicBezTo>
                  <a:close/>
                  <a:moveTo>
                    <a:pt x="64" y="35"/>
                  </a:moveTo>
                  <a:cubicBezTo>
                    <a:pt x="27" y="86"/>
                    <a:pt x="24" y="106"/>
                    <a:pt x="24" y="128"/>
                  </a:cubicBezTo>
                  <a:cubicBezTo>
                    <a:pt x="24" y="217"/>
                    <a:pt x="78" y="321"/>
                    <a:pt x="145" y="360"/>
                  </a:cubicBezTo>
                  <a:cubicBezTo>
                    <a:pt x="708" y="685"/>
                    <a:pt x="708" y="685"/>
                    <a:pt x="708" y="685"/>
                  </a:cubicBezTo>
                  <a:cubicBezTo>
                    <a:pt x="708" y="375"/>
                    <a:pt x="708" y="375"/>
                    <a:pt x="708" y="375"/>
                  </a:cubicBezTo>
                  <a:cubicBezTo>
                    <a:pt x="133" y="43"/>
                    <a:pt x="133" y="43"/>
                    <a:pt x="133" y="43"/>
                  </a:cubicBezTo>
                  <a:cubicBezTo>
                    <a:pt x="107" y="28"/>
                    <a:pt x="83" y="25"/>
                    <a:pt x="64" y="35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2" name="Freeform 2352">
              <a:extLst>
                <a:ext uri="{FF2B5EF4-FFF2-40B4-BE49-F238E27FC236}">
                  <a16:creationId xmlns:a16="http://schemas.microsoft.com/office/drawing/2014/main" id="{A36C5D1D-02B5-453C-8C6B-41A1A466F9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9" y="3350"/>
              <a:ext cx="104" cy="83"/>
            </a:xfrm>
            <a:custGeom>
              <a:avLst/>
              <a:gdLst>
                <a:gd name="T0" fmla="*/ 339 w 377"/>
                <a:gd name="T1" fmla="*/ 303 h 303"/>
                <a:gd name="T2" fmla="*/ 316 w 377"/>
                <a:gd name="T3" fmla="*/ 296 h 303"/>
                <a:gd name="T4" fmla="*/ 49 w 377"/>
                <a:gd name="T5" fmla="*/ 142 h 303"/>
                <a:gd name="T6" fmla="*/ 0 w 377"/>
                <a:gd name="T7" fmla="*/ 50 h 303"/>
                <a:gd name="T8" fmla="*/ 38 w 377"/>
                <a:gd name="T9" fmla="*/ 0 h 303"/>
                <a:gd name="T10" fmla="*/ 61 w 377"/>
                <a:gd name="T11" fmla="*/ 7 h 303"/>
                <a:gd name="T12" fmla="*/ 328 w 377"/>
                <a:gd name="T13" fmla="*/ 161 h 303"/>
                <a:gd name="T14" fmla="*/ 377 w 377"/>
                <a:gd name="T15" fmla="*/ 253 h 303"/>
                <a:gd name="T16" fmla="*/ 339 w 377"/>
                <a:gd name="T17" fmla="*/ 303 h 303"/>
                <a:gd name="T18" fmla="*/ 38 w 377"/>
                <a:gd name="T19" fmla="*/ 24 h 303"/>
                <a:gd name="T20" fmla="*/ 24 w 377"/>
                <a:gd name="T21" fmla="*/ 50 h 303"/>
                <a:gd name="T22" fmla="*/ 61 w 377"/>
                <a:gd name="T23" fmla="*/ 121 h 303"/>
                <a:gd name="T24" fmla="*/ 328 w 377"/>
                <a:gd name="T25" fmla="*/ 275 h 303"/>
                <a:gd name="T26" fmla="*/ 328 w 377"/>
                <a:gd name="T27" fmla="*/ 275 h 303"/>
                <a:gd name="T28" fmla="*/ 339 w 377"/>
                <a:gd name="T29" fmla="*/ 279 h 303"/>
                <a:gd name="T30" fmla="*/ 353 w 377"/>
                <a:gd name="T31" fmla="*/ 253 h 303"/>
                <a:gd name="T32" fmla="*/ 316 w 377"/>
                <a:gd name="T33" fmla="*/ 182 h 303"/>
                <a:gd name="T34" fmla="*/ 49 w 377"/>
                <a:gd name="T35" fmla="*/ 28 h 303"/>
                <a:gd name="T36" fmla="*/ 38 w 377"/>
                <a:gd name="T37" fmla="*/ 24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7" h="303">
                  <a:moveTo>
                    <a:pt x="339" y="303"/>
                  </a:moveTo>
                  <a:cubicBezTo>
                    <a:pt x="332" y="303"/>
                    <a:pt x="324" y="301"/>
                    <a:pt x="316" y="296"/>
                  </a:cubicBezTo>
                  <a:cubicBezTo>
                    <a:pt x="49" y="142"/>
                    <a:pt x="49" y="142"/>
                    <a:pt x="49" y="142"/>
                  </a:cubicBezTo>
                  <a:cubicBezTo>
                    <a:pt x="22" y="126"/>
                    <a:pt x="0" y="86"/>
                    <a:pt x="0" y="50"/>
                  </a:cubicBezTo>
                  <a:cubicBezTo>
                    <a:pt x="0" y="15"/>
                    <a:pt x="19" y="0"/>
                    <a:pt x="38" y="0"/>
                  </a:cubicBezTo>
                  <a:cubicBezTo>
                    <a:pt x="46" y="0"/>
                    <a:pt x="53" y="2"/>
                    <a:pt x="61" y="7"/>
                  </a:cubicBezTo>
                  <a:cubicBezTo>
                    <a:pt x="328" y="161"/>
                    <a:pt x="328" y="161"/>
                    <a:pt x="328" y="161"/>
                  </a:cubicBezTo>
                  <a:cubicBezTo>
                    <a:pt x="356" y="177"/>
                    <a:pt x="377" y="217"/>
                    <a:pt x="377" y="253"/>
                  </a:cubicBezTo>
                  <a:cubicBezTo>
                    <a:pt x="377" y="288"/>
                    <a:pt x="358" y="303"/>
                    <a:pt x="339" y="303"/>
                  </a:cubicBezTo>
                  <a:close/>
                  <a:moveTo>
                    <a:pt x="38" y="24"/>
                  </a:moveTo>
                  <a:cubicBezTo>
                    <a:pt x="28" y="24"/>
                    <a:pt x="24" y="38"/>
                    <a:pt x="24" y="50"/>
                  </a:cubicBezTo>
                  <a:cubicBezTo>
                    <a:pt x="24" y="77"/>
                    <a:pt x="41" y="110"/>
                    <a:pt x="61" y="121"/>
                  </a:cubicBezTo>
                  <a:cubicBezTo>
                    <a:pt x="328" y="275"/>
                    <a:pt x="328" y="275"/>
                    <a:pt x="328" y="275"/>
                  </a:cubicBezTo>
                  <a:cubicBezTo>
                    <a:pt x="328" y="275"/>
                    <a:pt x="328" y="275"/>
                    <a:pt x="328" y="275"/>
                  </a:cubicBezTo>
                  <a:cubicBezTo>
                    <a:pt x="332" y="278"/>
                    <a:pt x="336" y="279"/>
                    <a:pt x="339" y="279"/>
                  </a:cubicBezTo>
                  <a:cubicBezTo>
                    <a:pt x="350" y="279"/>
                    <a:pt x="353" y="265"/>
                    <a:pt x="353" y="253"/>
                  </a:cubicBezTo>
                  <a:cubicBezTo>
                    <a:pt x="353" y="226"/>
                    <a:pt x="336" y="193"/>
                    <a:pt x="316" y="182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5" y="25"/>
                    <a:pt x="41" y="24"/>
                    <a:pt x="38" y="2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3" name="Freeform 2353">
              <a:extLst>
                <a:ext uri="{FF2B5EF4-FFF2-40B4-BE49-F238E27FC236}">
                  <a16:creationId xmlns:a16="http://schemas.microsoft.com/office/drawing/2014/main" id="{5E0629F7-3A71-407B-B6B8-1C491F4D1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3282"/>
              <a:ext cx="232" cy="135"/>
            </a:xfrm>
            <a:custGeom>
              <a:avLst/>
              <a:gdLst>
                <a:gd name="T0" fmla="*/ 827 w 839"/>
                <a:gd name="T1" fmla="*/ 491 h 491"/>
                <a:gd name="T2" fmla="*/ 815 w 839"/>
                <a:gd name="T3" fmla="*/ 479 h 491"/>
                <a:gd name="T4" fmla="*/ 815 w 839"/>
                <a:gd name="T5" fmla="*/ 375 h 491"/>
                <a:gd name="T6" fmla="*/ 239 w 839"/>
                <a:gd name="T7" fmla="*/ 43 h 491"/>
                <a:gd name="T8" fmla="*/ 168 w 839"/>
                <a:gd name="T9" fmla="*/ 36 h 491"/>
                <a:gd name="T10" fmla="*/ 20 w 839"/>
                <a:gd name="T11" fmla="*/ 122 h 491"/>
                <a:gd name="T12" fmla="*/ 4 w 839"/>
                <a:gd name="T13" fmla="*/ 118 h 491"/>
                <a:gd name="T14" fmla="*/ 8 w 839"/>
                <a:gd name="T15" fmla="*/ 101 h 491"/>
                <a:gd name="T16" fmla="*/ 156 w 839"/>
                <a:gd name="T17" fmla="*/ 16 h 491"/>
                <a:gd name="T18" fmla="*/ 251 w 839"/>
                <a:gd name="T19" fmla="*/ 22 h 491"/>
                <a:gd name="T20" fmla="*/ 833 w 839"/>
                <a:gd name="T21" fmla="*/ 358 h 491"/>
                <a:gd name="T22" fmla="*/ 839 w 839"/>
                <a:gd name="T23" fmla="*/ 368 h 491"/>
                <a:gd name="T24" fmla="*/ 839 w 839"/>
                <a:gd name="T25" fmla="*/ 479 h 491"/>
                <a:gd name="T26" fmla="*/ 827 w 839"/>
                <a:gd name="T27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39" h="491">
                  <a:moveTo>
                    <a:pt x="827" y="491"/>
                  </a:moveTo>
                  <a:cubicBezTo>
                    <a:pt x="820" y="491"/>
                    <a:pt x="815" y="485"/>
                    <a:pt x="815" y="479"/>
                  </a:cubicBezTo>
                  <a:cubicBezTo>
                    <a:pt x="815" y="375"/>
                    <a:pt x="815" y="375"/>
                    <a:pt x="815" y="375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13" y="28"/>
                    <a:pt x="187" y="25"/>
                    <a:pt x="168" y="36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14" y="125"/>
                    <a:pt x="7" y="123"/>
                    <a:pt x="4" y="118"/>
                  </a:cubicBezTo>
                  <a:cubicBezTo>
                    <a:pt x="0" y="112"/>
                    <a:pt x="2" y="105"/>
                    <a:pt x="8" y="101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83" y="0"/>
                    <a:pt x="217" y="3"/>
                    <a:pt x="251" y="22"/>
                  </a:cubicBezTo>
                  <a:cubicBezTo>
                    <a:pt x="833" y="358"/>
                    <a:pt x="833" y="358"/>
                    <a:pt x="833" y="358"/>
                  </a:cubicBezTo>
                  <a:cubicBezTo>
                    <a:pt x="836" y="360"/>
                    <a:pt x="839" y="364"/>
                    <a:pt x="839" y="368"/>
                  </a:cubicBezTo>
                  <a:cubicBezTo>
                    <a:pt x="839" y="479"/>
                    <a:pt x="839" y="479"/>
                    <a:pt x="839" y="479"/>
                  </a:cubicBezTo>
                  <a:cubicBezTo>
                    <a:pt x="839" y="485"/>
                    <a:pt x="833" y="491"/>
                    <a:pt x="827" y="49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4" name="Freeform 2354">
              <a:extLst>
                <a:ext uri="{FF2B5EF4-FFF2-40B4-BE49-F238E27FC236}">
                  <a16:creationId xmlns:a16="http://schemas.microsoft.com/office/drawing/2014/main" id="{32F32158-7F80-4799-9FC3-1D502F83D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5" y="3380"/>
              <a:ext cx="48" cy="30"/>
            </a:xfrm>
            <a:custGeom>
              <a:avLst/>
              <a:gdLst>
                <a:gd name="T0" fmla="*/ 13 w 175"/>
                <a:gd name="T1" fmla="*/ 111 h 111"/>
                <a:gd name="T2" fmla="*/ 3 w 175"/>
                <a:gd name="T3" fmla="*/ 105 h 111"/>
                <a:gd name="T4" fmla="*/ 7 w 175"/>
                <a:gd name="T5" fmla="*/ 89 h 111"/>
                <a:gd name="T6" fmla="*/ 156 w 175"/>
                <a:gd name="T7" fmla="*/ 3 h 111"/>
                <a:gd name="T8" fmla="*/ 172 w 175"/>
                <a:gd name="T9" fmla="*/ 7 h 111"/>
                <a:gd name="T10" fmla="*/ 168 w 175"/>
                <a:gd name="T11" fmla="*/ 24 h 111"/>
                <a:gd name="T12" fmla="*/ 19 w 175"/>
                <a:gd name="T13" fmla="*/ 110 h 111"/>
                <a:gd name="T14" fmla="*/ 13 w 175"/>
                <a:gd name="T15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5" h="111">
                  <a:moveTo>
                    <a:pt x="13" y="111"/>
                  </a:moveTo>
                  <a:cubicBezTo>
                    <a:pt x="9" y="111"/>
                    <a:pt x="5" y="109"/>
                    <a:pt x="3" y="105"/>
                  </a:cubicBezTo>
                  <a:cubicBezTo>
                    <a:pt x="0" y="99"/>
                    <a:pt x="2" y="92"/>
                    <a:pt x="7" y="89"/>
                  </a:cubicBezTo>
                  <a:cubicBezTo>
                    <a:pt x="156" y="3"/>
                    <a:pt x="156" y="3"/>
                    <a:pt x="156" y="3"/>
                  </a:cubicBezTo>
                  <a:cubicBezTo>
                    <a:pt x="161" y="0"/>
                    <a:pt x="169" y="2"/>
                    <a:pt x="172" y="7"/>
                  </a:cubicBezTo>
                  <a:cubicBezTo>
                    <a:pt x="175" y="13"/>
                    <a:pt x="173" y="21"/>
                    <a:pt x="168" y="24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7" y="111"/>
                    <a:pt x="15" y="111"/>
                    <a:pt x="13" y="11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5" name="Freeform 2355">
              <a:extLst>
                <a:ext uri="{FF2B5EF4-FFF2-40B4-BE49-F238E27FC236}">
                  <a16:creationId xmlns:a16="http://schemas.microsoft.com/office/drawing/2014/main" id="{41C10992-317A-44DF-A5C9-A0E304BE5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6" y="3417"/>
              <a:ext cx="45" cy="82"/>
            </a:xfrm>
            <a:custGeom>
              <a:avLst/>
              <a:gdLst>
                <a:gd name="T0" fmla="*/ 149 w 163"/>
                <a:gd name="T1" fmla="*/ 297 h 297"/>
                <a:gd name="T2" fmla="*/ 143 w 163"/>
                <a:gd name="T3" fmla="*/ 295 h 297"/>
                <a:gd name="T4" fmla="*/ 6 w 163"/>
                <a:gd name="T5" fmla="*/ 216 h 297"/>
                <a:gd name="T6" fmla="*/ 0 w 163"/>
                <a:gd name="T7" fmla="*/ 206 h 297"/>
                <a:gd name="T8" fmla="*/ 0 w 163"/>
                <a:gd name="T9" fmla="*/ 12 h 297"/>
                <a:gd name="T10" fmla="*/ 6 w 163"/>
                <a:gd name="T11" fmla="*/ 2 h 297"/>
                <a:gd name="T12" fmla="*/ 18 w 163"/>
                <a:gd name="T13" fmla="*/ 2 h 297"/>
                <a:gd name="T14" fmla="*/ 155 w 163"/>
                <a:gd name="T15" fmla="*/ 81 h 297"/>
                <a:gd name="T16" fmla="*/ 160 w 163"/>
                <a:gd name="T17" fmla="*/ 97 h 297"/>
                <a:gd name="T18" fmla="*/ 143 w 163"/>
                <a:gd name="T19" fmla="*/ 102 h 297"/>
                <a:gd name="T20" fmla="*/ 24 w 163"/>
                <a:gd name="T21" fmla="*/ 33 h 297"/>
                <a:gd name="T22" fmla="*/ 24 w 163"/>
                <a:gd name="T23" fmla="*/ 199 h 297"/>
                <a:gd name="T24" fmla="*/ 155 w 163"/>
                <a:gd name="T25" fmla="*/ 274 h 297"/>
                <a:gd name="T26" fmla="*/ 160 w 163"/>
                <a:gd name="T27" fmla="*/ 291 h 297"/>
                <a:gd name="T28" fmla="*/ 149 w 163"/>
                <a:gd name="T29" fmla="*/ 29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3" h="297">
                  <a:moveTo>
                    <a:pt x="149" y="297"/>
                  </a:moveTo>
                  <a:cubicBezTo>
                    <a:pt x="147" y="297"/>
                    <a:pt x="145" y="296"/>
                    <a:pt x="143" y="295"/>
                  </a:cubicBezTo>
                  <a:cubicBezTo>
                    <a:pt x="6" y="216"/>
                    <a:pt x="6" y="216"/>
                    <a:pt x="6" y="216"/>
                  </a:cubicBezTo>
                  <a:cubicBezTo>
                    <a:pt x="2" y="214"/>
                    <a:pt x="0" y="210"/>
                    <a:pt x="0" y="20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8"/>
                    <a:pt x="2" y="4"/>
                    <a:pt x="6" y="2"/>
                  </a:cubicBezTo>
                  <a:cubicBezTo>
                    <a:pt x="10" y="0"/>
                    <a:pt x="14" y="0"/>
                    <a:pt x="18" y="2"/>
                  </a:cubicBezTo>
                  <a:cubicBezTo>
                    <a:pt x="155" y="81"/>
                    <a:pt x="155" y="81"/>
                    <a:pt x="155" y="81"/>
                  </a:cubicBezTo>
                  <a:cubicBezTo>
                    <a:pt x="161" y="84"/>
                    <a:pt x="163" y="92"/>
                    <a:pt x="160" y="97"/>
                  </a:cubicBezTo>
                  <a:cubicBezTo>
                    <a:pt x="156" y="103"/>
                    <a:pt x="149" y="105"/>
                    <a:pt x="143" y="102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4" y="199"/>
                    <a:pt x="24" y="199"/>
                    <a:pt x="24" y="199"/>
                  </a:cubicBezTo>
                  <a:cubicBezTo>
                    <a:pt x="155" y="274"/>
                    <a:pt x="155" y="274"/>
                    <a:pt x="155" y="274"/>
                  </a:cubicBezTo>
                  <a:cubicBezTo>
                    <a:pt x="161" y="278"/>
                    <a:pt x="163" y="285"/>
                    <a:pt x="160" y="291"/>
                  </a:cubicBezTo>
                  <a:cubicBezTo>
                    <a:pt x="158" y="295"/>
                    <a:pt x="154" y="297"/>
                    <a:pt x="149" y="297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6" name="Freeform 2356">
              <a:extLst>
                <a:ext uri="{FF2B5EF4-FFF2-40B4-BE49-F238E27FC236}">
                  <a16:creationId xmlns:a16="http://schemas.microsoft.com/office/drawing/2014/main" id="{0C795A4A-4D06-4F39-A6F4-982A122D8D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24" y="3427"/>
              <a:ext cx="28" cy="72"/>
            </a:xfrm>
            <a:custGeom>
              <a:avLst/>
              <a:gdLst>
                <a:gd name="T0" fmla="*/ 12 w 100"/>
                <a:gd name="T1" fmla="*/ 262 h 262"/>
                <a:gd name="T2" fmla="*/ 6 w 100"/>
                <a:gd name="T3" fmla="*/ 260 h 262"/>
                <a:gd name="T4" fmla="*/ 0 w 100"/>
                <a:gd name="T5" fmla="*/ 250 h 262"/>
                <a:gd name="T6" fmla="*/ 0 w 100"/>
                <a:gd name="T7" fmla="*/ 56 h 262"/>
                <a:gd name="T8" fmla="*/ 6 w 100"/>
                <a:gd name="T9" fmla="*/ 46 h 262"/>
                <a:gd name="T10" fmla="*/ 82 w 100"/>
                <a:gd name="T11" fmla="*/ 3 h 262"/>
                <a:gd name="T12" fmla="*/ 94 w 100"/>
                <a:gd name="T13" fmla="*/ 3 h 262"/>
                <a:gd name="T14" fmla="*/ 100 w 100"/>
                <a:gd name="T15" fmla="*/ 13 h 262"/>
                <a:gd name="T16" fmla="*/ 100 w 100"/>
                <a:gd name="T17" fmla="*/ 206 h 262"/>
                <a:gd name="T18" fmla="*/ 94 w 100"/>
                <a:gd name="T19" fmla="*/ 217 h 262"/>
                <a:gd name="T20" fmla="*/ 18 w 100"/>
                <a:gd name="T21" fmla="*/ 260 h 262"/>
                <a:gd name="T22" fmla="*/ 12 w 100"/>
                <a:gd name="T23" fmla="*/ 262 h 262"/>
                <a:gd name="T24" fmla="*/ 24 w 100"/>
                <a:gd name="T25" fmla="*/ 63 h 262"/>
                <a:gd name="T26" fmla="*/ 24 w 100"/>
                <a:gd name="T27" fmla="*/ 229 h 262"/>
                <a:gd name="T28" fmla="*/ 76 w 100"/>
                <a:gd name="T29" fmla="*/ 199 h 262"/>
                <a:gd name="T30" fmla="*/ 76 w 100"/>
                <a:gd name="T31" fmla="*/ 34 h 262"/>
                <a:gd name="T32" fmla="*/ 24 w 100"/>
                <a:gd name="T33" fmla="*/ 63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262">
                  <a:moveTo>
                    <a:pt x="12" y="262"/>
                  </a:moveTo>
                  <a:cubicBezTo>
                    <a:pt x="10" y="262"/>
                    <a:pt x="8" y="261"/>
                    <a:pt x="6" y="260"/>
                  </a:cubicBezTo>
                  <a:cubicBezTo>
                    <a:pt x="3" y="258"/>
                    <a:pt x="0" y="254"/>
                    <a:pt x="0" y="25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2"/>
                    <a:pt x="3" y="48"/>
                    <a:pt x="6" y="46"/>
                  </a:cubicBezTo>
                  <a:cubicBezTo>
                    <a:pt x="82" y="3"/>
                    <a:pt x="82" y="3"/>
                    <a:pt x="82" y="3"/>
                  </a:cubicBezTo>
                  <a:cubicBezTo>
                    <a:pt x="85" y="0"/>
                    <a:pt x="90" y="0"/>
                    <a:pt x="94" y="3"/>
                  </a:cubicBezTo>
                  <a:cubicBezTo>
                    <a:pt x="97" y="5"/>
                    <a:pt x="100" y="9"/>
                    <a:pt x="100" y="13"/>
                  </a:cubicBezTo>
                  <a:cubicBezTo>
                    <a:pt x="100" y="206"/>
                    <a:pt x="100" y="206"/>
                    <a:pt x="100" y="206"/>
                  </a:cubicBezTo>
                  <a:cubicBezTo>
                    <a:pt x="100" y="211"/>
                    <a:pt x="97" y="215"/>
                    <a:pt x="94" y="217"/>
                  </a:cubicBezTo>
                  <a:cubicBezTo>
                    <a:pt x="18" y="260"/>
                    <a:pt x="18" y="260"/>
                    <a:pt x="18" y="260"/>
                  </a:cubicBezTo>
                  <a:cubicBezTo>
                    <a:pt x="17" y="261"/>
                    <a:pt x="14" y="262"/>
                    <a:pt x="12" y="262"/>
                  </a:cubicBezTo>
                  <a:close/>
                  <a:moveTo>
                    <a:pt x="24" y="63"/>
                  </a:moveTo>
                  <a:cubicBezTo>
                    <a:pt x="24" y="229"/>
                    <a:pt x="24" y="229"/>
                    <a:pt x="24" y="229"/>
                  </a:cubicBezTo>
                  <a:cubicBezTo>
                    <a:pt x="76" y="199"/>
                    <a:pt x="76" y="199"/>
                    <a:pt x="76" y="199"/>
                  </a:cubicBezTo>
                  <a:cubicBezTo>
                    <a:pt x="76" y="34"/>
                    <a:pt x="76" y="34"/>
                    <a:pt x="76" y="34"/>
                  </a:cubicBezTo>
                  <a:lnTo>
                    <a:pt x="24" y="63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7" name="Freeform 2357">
              <a:extLst>
                <a:ext uri="{FF2B5EF4-FFF2-40B4-BE49-F238E27FC236}">
                  <a16:creationId xmlns:a16="http://schemas.microsoft.com/office/drawing/2014/main" id="{7286D82A-8618-4115-AF1C-238A2069C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6" y="3405"/>
              <a:ext cx="66" cy="29"/>
            </a:xfrm>
            <a:custGeom>
              <a:avLst/>
              <a:gdLst>
                <a:gd name="T0" fmla="*/ 227 w 240"/>
                <a:gd name="T1" fmla="*/ 104 h 104"/>
                <a:gd name="T2" fmla="*/ 221 w 240"/>
                <a:gd name="T3" fmla="*/ 102 h 104"/>
                <a:gd name="T4" fmla="*/ 90 w 240"/>
                <a:gd name="T5" fmla="*/ 27 h 104"/>
                <a:gd name="T6" fmla="*/ 20 w 240"/>
                <a:gd name="T7" fmla="*/ 67 h 104"/>
                <a:gd name="T8" fmla="*/ 4 w 240"/>
                <a:gd name="T9" fmla="*/ 62 h 104"/>
                <a:gd name="T10" fmla="*/ 8 w 240"/>
                <a:gd name="T11" fmla="*/ 46 h 104"/>
                <a:gd name="T12" fmla="*/ 83 w 240"/>
                <a:gd name="T13" fmla="*/ 2 h 104"/>
                <a:gd name="T14" fmla="*/ 96 w 240"/>
                <a:gd name="T15" fmla="*/ 2 h 104"/>
                <a:gd name="T16" fmla="*/ 233 w 240"/>
                <a:gd name="T17" fmla="*/ 82 h 104"/>
                <a:gd name="T18" fmla="*/ 237 w 240"/>
                <a:gd name="T19" fmla="*/ 98 h 104"/>
                <a:gd name="T20" fmla="*/ 227 w 240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0" h="104">
                  <a:moveTo>
                    <a:pt x="227" y="104"/>
                  </a:moveTo>
                  <a:cubicBezTo>
                    <a:pt x="225" y="104"/>
                    <a:pt x="223" y="103"/>
                    <a:pt x="221" y="102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14" y="70"/>
                    <a:pt x="7" y="68"/>
                    <a:pt x="4" y="62"/>
                  </a:cubicBezTo>
                  <a:cubicBezTo>
                    <a:pt x="0" y="57"/>
                    <a:pt x="2" y="49"/>
                    <a:pt x="8" y="4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7" y="0"/>
                    <a:pt x="92" y="0"/>
                    <a:pt x="96" y="2"/>
                  </a:cubicBezTo>
                  <a:cubicBezTo>
                    <a:pt x="233" y="82"/>
                    <a:pt x="233" y="82"/>
                    <a:pt x="233" y="82"/>
                  </a:cubicBezTo>
                  <a:cubicBezTo>
                    <a:pt x="239" y="85"/>
                    <a:pt x="240" y="92"/>
                    <a:pt x="237" y="98"/>
                  </a:cubicBezTo>
                  <a:cubicBezTo>
                    <a:pt x="235" y="102"/>
                    <a:pt x="231" y="104"/>
                    <a:pt x="227" y="10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8" name="Freeform 2358">
              <a:extLst>
                <a:ext uri="{FF2B5EF4-FFF2-40B4-BE49-F238E27FC236}">
                  <a16:creationId xmlns:a16="http://schemas.microsoft.com/office/drawing/2014/main" id="{C0FE35A7-6C4F-4C52-9B03-7D36813B6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5" y="3480"/>
              <a:ext cx="36" cy="24"/>
            </a:xfrm>
            <a:custGeom>
              <a:avLst/>
              <a:gdLst>
                <a:gd name="T0" fmla="*/ 13 w 129"/>
                <a:gd name="T1" fmla="*/ 85 h 85"/>
                <a:gd name="T2" fmla="*/ 3 w 129"/>
                <a:gd name="T3" fmla="*/ 79 h 85"/>
                <a:gd name="T4" fmla="*/ 7 w 129"/>
                <a:gd name="T5" fmla="*/ 62 h 85"/>
                <a:gd name="T6" fmla="*/ 110 w 129"/>
                <a:gd name="T7" fmla="*/ 3 h 85"/>
                <a:gd name="T8" fmla="*/ 126 w 129"/>
                <a:gd name="T9" fmla="*/ 8 h 85"/>
                <a:gd name="T10" fmla="*/ 122 w 129"/>
                <a:gd name="T11" fmla="*/ 24 h 85"/>
                <a:gd name="T12" fmla="*/ 19 w 129"/>
                <a:gd name="T13" fmla="*/ 83 h 85"/>
                <a:gd name="T14" fmla="*/ 13 w 129"/>
                <a:gd name="T1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9" h="85">
                  <a:moveTo>
                    <a:pt x="13" y="85"/>
                  </a:moveTo>
                  <a:cubicBezTo>
                    <a:pt x="9" y="85"/>
                    <a:pt x="5" y="83"/>
                    <a:pt x="3" y="79"/>
                  </a:cubicBezTo>
                  <a:cubicBezTo>
                    <a:pt x="0" y="73"/>
                    <a:pt x="2" y="66"/>
                    <a:pt x="7" y="62"/>
                  </a:cubicBezTo>
                  <a:cubicBezTo>
                    <a:pt x="110" y="3"/>
                    <a:pt x="110" y="3"/>
                    <a:pt x="110" y="3"/>
                  </a:cubicBezTo>
                  <a:cubicBezTo>
                    <a:pt x="115" y="0"/>
                    <a:pt x="123" y="2"/>
                    <a:pt x="126" y="8"/>
                  </a:cubicBezTo>
                  <a:cubicBezTo>
                    <a:pt x="129" y="13"/>
                    <a:pt x="127" y="21"/>
                    <a:pt x="122" y="2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7" y="84"/>
                    <a:pt x="15" y="85"/>
                    <a:pt x="13" y="85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9" name="Freeform 2359">
              <a:extLst>
                <a:ext uri="{FF2B5EF4-FFF2-40B4-BE49-F238E27FC236}">
                  <a16:creationId xmlns:a16="http://schemas.microsoft.com/office/drawing/2014/main" id="{D5C0F0F7-E54B-4903-B749-4EB007A2E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" y="3650"/>
              <a:ext cx="302" cy="190"/>
            </a:xfrm>
            <a:custGeom>
              <a:avLst/>
              <a:gdLst>
                <a:gd name="T0" fmla="*/ 1096 w 1096"/>
                <a:gd name="T1" fmla="*/ 93 h 687"/>
                <a:gd name="T2" fmla="*/ 1093 w 1096"/>
                <a:gd name="T3" fmla="*/ 106 h 687"/>
                <a:gd name="T4" fmla="*/ 863 w 1096"/>
                <a:gd name="T5" fmla="*/ 635 h 687"/>
                <a:gd name="T6" fmla="*/ 713 w 1096"/>
                <a:gd name="T7" fmla="*/ 658 h 687"/>
                <a:gd name="T8" fmla="*/ 27 w 1096"/>
                <a:gd name="T9" fmla="*/ 262 h 687"/>
                <a:gd name="T10" fmla="*/ 0 w 1096"/>
                <a:gd name="T11" fmla="*/ 226 h 687"/>
                <a:gd name="T12" fmla="*/ 0 w 1096"/>
                <a:gd name="T13" fmla="*/ 133 h 687"/>
                <a:gd name="T14" fmla="*/ 27 w 1096"/>
                <a:gd name="T15" fmla="*/ 170 h 687"/>
                <a:gd name="T16" fmla="*/ 713 w 1096"/>
                <a:gd name="T17" fmla="*/ 566 h 687"/>
                <a:gd name="T18" fmla="*/ 863 w 1096"/>
                <a:gd name="T19" fmla="*/ 542 h 687"/>
                <a:gd name="T20" fmla="*/ 1093 w 1096"/>
                <a:gd name="T21" fmla="*/ 13 h 687"/>
                <a:gd name="T22" fmla="*/ 1096 w 1096"/>
                <a:gd name="T23" fmla="*/ 0 h 687"/>
                <a:gd name="T24" fmla="*/ 1096 w 1096"/>
                <a:gd name="T25" fmla="*/ 93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6" h="687">
                  <a:moveTo>
                    <a:pt x="1096" y="93"/>
                  </a:moveTo>
                  <a:cubicBezTo>
                    <a:pt x="1096" y="97"/>
                    <a:pt x="1095" y="101"/>
                    <a:pt x="1093" y="106"/>
                  </a:cubicBezTo>
                  <a:cubicBezTo>
                    <a:pt x="863" y="635"/>
                    <a:pt x="863" y="635"/>
                    <a:pt x="863" y="635"/>
                  </a:cubicBezTo>
                  <a:cubicBezTo>
                    <a:pt x="846" y="674"/>
                    <a:pt x="762" y="687"/>
                    <a:pt x="713" y="658"/>
                  </a:cubicBezTo>
                  <a:cubicBezTo>
                    <a:pt x="27" y="262"/>
                    <a:pt x="27" y="262"/>
                    <a:pt x="27" y="262"/>
                  </a:cubicBezTo>
                  <a:cubicBezTo>
                    <a:pt x="9" y="252"/>
                    <a:pt x="0" y="239"/>
                    <a:pt x="0" y="226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46"/>
                    <a:pt x="9" y="159"/>
                    <a:pt x="27" y="170"/>
                  </a:cubicBezTo>
                  <a:cubicBezTo>
                    <a:pt x="713" y="566"/>
                    <a:pt x="713" y="566"/>
                    <a:pt x="713" y="566"/>
                  </a:cubicBezTo>
                  <a:cubicBezTo>
                    <a:pt x="762" y="594"/>
                    <a:pt x="846" y="581"/>
                    <a:pt x="863" y="542"/>
                  </a:cubicBezTo>
                  <a:cubicBezTo>
                    <a:pt x="1093" y="13"/>
                    <a:pt x="1093" y="13"/>
                    <a:pt x="1093" y="13"/>
                  </a:cubicBezTo>
                  <a:cubicBezTo>
                    <a:pt x="1095" y="9"/>
                    <a:pt x="1096" y="4"/>
                    <a:pt x="1096" y="0"/>
                  </a:cubicBezTo>
                  <a:lnTo>
                    <a:pt x="1096" y="93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0" name="Freeform 2360">
              <a:extLst>
                <a:ext uri="{FF2B5EF4-FFF2-40B4-BE49-F238E27FC236}">
                  <a16:creationId xmlns:a16="http://schemas.microsoft.com/office/drawing/2014/main" id="{9AD866B9-0639-4E70-9EC8-68F9F163BF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2" y="3634"/>
              <a:ext cx="302" cy="180"/>
            </a:xfrm>
            <a:custGeom>
              <a:avLst/>
              <a:gdLst>
                <a:gd name="T0" fmla="*/ 1096 w 1096"/>
                <a:gd name="T1" fmla="*/ 58 h 652"/>
                <a:gd name="T2" fmla="*/ 1096 w 1096"/>
                <a:gd name="T3" fmla="*/ 58 h 652"/>
                <a:gd name="T4" fmla="*/ 1093 w 1096"/>
                <a:gd name="T5" fmla="*/ 71 h 652"/>
                <a:gd name="T6" fmla="*/ 863 w 1096"/>
                <a:gd name="T7" fmla="*/ 600 h 652"/>
                <a:gd name="T8" fmla="*/ 713 w 1096"/>
                <a:gd name="T9" fmla="*/ 624 h 652"/>
                <a:gd name="T10" fmla="*/ 27 w 1096"/>
                <a:gd name="T11" fmla="*/ 228 h 652"/>
                <a:gd name="T12" fmla="*/ 0 w 1096"/>
                <a:gd name="T13" fmla="*/ 191 h 652"/>
                <a:gd name="T14" fmla="*/ 0 w 1096"/>
                <a:gd name="T15" fmla="*/ 189 h 652"/>
                <a:gd name="T16" fmla="*/ 68 w 1096"/>
                <a:gd name="T17" fmla="*/ 141 h 652"/>
                <a:gd name="T18" fmla="*/ 984 w 1096"/>
                <a:gd name="T19" fmla="*/ 8 h 652"/>
                <a:gd name="T20" fmla="*/ 1096 w 1096"/>
                <a:gd name="T21" fmla="*/ 58 h 652"/>
                <a:gd name="T22" fmla="*/ 853 w 1096"/>
                <a:gd name="T23" fmla="*/ 200 h 652"/>
                <a:gd name="T24" fmla="*/ 853 w 1096"/>
                <a:gd name="T25" fmla="*/ 147 h 652"/>
                <a:gd name="T26" fmla="*/ 760 w 1096"/>
                <a:gd name="T27" fmla="*/ 147 h 652"/>
                <a:gd name="T28" fmla="*/ 742 w 1096"/>
                <a:gd name="T29" fmla="*/ 157 h 652"/>
                <a:gd name="T30" fmla="*/ 569 w 1096"/>
                <a:gd name="T31" fmla="*/ 275 h 652"/>
                <a:gd name="T32" fmla="*/ 630 w 1096"/>
                <a:gd name="T33" fmla="*/ 310 h 652"/>
                <a:gd name="T34" fmla="*/ 834 w 1096"/>
                <a:gd name="T35" fmla="*/ 211 h 652"/>
                <a:gd name="T36" fmla="*/ 853 w 1096"/>
                <a:gd name="T37" fmla="*/ 200 h 652"/>
                <a:gd name="T38" fmla="*/ 594 w 1096"/>
                <a:gd name="T39" fmla="*/ 333 h 652"/>
                <a:gd name="T40" fmla="*/ 575 w 1096"/>
                <a:gd name="T41" fmla="*/ 307 h 652"/>
                <a:gd name="T42" fmla="*/ 529 w 1096"/>
                <a:gd name="T43" fmla="*/ 296 h 652"/>
                <a:gd name="T44" fmla="*/ 483 w 1096"/>
                <a:gd name="T45" fmla="*/ 307 h 652"/>
                <a:gd name="T46" fmla="*/ 464 w 1096"/>
                <a:gd name="T47" fmla="*/ 333 h 652"/>
                <a:gd name="T48" fmla="*/ 483 w 1096"/>
                <a:gd name="T49" fmla="*/ 360 h 652"/>
                <a:gd name="T50" fmla="*/ 529 w 1096"/>
                <a:gd name="T51" fmla="*/ 371 h 652"/>
                <a:gd name="T52" fmla="*/ 575 w 1096"/>
                <a:gd name="T53" fmla="*/ 360 h 652"/>
                <a:gd name="T54" fmla="*/ 594 w 1096"/>
                <a:gd name="T55" fmla="*/ 333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96" h="652">
                  <a:moveTo>
                    <a:pt x="1096" y="58"/>
                  </a:moveTo>
                  <a:cubicBezTo>
                    <a:pt x="1096" y="58"/>
                    <a:pt x="1096" y="58"/>
                    <a:pt x="1096" y="58"/>
                  </a:cubicBezTo>
                  <a:cubicBezTo>
                    <a:pt x="1096" y="62"/>
                    <a:pt x="1095" y="67"/>
                    <a:pt x="1093" y="71"/>
                  </a:cubicBezTo>
                  <a:cubicBezTo>
                    <a:pt x="863" y="600"/>
                    <a:pt x="863" y="600"/>
                    <a:pt x="863" y="600"/>
                  </a:cubicBezTo>
                  <a:cubicBezTo>
                    <a:pt x="846" y="639"/>
                    <a:pt x="762" y="652"/>
                    <a:pt x="713" y="624"/>
                  </a:cubicBezTo>
                  <a:cubicBezTo>
                    <a:pt x="27" y="228"/>
                    <a:pt x="27" y="228"/>
                    <a:pt x="27" y="228"/>
                  </a:cubicBezTo>
                  <a:cubicBezTo>
                    <a:pt x="9" y="217"/>
                    <a:pt x="0" y="204"/>
                    <a:pt x="0" y="191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2" y="168"/>
                    <a:pt x="26" y="147"/>
                    <a:pt x="68" y="141"/>
                  </a:cubicBezTo>
                  <a:cubicBezTo>
                    <a:pt x="984" y="8"/>
                    <a:pt x="984" y="8"/>
                    <a:pt x="984" y="8"/>
                  </a:cubicBezTo>
                  <a:cubicBezTo>
                    <a:pt x="1042" y="0"/>
                    <a:pt x="1096" y="25"/>
                    <a:pt x="1096" y="58"/>
                  </a:cubicBezTo>
                  <a:close/>
                  <a:moveTo>
                    <a:pt x="853" y="200"/>
                  </a:moveTo>
                  <a:cubicBezTo>
                    <a:pt x="878" y="185"/>
                    <a:pt x="878" y="162"/>
                    <a:pt x="853" y="147"/>
                  </a:cubicBezTo>
                  <a:cubicBezTo>
                    <a:pt x="827" y="132"/>
                    <a:pt x="786" y="132"/>
                    <a:pt x="760" y="147"/>
                  </a:cubicBezTo>
                  <a:cubicBezTo>
                    <a:pt x="742" y="157"/>
                    <a:pt x="742" y="157"/>
                    <a:pt x="742" y="157"/>
                  </a:cubicBezTo>
                  <a:cubicBezTo>
                    <a:pt x="569" y="275"/>
                    <a:pt x="569" y="275"/>
                    <a:pt x="569" y="275"/>
                  </a:cubicBezTo>
                  <a:cubicBezTo>
                    <a:pt x="630" y="310"/>
                    <a:pt x="630" y="310"/>
                    <a:pt x="630" y="310"/>
                  </a:cubicBezTo>
                  <a:cubicBezTo>
                    <a:pt x="834" y="211"/>
                    <a:pt x="834" y="211"/>
                    <a:pt x="834" y="211"/>
                  </a:cubicBezTo>
                  <a:lnTo>
                    <a:pt x="853" y="200"/>
                  </a:lnTo>
                  <a:close/>
                  <a:moveTo>
                    <a:pt x="594" y="333"/>
                  </a:moveTo>
                  <a:cubicBezTo>
                    <a:pt x="594" y="323"/>
                    <a:pt x="588" y="314"/>
                    <a:pt x="575" y="307"/>
                  </a:cubicBezTo>
                  <a:cubicBezTo>
                    <a:pt x="562" y="299"/>
                    <a:pt x="547" y="296"/>
                    <a:pt x="529" y="296"/>
                  </a:cubicBezTo>
                  <a:cubicBezTo>
                    <a:pt x="511" y="296"/>
                    <a:pt x="496" y="299"/>
                    <a:pt x="483" y="307"/>
                  </a:cubicBezTo>
                  <a:cubicBezTo>
                    <a:pt x="470" y="314"/>
                    <a:pt x="464" y="323"/>
                    <a:pt x="464" y="333"/>
                  </a:cubicBezTo>
                  <a:cubicBezTo>
                    <a:pt x="464" y="344"/>
                    <a:pt x="470" y="352"/>
                    <a:pt x="483" y="360"/>
                  </a:cubicBezTo>
                  <a:cubicBezTo>
                    <a:pt x="496" y="367"/>
                    <a:pt x="511" y="371"/>
                    <a:pt x="529" y="371"/>
                  </a:cubicBezTo>
                  <a:cubicBezTo>
                    <a:pt x="547" y="371"/>
                    <a:pt x="562" y="367"/>
                    <a:pt x="575" y="360"/>
                  </a:cubicBezTo>
                  <a:cubicBezTo>
                    <a:pt x="588" y="352"/>
                    <a:pt x="594" y="344"/>
                    <a:pt x="594" y="333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1" name="Freeform 2361">
              <a:extLst>
                <a:ext uri="{FF2B5EF4-FFF2-40B4-BE49-F238E27FC236}">
                  <a16:creationId xmlns:a16="http://schemas.microsoft.com/office/drawing/2014/main" id="{531AF92D-6876-439C-8890-E8927E4256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" y="3671"/>
              <a:ext cx="85" cy="49"/>
            </a:xfrm>
            <a:custGeom>
              <a:avLst/>
              <a:gdLst>
                <a:gd name="T0" fmla="*/ 284 w 309"/>
                <a:gd name="T1" fmla="*/ 15 h 178"/>
                <a:gd name="T2" fmla="*/ 284 w 309"/>
                <a:gd name="T3" fmla="*/ 68 h 178"/>
                <a:gd name="T4" fmla="*/ 265 w 309"/>
                <a:gd name="T5" fmla="*/ 79 h 178"/>
                <a:gd name="T6" fmla="*/ 61 w 309"/>
                <a:gd name="T7" fmla="*/ 178 h 178"/>
                <a:gd name="T8" fmla="*/ 0 w 309"/>
                <a:gd name="T9" fmla="*/ 143 h 178"/>
                <a:gd name="T10" fmla="*/ 173 w 309"/>
                <a:gd name="T11" fmla="*/ 25 h 178"/>
                <a:gd name="T12" fmla="*/ 191 w 309"/>
                <a:gd name="T13" fmla="*/ 15 h 178"/>
                <a:gd name="T14" fmla="*/ 284 w 309"/>
                <a:gd name="T15" fmla="*/ 1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9" h="178">
                  <a:moveTo>
                    <a:pt x="284" y="15"/>
                  </a:moveTo>
                  <a:cubicBezTo>
                    <a:pt x="309" y="30"/>
                    <a:pt x="309" y="53"/>
                    <a:pt x="284" y="68"/>
                  </a:cubicBezTo>
                  <a:cubicBezTo>
                    <a:pt x="265" y="79"/>
                    <a:pt x="265" y="79"/>
                    <a:pt x="265" y="79"/>
                  </a:cubicBezTo>
                  <a:cubicBezTo>
                    <a:pt x="61" y="178"/>
                    <a:pt x="61" y="178"/>
                    <a:pt x="61" y="178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173" y="25"/>
                    <a:pt x="173" y="25"/>
                    <a:pt x="173" y="25"/>
                  </a:cubicBezTo>
                  <a:cubicBezTo>
                    <a:pt x="191" y="15"/>
                    <a:pt x="191" y="15"/>
                    <a:pt x="191" y="15"/>
                  </a:cubicBezTo>
                  <a:cubicBezTo>
                    <a:pt x="217" y="0"/>
                    <a:pt x="258" y="0"/>
                    <a:pt x="284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2" name="Freeform 2362">
              <a:extLst>
                <a:ext uri="{FF2B5EF4-FFF2-40B4-BE49-F238E27FC236}">
                  <a16:creationId xmlns:a16="http://schemas.microsoft.com/office/drawing/2014/main" id="{8E7401D8-22DE-4FE9-8D5E-8192629FB7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" y="3716"/>
              <a:ext cx="36" cy="21"/>
            </a:xfrm>
            <a:custGeom>
              <a:avLst/>
              <a:gdLst>
                <a:gd name="T0" fmla="*/ 111 w 130"/>
                <a:gd name="T1" fmla="*/ 11 h 75"/>
                <a:gd name="T2" fmla="*/ 130 w 130"/>
                <a:gd name="T3" fmla="*/ 37 h 75"/>
                <a:gd name="T4" fmla="*/ 111 w 130"/>
                <a:gd name="T5" fmla="*/ 64 h 75"/>
                <a:gd name="T6" fmla="*/ 65 w 130"/>
                <a:gd name="T7" fmla="*/ 75 h 75"/>
                <a:gd name="T8" fmla="*/ 19 w 130"/>
                <a:gd name="T9" fmla="*/ 64 h 75"/>
                <a:gd name="T10" fmla="*/ 0 w 130"/>
                <a:gd name="T11" fmla="*/ 37 h 75"/>
                <a:gd name="T12" fmla="*/ 19 w 130"/>
                <a:gd name="T13" fmla="*/ 11 h 75"/>
                <a:gd name="T14" fmla="*/ 65 w 130"/>
                <a:gd name="T15" fmla="*/ 0 h 75"/>
                <a:gd name="T16" fmla="*/ 111 w 130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0" h="75">
                  <a:moveTo>
                    <a:pt x="111" y="11"/>
                  </a:moveTo>
                  <a:cubicBezTo>
                    <a:pt x="124" y="18"/>
                    <a:pt x="130" y="27"/>
                    <a:pt x="130" y="37"/>
                  </a:cubicBezTo>
                  <a:cubicBezTo>
                    <a:pt x="130" y="48"/>
                    <a:pt x="124" y="56"/>
                    <a:pt x="111" y="64"/>
                  </a:cubicBezTo>
                  <a:cubicBezTo>
                    <a:pt x="98" y="71"/>
                    <a:pt x="83" y="75"/>
                    <a:pt x="65" y="75"/>
                  </a:cubicBezTo>
                  <a:cubicBezTo>
                    <a:pt x="47" y="75"/>
                    <a:pt x="32" y="71"/>
                    <a:pt x="19" y="64"/>
                  </a:cubicBezTo>
                  <a:cubicBezTo>
                    <a:pt x="6" y="56"/>
                    <a:pt x="0" y="48"/>
                    <a:pt x="0" y="37"/>
                  </a:cubicBezTo>
                  <a:cubicBezTo>
                    <a:pt x="0" y="27"/>
                    <a:pt x="6" y="18"/>
                    <a:pt x="19" y="11"/>
                  </a:cubicBezTo>
                  <a:cubicBezTo>
                    <a:pt x="32" y="3"/>
                    <a:pt x="47" y="0"/>
                    <a:pt x="65" y="0"/>
                  </a:cubicBezTo>
                  <a:cubicBezTo>
                    <a:pt x="83" y="0"/>
                    <a:pt x="98" y="3"/>
                    <a:pt x="111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3" name="Freeform 2363">
              <a:extLst>
                <a:ext uri="{FF2B5EF4-FFF2-40B4-BE49-F238E27FC236}">
                  <a16:creationId xmlns:a16="http://schemas.microsoft.com/office/drawing/2014/main" id="{9112E2C8-4726-473E-9099-868F0CCC0C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" y="3632"/>
              <a:ext cx="310" cy="58"/>
            </a:xfrm>
            <a:custGeom>
              <a:avLst/>
              <a:gdLst>
                <a:gd name="T0" fmla="*/ 12 w 1120"/>
                <a:gd name="T1" fmla="*/ 211 h 211"/>
                <a:gd name="T2" fmla="*/ 12 w 1120"/>
                <a:gd name="T3" fmla="*/ 211 h 211"/>
                <a:gd name="T4" fmla="*/ 0 w 1120"/>
                <a:gd name="T5" fmla="*/ 199 h 211"/>
                <a:gd name="T6" fmla="*/ 78 w 1120"/>
                <a:gd name="T7" fmla="*/ 139 h 211"/>
                <a:gd name="T8" fmla="*/ 995 w 1120"/>
                <a:gd name="T9" fmla="*/ 6 h 211"/>
                <a:gd name="T10" fmla="*/ 1101 w 1120"/>
                <a:gd name="T11" fmla="*/ 30 h 211"/>
                <a:gd name="T12" fmla="*/ 1120 w 1120"/>
                <a:gd name="T13" fmla="*/ 68 h 211"/>
                <a:gd name="T14" fmla="*/ 1108 w 1120"/>
                <a:gd name="T15" fmla="*/ 80 h 211"/>
                <a:gd name="T16" fmla="*/ 1108 w 1120"/>
                <a:gd name="T17" fmla="*/ 80 h 211"/>
                <a:gd name="T18" fmla="*/ 1096 w 1120"/>
                <a:gd name="T19" fmla="*/ 68 h 211"/>
                <a:gd name="T20" fmla="*/ 1085 w 1120"/>
                <a:gd name="T21" fmla="*/ 49 h 211"/>
                <a:gd name="T22" fmla="*/ 998 w 1120"/>
                <a:gd name="T23" fmla="*/ 30 h 211"/>
                <a:gd name="T24" fmla="*/ 82 w 1120"/>
                <a:gd name="T25" fmla="*/ 163 h 211"/>
                <a:gd name="T26" fmla="*/ 24 w 1120"/>
                <a:gd name="T27" fmla="*/ 200 h 211"/>
                <a:gd name="T28" fmla="*/ 12 w 1120"/>
                <a:gd name="T29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20" h="211">
                  <a:moveTo>
                    <a:pt x="12" y="211"/>
                  </a:moveTo>
                  <a:cubicBezTo>
                    <a:pt x="12" y="211"/>
                    <a:pt x="12" y="211"/>
                    <a:pt x="12" y="211"/>
                  </a:cubicBezTo>
                  <a:cubicBezTo>
                    <a:pt x="5" y="211"/>
                    <a:pt x="0" y="205"/>
                    <a:pt x="0" y="199"/>
                  </a:cubicBezTo>
                  <a:cubicBezTo>
                    <a:pt x="2" y="169"/>
                    <a:pt x="34" y="145"/>
                    <a:pt x="78" y="139"/>
                  </a:cubicBezTo>
                  <a:cubicBezTo>
                    <a:pt x="995" y="6"/>
                    <a:pt x="995" y="6"/>
                    <a:pt x="995" y="6"/>
                  </a:cubicBezTo>
                  <a:cubicBezTo>
                    <a:pt x="1035" y="0"/>
                    <a:pt x="1077" y="10"/>
                    <a:pt x="1101" y="30"/>
                  </a:cubicBezTo>
                  <a:cubicBezTo>
                    <a:pt x="1113" y="41"/>
                    <a:pt x="1120" y="54"/>
                    <a:pt x="1120" y="68"/>
                  </a:cubicBezTo>
                  <a:cubicBezTo>
                    <a:pt x="1120" y="74"/>
                    <a:pt x="1115" y="80"/>
                    <a:pt x="1108" y="80"/>
                  </a:cubicBezTo>
                  <a:cubicBezTo>
                    <a:pt x="1108" y="80"/>
                    <a:pt x="1108" y="80"/>
                    <a:pt x="1108" y="80"/>
                  </a:cubicBezTo>
                  <a:cubicBezTo>
                    <a:pt x="1101" y="80"/>
                    <a:pt x="1096" y="74"/>
                    <a:pt x="1096" y="68"/>
                  </a:cubicBezTo>
                  <a:cubicBezTo>
                    <a:pt x="1096" y="60"/>
                    <a:pt x="1090" y="53"/>
                    <a:pt x="1085" y="49"/>
                  </a:cubicBezTo>
                  <a:cubicBezTo>
                    <a:pt x="1069" y="35"/>
                    <a:pt x="1036" y="24"/>
                    <a:pt x="998" y="30"/>
                  </a:cubicBezTo>
                  <a:cubicBezTo>
                    <a:pt x="82" y="163"/>
                    <a:pt x="82" y="163"/>
                    <a:pt x="82" y="163"/>
                  </a:cubicBezTo>
                  <a:cubicBezTo>
                    <a:pt x="44" y="168"/>
                    <a:pt x="25" y="186"/>
                    <a:pt x="24" y="200"/>
                  </a:cubicBezTo>
                  <a:cubicBezTo>
                    <a:pt x="24" y="207"/>
                    <a:pt x="19" y="211"/>
                    <a:pt x="12" y="21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4" name="Freeform 2364">
              <a:extLst>
                <a:ext uri="{FF2B5EF4-FFF2-40B4-BE49-F238E27FC236}">
                  <a16:creationId xmlns:a16="http://schemas.microsoft.com/office/drawing/2014/main" id="{3102DBE2-57E5-42D9-8B96-7910A2479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" y="3673"/>
              <a:ext cx="310" cy="167"/>
            </a:xfrm>
            <a:custGeom>
              <a:avLst/>
              <a:gdLst>
                <a:gd name="T0" fmla="*/ 788 w 1120"/>
                <a:gd name="T1" fmla="*/ 605 h 605"/>
                <a:gd name="T2" fmla="*/ 719 w 1120"/>
                <a:gd name="T3" fmla="*/ 588 h 605"/>
                <a:gd name="T4" fmla="*/ 33 w 1120"/>
                <a:gd name="T5" fmla="*/ 192 h 605"/>
                <a:gd name="T6" fmla="*/ 0 w 1120"/>
                <a:gd name="T7" fmla="*/ 145 h 605"/>
                <a:gd name="T8" fmla="*/ 12 w 1120"/>
                <a:gd name="T9" fmla="*/ 133 h 605"/>
                <a:gd name="T10" fmla="*/ 24 w 1120"/>
                <a:gd name="T11" fmla="*/ 145 h 605"/>
                <a:gd name="T12" fmla="*/ 45 w 1120"/>
                <a:gd name="T13" fmla="*/ 171 h 605"/>
                <a:gd name="T14" fmla="*/ 731 w 1120"/>
                <a:gd name="T15" fmla="*/ 567 h 605"/>
                <a:gd name="T16" fmla="*/ 829 w 1120"/>
                <a:gd name="T17" fmla="*/ 574 h 605"/>
                <a:gd name="T18" fmla="*/ 864 w 1120"/>
                <a:gd name="T19" fmla="*/ 549 h 605"/>
                <a:gd name="T20" fmla="*/ 1094 w 1120"/>
                <a:gd name="T21" fmla="*/ 20 h 605"/>
                <a:gd name="T22" fmla="*/ 1096 w 1120"/>
                <a:gd name="T23" fmla="*/ 12 h 605"/>
                <a:gd name="T24" fmla="*/ 1108 w 1120"/>
                <a:gd name="T25" fmla="*/ 0 h 605"/>
                <a:gd name="T26" fmla="*/ 1108 w 1120"/>
                <a:gd name="T27" fmla="*/ 0 h 605"/>
                <a:gd name="T28" fmla="*/ 1120 w 1120"/>
                <a:gd name="T29" fmla="*/ 12 h 605"/>
                <a:gd name="T30" fmla="*/ 1116 w 1120"/>
                <a:gd name="T31" fmla="*/ 29 h 605"/>
                <a:gd name="T32" fmla="*/ 886 w 1120"/>
                <a:gd name="T33" fmla="*/ 558 h 605"/>
                <a:gd name="T34" fmla="*/ 837 w 1120"/>
                <a:gd name="T35" fmla="*/ 597 h 605"/>
                <a:gd name="T36" fmla="*/ 788 w 1120"/>
                <a:gd name="T37" fmla="*/ 605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20" h="605">
                  <a:moveTo>
                    <a:pt x="788" y="605"/>
                  </a:moveTo>
                  <a:cubicBezTo>
                    <a:pt x="763" y="605"/>
                    <a:pt x="738" y="599"/>
                    <a:pt x="719" y="588"/>
                  </a:cubicBezTo>
                  <a:cubicBezTo>
                    <a:pt x="33" y="192"/>
                    <a:pt x="33" y="192"/>
                    <a:pt x="33" y="192"/>
                  </a:cubicBezTo>
                  <a:cubicBezTo>
                    <a:pt x="12" y="180"/>
                    <a:pt x="0" y="163"/>
                    <a:pt x="0" y="145"/>
                  </a:cubicBezTo>
                  <a:cubicBezTo>
                    <a:pt x="0" y="138"/>
                    <a:pt x="6" y="133"/>
                    <a:pt x="12" y="133"/>
                  </a:cubicBezTo>
                  <a:cubicBezTo>
                    <a:pt x="19" y="133"/>
                    <a:pt x="24" y="138"/>
                    <a:pt x="24" y="145"/>
                  </a:cubicBezTo>
                  <a:cubicBezTo>
                    <a:pt x="24" y="154"/>
                    <a:pt x="31" y="164"/>
                    <a:pt x="45" y="171"/>
                  </a:cubicBezTo>
                  <a:cubicBezTo>
                    <a:pt x="731" y="567"/>
                    <a:pt x="731" y="567"/>
                    <a:pt x="731" y="567"/>
                  </a:cubicBezTo>
                  <a:cubicBezTo>
                    <a:pt x="756" y="582"/>
                    <a:pt x="797" y="585"/>
                    <a:pt x="829" y="574"/>
                  </a:cubicBezTo>
                  <a:cubicBezTo>
                    <a:pt x="847" y="569"/>
                    <a:pt x="859" y="559"/>
                    <a:pt x="864" y="549"/>
                  </a:cubicBezTo>
                  <a:cubicBezTo>
                    <a:pt x="1094" y="20"/>
                    <a:pt x="1094" y="20"/>
                    <a:pt x="1094" y="20"/>
                  </a:cubicBezTo>
                  <a:cubicBezTo>
                    <a:pt x="1095" y="17"/>
                    <a:pt x="1096" y="14"/>
                    <a:pt x="1096" y="12"/>
                  </a:cubicBezTo>
                  <a:cubicBezTo>
                    <a:pt x="1096" y="5"/>
                    <a:pt x="1101" y="0"/>
                    <a:pt x="1108" y="0"/>
                  </a:cubicBezTo>
                  <a:cubicBezTo>
                    <a:pt x="1108" y="0"/>
                    <a:pt x="1108" y="0"/>
                    <a:pt x="1108" y="0"/>
                  </a:cubicBezTo>
                  <a:cubicBezTo>
                    <a:pt x="1114" y="0"/>
                    <a:pt x="1120" y="5"/>
                    <a:pt x="1120" y="12"/>
                  </a:cubicBezTo>
                  <a:cubicBezTo>
                    <a:pt x="1120" y="18"/>
                    <a:pt x="1119" y="24"/>
                    <a:pt x="1116" y="29"/>
                  </a:cubicBezTo>
                  <a:cubicBezTo>
                    <a:pt x="886" y="558"/>
                    <a:pt x="886" y="558"/>
                    <a:pt x="886" y="558"/>
                  </a:cubicBezTo>
                  <a:cubicBezTo>
                    <a:pt x="879" y="575"/>
                    <a:pt x="861" y="589"/>
                    <a:pt x="837" y="597"/>
                  </a:cubicBezTo>
                  <a:cubicBezTo>
                    <a:pt x="821" y="602"/>
                    <a:pt x="805" y="605"/>
                    <a:pt x="788" y="605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5" name="Freeform 2365">
              <a:extLst>
                <a:ext uri="{FF2B5EF4-FFF2-40B4-BE49-F238E27FC236}">
                  <a16:creationId xmlns:a16="http://schemas.microsoft.com/office/drawing/2014/main" id="{C4197938-90ED-411B-BE5D-046D2FBAA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" y="3647"/>
              <a:ext cx="7" cy="7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12 h 24"/>
                <a:gd name="T10" fmla="*/ 12 w 24"/>
                <a:gd name="T1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5" y="24"/>
                    <a:pt x="0" y="19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4" y="5"/>
                    <a:pt x="24" y="12"/>
                  </a:cubicBezTo>
                  <a:cubicBezTo>
                    <a:pt x="24" y="19"/>
                    <a:pt x="18" y="24"/>
                    <a:pt x="12" y="2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6" name="Freeform 2366">
              <a:extLst>
                <a:ext uri="{FF2B5EF4-FFF2-40B4-BE49-F238E27FC236}">
                  <a16:creationId xmlns:a16="http://schemas.microsoft.com/office/drawing/2014/main" id="{61051F08-8DF9-4CA5-A73B-203DD428D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" y="3647"/>
              <a:ext cx="310" cy="167"/>
            </a:xfrm>
            <a:custGeom>
              <a:avLst/>
              <a:gdLst>
                <a:gd name="T0" fmla="*/ 788 w 1120"/>
                <a:gd name="T1" fmla="*/ 605 h 605"/>
                <a:gd name="T2" fmla="*/ 719 w 1120"/>
                <a:gd name="T3" fmla="*/ 588 h 605"/>
                <a:gd name="T4" fmla="*/ 33 w 1120"/>
                <a:gd name="T5" fmla="*/ 192 h 605"/>
                <a:gd name="T6" fmla="*/ 0 w 1120"/>
                <a:gd name="T7" fmla="*/ 145 h 605"/>
                <a:gd name="T8" fmla="*/ 24 w 1120"/>
                <a:gd name="T9" fmla="*/ 145 h 605"/>
                <a:gd name="T10" fmla="*/ 24 w 1120"/>
                <a:gd name="T11" fmla="*/ 145 h 605"/>
                <a:gd name="T12" fmla="*/ 45 w 1120"/>
                <a:gd name="T13" fmla="*/ 171 h 605"/>
                <a:gd name="T14" fmla="*/ 731 w 1120"/>
                <a:gd name="T15" fmla="*/ 567 h 605"/>
                <a:gd name="T16" fmla="*/ 829 w 1120"/>
                <a:gd name="T17" fmla="*/ 575 h 605"/>
                <a:gd name="T18" fmla="*/ 864 w 1120"/>
                <a:gd name="T19" fmla="*/ 549 h 605"/>
                <a:gd name="T20" fmla="*/ 1094 w 1120"/>
                <a:gd name="T21" fmla="*/ 20 h 605"/>
                <a:gd name="T22" fmla="*/ 1096 w 1120"/>
                <a:gd name="T23" fmla="*/ 12 h 605"/>
                <a:gd name="T24" fmla="*/ 1108 w 1120"/>
                <a:gd name="T25" fmla="*/ 0 h 605"/>
                <a:gd name="T26" fmla="*/ 1120 w 1120"/>
                <a:gd name="T27" fmla="*/ 12 h 605"/>
                <a:gd name="T28" fmla="*/ 1116 w 1120"/>
                <a:gd name="T29" fmla="*/ 30 h 605"/>
                <a:gd name="T30" fmla="*/ 886 w 1120"/>
                <a:gd name="T31" fmla="*/ 559 h 605"/>
                <a:gd name="T32" fmla="*/ 837 w 1120"/>
                <a:gd name="T33" fmla="*/ 597 h 605"/>
                <a:gd name="T34" fmla="*/ 788 w 1120"/>
                <a:gd name="T35" fmla="*/ 605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20" h="605">
                  <a:moveTo>
                    <a:pt x="788" y="605"/>
                  </a:moveTo>
                  <a:cubicBezTo>
                    <a:pt x="763" y="605"/>
                    <a:pt x="738" y="599"/>
                    <a:pt x="719" y="588"/>
                  </a:cubicBezTo>
                  <a:cubicBezTo>
                    <a:pt x="33" y="192"/>
                    <a:pt x="33" y="192"/>
                    <a:pt x="33" y="192"/>
                  </a:cubicBezTo>
                  <a:cubicBezTo>
                    <a:pt x="12" y="180"/>
                    <a:pt x="0" y="163"/>
                    <a:pt x="0" y="145"/>
                  </a:cubicBezTo>
                  <a:cubicBezTo>
                    <a:pt x="24" y="145"/>
                    <a:pt x="24" y="145"/>
                    <a:pt x="24" y="145"/>
                  </a:cubicBezTo>
                  <a:cubicBezTo>
                    <a:pt x="24" y="145"/>
                    <a:pt x="24" y="145"/>
                    <a:pt x="24" y="145"/>
                  </a:cubicBezTo>
                  <a:cubicBezTo>
                    <a:pt x="24" y="155"/>
                    <a:pt x="32" y="164"/>
                    <a:pt x="45" y="171"/>
                  </a:cubicBezTo>
                  <a:cubicBezTo>
                    <a:pt x="731" y="567"/>
                    <a:pt x="731" y="567"/>
                    <a:pt x="731" y="567"/>
                  </a:cubicBezTo>
                  <a:cubicBezTo>
                    <a:pt x="756" y="582"/>
                    <a:pt x="797" y="585"/>
                    <a:pt x="829" y="575"/>
                  </a:cubicBezTo>
                  <a:cubicBezTo>
                    <a:pt x="847" y="569"/>
                    <a:pt x="859" y="559"/>
                    <a:pt x="864" y="549"/>
                  </a:cubicBezTo>
                  <a:cubicBezTo>
                    <a:pt x="1094" y="20"/>
                    <a:pt x="1094" y="20"/>
                    <a:pt x="1094" y="20"/>
                  </a:cubicBezTo>
                  <a:cubicBezTo>
                    <a:pt x="1095" y="17"/>
                    <a:pt x="1096" y="15"/>
                    <a:pt x="1096" y="12"/>
                  </a:cubicBezTo>
                  <a:cubicBezTo>
                    <a:pt x="1096" y="6"/>
                    <a:pt x="1101" y="0"/>
                    <a:pt x="1108" y="0"/>
                  </a:cubicBezTo>
                  <a:cubicBezTo>
                    <a:pt x="1114" y="0"/>
                    <a:pt x="1120" y="6"/>
                    <a:pt x="1120" y="12"/>
                  </a:cubicBezTo>
                  <a:cubicBezTo>
                    <a:pt x="1120" y="18"/>
                    <a:pt x="1119" y="24"/>
                    <a:pt x="1116" y="30"/>
                  </a:cubicBezTo>
                  <a:cubicBezTo>
                    <a:pt x="886" y="559"/>
                    <a:pt x="886" y="559"/>
                    <a:pt x="886" y="559"/>
                  </a:cubicBezTo>
                  <a:cubicBezTo>
                    <a:pt x="879" y="576"/>
                    <a:pt x="861" y="589"/>
                    <a:pt x="837" y="597"/>
                  </a:cubicBezTo>
                  <a:cubicBezTo>
                    <a:pt x="821" y="602"/>
                    <a:pt x="805" y="605"/>
                    <a:pt x="788" y="605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7" name="Freeform 2367">
              <a:extLst>
                <a:ext uri="{FF2B5EF4-FFF2-40B4-BE49-F238E27FC236}">
                  <a16:creationId xmlns:a16="http://schemas.microsoft.com/office/drawing/2014/main" id="{258395FB-D19D-430E-8E4B-887B46EDE5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" y="3667"/>
              <a:ext cx="90" cy="56"/>
            </a:xfrm>
            <a:custGeom>
              <a:avLst/>
              <a:gdLst>
                <a:gd name="T0" fmla="*/ 73 w 327"/>
                <a:gd name="T1" fmla="*/ 203 h 203"/>
                <a:gd name="T2" fmla="*/ 67 w 327"/>
                <a:gd name="T3" fmla="*/ 202 h 203"/>
                <a:gd name="T4" fmla="*/ 6 w 327"/>
                <a:gd name="T5" fmla="*/ 166 h 203"/>
                <a:gd name="T6" fmla="*/ 0 w 327"/>
                <a:gd name="T7" fmla="*/ 156 h 203"/>
                <a:gd name="T8" fmla="*/ 5 w 327"/>
                <a:gd name="T9" fmla="*/ 146 h 203"/>
                <a:gd name="T10" fmla="*/ 179 w 327"/>
                <a:gd name="T11" fmla="*/ 28 h 203"/>
                <a:gd name="T12" fmla="*/ 197 w 327"/>
                <a:gd name="T13" fmla="*/ 17 h 203"/>
                <a:gd name="T14" fmla="*/ 302 w 327"/>
                <a:gd name="T15" fmla="*/ 17 h 203"/>
                <a:gd name="T16" fmla="*/ 327 w 327"/>
                <a:gd name="T17" fmla="*/ 54 h 203"/>
                <a:gd name="T18" fmla="*/ 302 w 327"/>
                <a:gd name="T19" fmla="*/ 92 h 203"/>
                <a:gd name="T20" fmla="*/ 282 w 327"/>
                <a:gd name="T21" fmla="*/ 103 h 203"/>
                <a:gd name="T22" fmla="*/ 79 w 327"/>
                <a:gd name="T23" fmla="*/ 202 h 203"/>
                <a:gd name="T24" fmla="*/ 73 w 327"/>
                <a:gd name="T25" fmla="*/ 203 h 203"/>
                <a:gd name="T26" fmla="*/ 34 w 327"/>
                <a:gd name="T27" fmla="*/ 155 h 203"/>
                <a:gd name="T28" fmla="*/ 74 w 327"/>
                <a:gd name="T29" fmla="*/ 178 h 203"/>
                <a:gd name="T30" fmla="*/ 272 w 327"/>
                <a:gd name="T31" fmla="*/ 81 h 203"/>
                <a:gd name="T32" fmla="*/ 290 w 327"/>
                <a:gd name="T33" fmla="*/ 71 h 203"/>
                <a:gd name="T34" fmla="*/ 303 w 327"/>
                <a:gd name="T35" fmla="*/ 54 h 203"/>
                <a:gd name="T36" fmla="*/ 290 w 327"/>
                <a:gd name="T37" fmla="*/ 38 h 203"/>
                <a:gd name="T38" fmla="*/ 290 w 327"/>
                <a:gd name="T39" fmla="*/ 38 h 203"/>
                <a:gd name="T40" fmla="*/ 209 w 327"/>
                <a:gd name="T41" fmla="*/ 38 h 203"/>
                <a:gd name="T42" fmla="*/ 191 w 327"/>
                <a:gd name="T43" fmla="*/ 49 h 203"/>
                <a:gd name="T44" fmla="*/ 34 w 327"/>
                <a:gd name="T45" fmla="*/ 155 h 203"/>
                <a:gd name="T46" fmla="*/ 277 w 327"/>
                <a:gd name="T47" fmla="*/ 92 h 203"/>
                <a:gd name="T48" fmla="*/ 277 w 327"/>
                <a:gd name="T49" fmla="*/ 92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7" h="203">
                  <a:moveTo>
                    <a:pt x="73" y="203"/>
                  </a:moveTo>
                  <a:cubicBezTo>
                    <a:pt x="71" y="203"/>
                    <a:pt x="69" y="203"/>
                    <a:pt x="67" y="202"/>
                  </a:cubicBezTo>
                  <a:cubicBezTo>
                    <a:pt x="6" y="166"/>
                    <a:pt x="6" y="166"/>
                    <a:pt x="6" y="166"/>
                  </a:cubicBezTo>
                  <a:cubicBezTo>
                    <a:pt x="2" y="164"/>
                    <a:pt x="0" y="160"/>
                    <a:pt x="0" y="156"/>
                  </a:cubicBezTo>
                  <a:cubicBezTo>
                    <a:pt x="0" y="152"/>
                    <a:pt x="2" y="148"/>
                    <a:pt x="5" y="146"/>
                  </a:cubicBezTo>
                  <a:cubicBezTo>
                    <a:pt x="5" y="146"/>
                    <a:pt x="178" y="28"/>
                    <a:pt x="179" y="28"/>
                  </a:cubicBezTo>
                  <a:cubicBezTo>
                    <a:pt x="197" y="17"/>
                    <a:pt x="197" y="17"/>
                    <a:pt x="197" y="17"/>
                  </a:cubicBezTo>
                  <a:cubicBezTo>
                    <a:pt x="227" y="0"/>
                    <a:pt x="272" y="1"/>
                    <a:pt x="302" y="17"/>
                  </a:cubicBezTo>
                  <a:cubicBezTo>
                    <a:pt x="318" y="27"/>
                    <a:pt x="327" y="40"/>
                    <a:pt x="327" y="54"/>
                  </a:cubicBezTo>
                  <a:cubicBezTo>
                    <a:pt x="327" y="69"/>
                    <a:pt x="318" y="82"/>
                    <a:pt x="302" y="92"/>
                  </a:cubicBezTo>
                  <a:cubicBezTo>
                    <a:pt x="302" y="92"/>
                    <a:pt x="283" y="103"/>
                    <a:pt x="282" y="103"/>
                  </a:cubicBezTo>
                  <a:cubicBezTo>
                    <a:pt x="79" y="202"/>
                    <a:pt x="79" y="202"/>
                    <a:pt x="79" y="202"/>
                  </a:cubicBezTo>
                  <a:cubicBezTo>
                    <a:pt x="77" y="203"/>
                    <a:pt x="75" y="203"/>
                    <a:pt x="73" y="203"/>
                  </a:cubicBezTo>
                  <a:close/>
                  <a:moveTo>
                    <a:pt x="34" y="155"/>
                  </a:moveTo>
                  <a:cubicBezTo>
                    <a:pt x="74" y="178"/>
                    <a:pt x="74" y="178"/>
                    <a:pt x="74" y="178"/>
                  </a:cubicBezTo>
                  <a:cubicBezTo>
                    <a:pt x="272" y="81"/>
                    <a:pt x="272" y="81"/>
                    <a:pt x="272" y="81"/>
                  </a:cubicBezTo>
                  <a:cubicBezTo>
                    <a:pt x="290" y="71"/>
                    <a:pt x="290" y="71"/>
                    <a:pt x="290" y="71"/>
                  </a:cubicBezTo>
                  <a:cubicBezTo>
                    <a:pt x="298" y="66"/>
                    <a:pt x="303" y="60"/>
                    <a:pt x="303" y="54"/>
                  </a:cubicBezTo>
                  <a:cubicBezTo>
                    <a:pt x="303" y="49"/>
                    <a:pt x="298" y="43"/>
                    <a:pt x="290" y="38"/>
                  </a:cubicBezTo>
                  <a:cubicBezTo>
                    <a:pt x="290" y="38"/>
                    <a:pt x="290" y="38"/>
                    <a:pt x="290" y="38"/>
                  </a:cubicBezTo>
                  <a:cubicBezTo>
                    <a:pt x="268" y="26"/>
                    <a:pt x="231" y="26"/>
                    <a:pt x="209" y="38"/>
                  </a:cubicBezTo>
                  <a:cubicBezTo>
                    <a:pt x="191" y="49"/>
                    <a:pt x="191" y="49"/>
                    <a:pt x="191" y="49"/>
                  </a:cubicBezTo>
                  <a:lnTo>
                    <a:pt x="34" y="155"/>
                  </a:lnTo>
                  <a:close/>
                  <a:moveTo>
                    <a:pt x="277" y="92"/>
                  </a:moveTo>
                  <a:cubicBezTo>
                    <a:pt x="277" y="92"/>
                    <a:pt x="277" y="92"/>
                    <a:pt x="277" y="9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8" name="Freeform 2368">
              <a:extLst>
                <a:ext uri="{FF2B5EF4-FFF2-40B4-BE49-F238E27FC236}">
                  <a16:creationId xmlns:a16="http://schemas.microsoft.com/office/drawing/2014/main" id="{B3E41E08-B2FC-44E2-A8AE-9934DB3975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7" y="3713"/>
              <a:ext cx="42" cy="27"/>
            </a:xfrm>
            <a:custGeom>
              <a:avLst/>
              <a:gdLst>
                <a:gd name="T0" fmla="*/ 77 w 154"/>
                <a:gd name="T1" fmla="*/ 100 h 100"/>
                <a:gd name="T2" fmla="*/ 25 w 154"/>
                <a:gd name="T3" fmla="*/ 87 h 100"/>
                <a:gd name="T4" fmla="*/ 0 w 154"/>
                <a:gd name="T5" fmla="*/ 50 h 100"/>
                <a:gd name="T6" fmla="*/ 0 w 154"/>
                <a:gd name="T7" fmla="*/ 50 h 100"/>
                <a:gd name="T8" fmla="*/ 25 w 154"/>
                <a:gd name="T9" fmla="*/ 13 h 100"/>
                <a:gd name="T10" fmla="*/ 77 w 154"/>
                <a:gd name="T11" fmla="*/ 1 h 100"/>
                <a:gd name="T12" fmla="*/ 129 w 154"/>
                <a:gd name="T13" fmla="*/ 13 h 100"/>
                <a:gd name="T14" fmla="*/ 154 w 154"/>
                <a:gd name="T15" fmla="*/ 50 h 100"/>
                <a:gd name="T16" fmla="*/ 129 w 154"/>
                <a:gd name="T17" fmla="*/ 87 h 100"/>
                <a:gd name="T18" fmla="*/ 77 w 154"/>
                <a:gd name="T19" fmla="*/ 100 h 100"/>
                <a:gd name="T20" fmla="*/ 24 w 154"/>
                <a:gd name="T21" fmla="*/ 50 h 100"/>
                <a:gd name="T22" fmla="*/ 37 w 154"/>
                <a:gd name="T23" fmla="*/ 67 h 100"/>
                <a:gd name="T24" fmla="*/ 77 w 154"/>
                <a:gd name="T25" fmla="*/ 76 h 100"/>
                <a:gd name="T26" fmla="*/ 117 w 154"/>
                <a:gd name="T27" fmla="*/ 67 h 100"/>
                <a:gd name="T28" fmla="*/ 130 w 154"/>
                <a:gd name="T29" fmla="*/ 50 h 100"/>
                <a:gd name="T30" fmla="*/ 117 w 154"/>
                <a:gd name="T31" fmla="*/ 34 h 100"/>
                <a:gd name="T32" fmla="*/ 77 w 154"/>
                <a:gd name="T33" fmla="*/ 25 h 100"/>
                <a:gd name="T34" fmla="*/ 37 w 154"/>
                <a:gd name="T35" fmla="*/ 34 h 100"/>
                <a:gd name="T36" fmla="*/ 24 w 154"/>
                <a:gd name="T37" fmla="*/ 5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4" h="100">
                  <a:moveTo>
                    <a:pt x="77" y="100"/>
                  </a:moveTo>
                  <a:cubicBezTo>
                    <a:pt x="57" y="100"/>
                    <a:pt x="40" y="96"/>
                    <a:pt x="25" y="87"/>
                  </a:cubicBezTo>
                  <a:cubicBezTo>
                    <a:pt x="4" y="75"/>
                    <a:pt x="0" y="61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36"/>
                    <a:pt x="8" y="23"/>
                    <a:pt x="25" y="13"/>
                  </a:cubicBezTo>
                  <a:cubicBezTo>
                    <a:pt x="40" y="5"/>
                    <a:pt x="57" y="1"/>
                    <a:pt x="77" y="1"/>
                  </a:cubicBezTo>
                  <a:cubicBezTo>
                    <a:pt x="97" y="0"/>
                    <a:pt x="114" y="5"/>
                    <a:pt x="129" y="13"/>
                  </a:cubicBezTo>
                  <a:cubicBezTo>
                    <a:pt x="146" y="23"/>
                    <a:pt x="154" y="36"/>
                    <a:pt x="154" y="50"/>
                  </a:cubicBezTo>
                  <a:cubicBezTo>
                    <a:pt x="154" y="61"/>
                    <a:pt x="150" y="75"/>
                    <a:pt x="129" y="87"/>
                  </a:cubicBezTo>
                  <a:cubicBezTo>
                    <a:pt x="114" y="96"/>
                    <a:pt x="97" y="100"/>
                    <a:pt x="77" y="100"/>
                  </a:cubicBezTo>
                  <a:close/>
                  <a:moveTo>
                    <a:pt x="24" y="50"/>
                  </a:moveTo>
                  <a:cubicBezTo>
                    <a:pt x="24" y="56"/>
                    <a:pt x="28" y="61"/>
                    <a:pt x="37" y="67"/>
                  </a:cubicBezTo>
                  <a:cubicBezTo>
                    <a:pt x="48" y="73"/>
                    <a:pt x="61" y="76"/>
                    <a:pt x="77" y="76"/>
                  </a:cubicBezTo>
                  <a:cubicBezTo>
                    <a:pt x="93" y="76"/>
                    <a:pt x="106" y="73"/>
                    <a:pt x="117" y="67"/>
                  </a:cubicBezTo>
                  <a:cubicBezTo>
                    <a:pt x="130" y="59"/>
                    <a:pt x="130" y="52"/>
                    <a:pt x="130" y="50"/>
                  </a:cubicBezTo>
                  <a:cubicBezTo>
                    <a:pt x="130" y="48"/>
                    <a:pt x="130" y="42"/>
                    <a:pt x="117" y="34"/>
                  </a:cubicBezTo>
                  <a:cubicBezTo>
                    <a:pt x="106" y="28"/>
                    <a:pt x="93" y="25"/>
                    <a:pt x="77" y="25"/>
                  </a:cubicBezTo>
                  <a:cubicBezTo>
                    <a:pt x="62" y="25"/>
                    <a:pt x="48" y="28"/>
                    <a:pt x="37" y="34"/>
                  </a:cubicBezTo>
                  <a:cubicBezTo>
                    <a:pt x="24" y="42"/>
                    <a:pt x="24" y="48"/>
                    <a:pt x="24" y="50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9" name="Freeform 2369">
              <a:extLst>
                <a:ext uri="{FF2B5EF4-FFF2-40B4-BE49-F238E27FC236}">
                  <a16:creationId xmlns:a16="http://schemas.microsoft.com/office/drawing/2014/main" id="{B814FBFF-BADE-426B-A168-1955F86E95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" y="3684"/>
              <a:ext cx="7" cy="32"/>
            </a:xfrm>
            <a:custGeom>
              <a:avLst/>
              <a:gdLst>
                <a:gd name="T0" fmla="*/ 12 w 24"/>
                <a:gd name="T1" fmla="*/ 117 h 117"/>
                <a:gd name="T2" fmla="*/ 0 w 24"/>
                <a:gd name="T3" fmla="*/ 105 h 117"/>
                <a:gd name="T4" fmla="*/ 0 w 24"/>
                <a:gd name="T5" fmla="*/ 12 h 117"/>
                <a:gd name="T6" fmla="*/ 12 w 24"/>
                <a:gd name="T7" fmla="*/ 0 h 117"/>
                <a:gd name="T8" fmla="*/ 24 w 24"/>
                <a:gd name="T9" fmla="*/ 12 h 117"/>
                <a:gd name="T10" fmla="*/ 24 w 24"/>
                <a:gd name="T11" fmla="*/ 105 h 117"/>
                <a:gd name="T12" fmla="*/ 12 w 24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17">
                  <a:moveTo>
                    <a:pt x="12" y="117"/>
                  </a:moveTo>
                  <a:cubicBezTo>
                    <a:pt x="6" y="117"/>
                    <a:pt x="0" y="112"/>
                    <a:pt x="0" y="10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6" y="0"/>
                    <a:pt x="12" y="0"/>
                  </a:cubicBezTo>
                  <a:cubicBezTo>
                    <a:pt x="19" y="0"/>
                    <a:pt x="24" y="6"/>
                    <a:pt x="24" y="12"/>
                  </a:cubicBezTo>
                  <a:cubicBezTo>
                    <a:pt x="24" y="105"/>
                    <a:pt x="24" y="105"/>
                    <a:pt x="24" y="105"/>
                  </a:cubicBezTo>
                  <a:cubicBezTo>
                    <a:pt x="24" y="112"/>
                    <a:pt x="19" y="117"/>
                    <a:pt x="12" y="117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0" name="Freeform 2370">
              <a:extLst>
                <a:ext uri="{FF2B5EF4-FFF2-40B4-BE49-F238E27FC236}">
                  <a16:creationId xmlns:a16="http://schemas.microsoft.com/office/drawing/2014/main" id="{45247A1E-AB6D-4F7E-87FF-9C6315AC22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" y="3647"/>
              <a:ext cx="7" cy="32"/>
            </a:xfrm>
            <a:custGeom>
              <a:avLst/>
              <a:gdLst>
                <a:gd name="T0" fmla="*/ 12 w 24"/>
                <a:gd name="T1" fmla="*/ 117 h 117"/>
                <a:gd name="T2" fmla="*/ 0 w 24"/>
                <a:gd name="T3" fmla="*/ 105 h 117"/>
                <a:gd name="T4" fmla="*/ 0 w 24"/>
                <a:gd name="T5" fmla="*/ 12 h 117"/>
                <a:gd name="T6" fmla="*/ 12 w 24"/>
                <a:gd name="T7" fmla="*/ 0 h 117"/>
                <a:gd name="T8" fmla="*/ 24 w 24"/>
                <a:gd name="T9" fmla="*/ 12 h 117"/>
                <a:gd name="T10" fmla="*/ 24 w 24"/>
                <a:gd name="T11" fmla="*/ 105 h 117"/>
                <a:gd name="T12" fmla="*/ 12 w 24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17">
                  <a:moveTo>
                    <a:pt x="12" y="117"/>
                  </a:moveTo>
                  <a:cubicBezTo>
                    <a:pt x="5" y="117"/>
                    <a:pt x="0" y="111"/>
                    <a:pt x="0" y="10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8" y="0"/>
                    <a:pt x="24" y="6"/>
                    <a:pt x="24" y="12"/>
                  </a:cubicBezTo>
                  <a:cubicBezTo>
                    <a:pt x="24" y="105"/>
                    <a:pt x="24" y="105"/>
                    <a:pt x="24" y="105"/>
                  </a:cubicBezTo>
                  <a:cubicBezTo>
                    <a:pt x="24" y="111"/>
                    <a:pt x="18" y="117"/>
                    <a:pt x="12" y="117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1" name="Freeform 2371">
              <a:extLst>
                <a:ext uri="{FF2B5EF4-FFF2-40B4-BE49-F238E27FC236}">
                  <a16:creationId xmlns:a16="http://schemas.microsoft.com/office/drawing/2014/main" id="{39C0DE73-0010-4DDE-9396-C4386F1999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" y="3657"/>
              <a:ext cx="110" cy="106"/>
            </a:xfrm>
            <a:custGeom>
              <a:avLst/>
              <a:gdLst>
                <a:gd name="T0" fmla="*/ 400 w 400"/>
                <a:gd name="T1" fmla="*/ 0 h 383"/>
                <a:gd name="T2" fmla="*/ 400 w 400"/>
                <a:gd name="T3" fmla="*/ 256 h 383"/>
                <a:gd name="T4" fmla="*/ 342 w 400"/>
                <a:gd name="T5" fmla="*/ 338 h 383"/>
                <a:gd name="T6" fmla="*/ 58 w 400"/>
                <a:gd name="T7" fmla="*/ 338 h 383"/>
                <a:gd name="T8" fmla="*/ 0 w 400"/>
                <a:gd name="T9" fmla="*/ 256 h 383"/>
                <a:gd name="T10" fmla="*/ 0 w 400"/>
                <a:gd name="T11" fmla="*/ 0 h 383"/>
                <a:gd name="T12" fmla="*/ 58 w 400"/>
                <a:gd name="T13" fmla="*/ 82 h 383"/>
                <a:gd name="T14" fmla="*/ 342 w 400"/>
                <a:gd name="T15" fmla="*/ 82 h 383"/>
                <a:gd name="T16" fmla="*/ 400 w 400"/>
                <a:gd name="T1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0" h="383">
                  <a:moveTo>
                    <a:pt x="400" y="0"/>
                  </a:moveTo>
                  <a:cubicBezTo>
                    <a:pt x="400" y="256"/>
                    <a:pt x="400" y="256"/>
                    <a:pt x="400" y="256"/>
                  </a:cubicBezTo>
                  <a:cubicBezTo>
                    <a:pt x="400" y="285"/>
                    <a:pt x="381" y="315"/>
                    <a:pt x="342" y="338"/>
                  </a:cubicBezTo>
                  <a:cubicBezTo>
                    <a:pt x="263" y="383"/>
                    <a:pt x="136" y="383"/>
                    <a:pt x="58" y="338"/>
                  </a:cubicBezTo>
                  <a:cubicBezTo>
                    <a:pt x="19" y="315"/>
                    <a:pt x="0" y="285"/>
                    <a:pt x="0" y="2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0"/>
                    <a:pt x="19" y="59"/>
                    <a:pt x="58" y="82"/>
                  </a:cubicBezTo>
                  <a:cubicBezTo>
                    <a:pt x="136" y="127"/>
                    <a:pt x="263" y="127"/>
                    <a:pt x="342" y="82"/>
                  </a:cubicBezTo>
                  <a:cubicBezTo>
                    <a:pt x="381" y="59"/>
                    <a:pt x="400" y="30"/>
                    <a:pt x="400" y="0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2" name="Freeform 2372">
              <a:extLst>
                <a:ext uri="{FF2B5EF4-FFF2-40B4-BE49-F238E27FC236}">
                  <a16:creationId xmlns:a16="http://schemas.microsoft.com/office/drawing/2014/main" id="{6475E30F-BC6D-486B-BB76-86BBB8F7FD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" y="3610"/>
              <a:ext cx="110" cy="82"/>
            </a:xfrm>
            <a:custGeom>
              <a:avLst/>
              <a:gdLst>
                <a:gd name="T0" fmla="*/ 400 w 400"/>
                <a:gd name="T1" fmla="*/ 0 h 297"/>
                <a:gd name="T2" fmla="*/ 400 w 400"/>
                <a:gd name="T3" fmla="*/ 170 h 297"/>
                <a:gd name="T4" fmla="*/ 342 w 400"/>
                <a:gd name="T5" fmla="*/ 252 h 297"/>
                <a:gd name="T6" fmla="*/ 58 w 400"/>
                <a:gd name="T7" fmla="*/ 252 h 297"/>
                <a:gd name="T8" fmla="*/ 0 w 400"/>
                <a:gd name="T9" fmla="*/ 170 h 297"/>
                <a:gd name="T10" fmla="*/ 0 w 400"/>
                <a:gd name="T11" fmla="*/ 0 h 297"/>
                <a:gd name="T12" fmla="*/ 58 w 400"/>
                <a:gd name="T13" fmla="*/ 82 h 297"/>
                <a:gd name="T14" fmla="*/ 342 w 400"/>
                <a:gd name="T15" fmla="*/ 82 h 297"/>
                <a:gd name="T16" fmla="*/ 400 w 400"/>
                <a:gd name="T17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0" h="297">
                  <a:moveTo>
                    <a:pt x="400" y="0"/>
                  </a:moveTo>
                  <a:cubicBezTo>
                    <a:pt x="400" y="170"/>
                    <a:pt x="400" y="170"/>
                    <a:pt x="400" y="170"/>
                  </a:cubicBezTo>
                  <a:cubicBezTo>
                    <a:pt x="400" y="200"/>
                    <a:pt x="381" y="229"/>
                    <a:pt x="342" y="252"/>
                  </a:cubicBezTo>
                  <a:cubicBezTo>
                    <a:pt x="263" y="297"/>
                    <a:pt x="136" y="297"/>
                    <a:pt x="58" y="252"/>
                  </a:cubicBezTo>
                  <a:cubicBezTo>
                    <a:pt x="19" y="229"/>
                    <a:pt x="0" y="200"/>
                    <a:pt x="0" y="1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9"/>
                    <a:pt x="19" y="59"/>
                    <a:pt x="58" y="82"/>
                  </a:cubicBezTo>
                  <a:cubicBezTo>
                    <a:pt x="136" y="127"/>
                    <a:pt x="263" y="127"/>
                    <a:pt x="342" y="82"/>
                  </a:cubicBezTo>
                  <a:cubicBezTo>
                    <a:pt x="381" y="59"/>
                    <a:pt x="400" y="29"/>
                    <a:pt x="400" y="0"/>
                  </a:cubicBezTo>
                  <a:close/>
                </a:path>
              </a:pathLst>
            </a:custGeom>
            <a:solidFill>
              <a:srgbClr val="C2C7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3" name="Freeform 2373">
              <a:extLst>
                <a:ext uri="{FF2B5EF4-FFF2-40B4-BE49-F238E27FC236}">
                  <a16:creationId xmlns:a16="http://schemas.microsoft.com/office/drawing/2014/main" id="{129E1404-4877-499B-A75D-638C55896A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" y="3583"/>
              <a:ext cx="110" cy="62"/>
            </a:xfrm>
            <a:custGeom>
              <a:avLst/>
              <a:gdLst>
                <a:gd name="T0" fmla="*/ 400 w 400"/>
                <a:gd name="T1" fmla="*/ 0 h 226"/>
                <a:gd name="T2" fmla="*/ 400 w 400"/>
                <a:gd name="T3" fmla="*/ 99 h 226"/>
                <a:gd name="T4" fmla="*/ 342 w 400"/>
                <a:gd name="T5" fmla="*/ 181 h 226"/>
                <a:gd name="T6" fmla="*/ 58 w 400"/>
                <a:gd name="T7" fmla="*/ 181 h 226"/>
                <a:gd name="T8" fmla="*/ 0 w 400"/>
                <a:gd name="T9" fmla="*/ 99 h 226"/>
                <a:gd name="T10" fmla="*/ 0 w 400"/>
                <a:gd name="T11" fmla="*/ 0 h 226"/>
                <a:gd name="T12" fmla="*/ 58 w 400"/>
                <a:gd name="T13" fmla="*/ 82 h 226"/>
                <a:gd name="T14" fmla="*/ 342 w 400"/>
                <a:gd name="T15" fmla="*/ 82 h 226"/>
                <a:gd name="T16" fmla="*/ 400 w 400"/>
                <a:gd name="T17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0" h="226">
                  <a:moveTo>
                    <a:pt x="400" y="0"/>
                  </a:moveTo>
                  <a:cubicBezTo>
                    <a:pt x="400" y="99"/>
                    <a:pt x="400" y="99"/>
                    <a:pt x="400" y="99"/>
                  </a:cubicBezTo>
                  <a:cubicBezTo>
                    <a:pt x="400" y="128"/>
                    <a:pt x="381" y="158"/>
                    <a:pt x="342" y="181"/>
                  </a:cubicBezTo>
                  <a:cubicBezTo>
                    <a:pt x="263" y="226"/>
                    <a:pt x="136" y="226"/>
                    <a:pt x="58" y="181"/>
                  </a:cubicBezTo>
                  <a:cubicBezTo>
                    <a:pt x="19" y="158"/>
                    <a:pt x="0" y="128"/>
                    <a:pt x="0" y="9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0"/>
                    <a:pt x="19" y="59"/>
                    <a:pt x="58" y="82"/>
                  </a:cubicBezTo>
                  <a:cubicBezTo>
                    <a:pt x="136" y="127"/>
                    <a:pt x="263" y="127"/>
                    <a:pt x="342" y="82"/>
                  </a:cubicBezTo>
                  <a:cubicBezTo>
                    <a:pt x="381" y="59"/>
                    <a:pt x="400" y="30"/>
                    <a:pt x="400" y="0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4" name="Freeform 2374">
              <a:extLst>
                <a:ext uri="{FF2B5EF4-FFF2-40B4-BE49-F238E27FC236}">
                  <a16:creationId xmlns:a16="http://schemas.microsoft.com/office/drawing/2014/main" id="{A3ADE0A0-98A8-44EE-BA03-6E78DAC84C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" y="3524"/>
              <a:ext cx="110" cy="94"/>
            </a:xfrm>
            <a:custGeom>
              <a:avLst/>
              <a:gdLst>
                <a:gd name="T0" fmla="*/ 400 w 400"/>
                <a:gd name="T1" fmla="*/ 2 h 339"/>
                <a:gd name="T2" fmla="*/ 400 w 400"/>
                <a:gd name="T3" fmla="*/ 212 h 339"/>
                <a:gd name="T4" fmla="*/ 342 w 400"/>
                <a:gd name="T5" fmla="*/ 294 h 339"/>
                <a:gd name="T6" fmla="*/ 58 w 400"/>
                <a:gd name="T7" fmla="*/ 294 h 339"/>
                <a:gd name="T8" fmla="*/ 0 w 400"/>
                <a:gd name="T9" fmla="*/ 212 h 339"/>
                <a:gd name="T10" fmla="*/ 0 w 400"/>
                <a:gd name="T11" fmla="*/ 0 h 339"/>
                <a:gd name="T12" fmla="*/ 58 w 400"/>
                <a:gd name="T13" fmla="*/ 82 h 339"/>
                <a:gd name="T14" fmla="*/ 342 w 400"/>
                <a:gd name="T15" fmla="*/ 82 h 339"/>
                <a:gd name="T16" fmla="*/ 400 w 400"/>
                <a:gd name="T17" fmla="*/ 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0" h="339">
                  <a:moveTo>
                    <a:pt x="400" y="2"/>
                  </a:moveTo>
                  <a:cubicBezTo>
                    <a:pt x="400" y="212"/>
                    <a:pt x="400" y="212"/>
                    <a:pt x="400" y="212"/>
                  </a:cubicBezTo>
                  <a:cubicBezTo>
                    <a:pt x="400" y="242"/>
                    <a:pt x="381" y="271"/>
                    <a:pt x="342" y="294"/>
                  </a:cubicBezTo>
                  <a:cubicBezTo>
                    <a:pt x="263" y="339"/>
                    <a:pt x="136" y="339"/>
                    <a:pt x="58" y="294"/>
                  </a:cubicBezTo>
                  <a:cubicBezTo>
                    <a:pt x="19" y="271"/>
                    <a:pt x="0" y="242"/>
                    <a:pt x="0" y="2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0"/>
                    <a:pt x="19" y="60"/>
                    <a:pt x="58" y="82"/>
                  </a:cubicBezTo>
                  <a:cubicBezTo>
                    <a:pt x="136" y="127"/>
                    <a:pt x="263" y="127"/>
                    <a:pt x="342" y="82"/>
                  </a:cubicBezTo>
                  <a:cubicBezTo>
                    <a:pt x="380" y="60"/>
                    <a:pt x="400" y="31"/>
                    <a:pt x="40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5" name="Freeform 2375">
              <a:extLst>
                <a:ext uri="{FF2B5EF4-FFF2-40B4-BE49-F238E27FC236}">
                  <a16:creationId xmlns:a16="http://schemas.microsoft.com/office/drawing/2014/main" id="{0B90F781-5245-4B90-9C1C-10D9374B2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" y="3489"/>
              <a:ext cx="110" cy="70"/>
            </a:xfrm>
            <a:custGeom>
              <a:avLst/>
              <a:gdLst>
                <a:gd name="T0" fmla="*/ 400 w 400"/>
                <a:gd name="T1" fmla="*/ 127 h 254"/>
                <a:gd name="T2" fmla="*/ 400 w 400"/>
                <a:gd name="T3" fmla="*/ 129 h 254"/>
                <a:gd name="T4" fmla="*/ 342 w 400"/>
                <a:gd name="T5" fmla="*/ 209 h 254"/>
                <a:gd name="T6" fmla="*/ 58 w 400"/>
                <a:gd name="T7" fmla="*/ 209 h 254"/>
                <a:gd name="T8" fmla="*/ 0 w 400"/>
                <a:gd name="T9" fmla="*/ 127 h 254"/>
                <a:gd name="T10" fmla="*/ 58 w 400"/>
                <a:gd name="T11" fmla="*/ 46 h 254"/>
                <a:gd name="T12" fmla="*/ 342 w 400"/>
                <a:gd name="T13" fmla="*/ 46 h 254"/>
                <a:gd name="T14" fmla="*/ 400 w 400"/>
                <a:gd name="T15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0" h="254">
                  <a:moveTo>
                    <a:pt x="400" y="127"/>
                  </a:moveTo>
                  <a:cubicBezTo>
                    <a:pt x="400" y="129"/>
                    <a:pt x="400" y="129"/>
                    <a:pt x="400" y="129"/>
                  </a:cubicBezTo>
                  <a:cubicBezTo>
                    <a:pt x="400" y="158"/>
                    <a:pt x="380" y="187"/>
                    <a:pt x="342" y="209"/>
                  </a:cubicBezTo>
                  <a:cubicBezTo>
                    <a:pt x="263" y="254"/>
                    <a:pt x="136" y="254"/>
                    <a:pt x="58" y="209"/>
                  </a:cubicBezTo>
                  <a:cubicBezTo>
                    <a:pt x="19" y="187"/>
                    <a:pt x="0" y="157"/>
                    <a:pt x="0" y="127"/>
                  </a:cubicBezTo>
                  <a:cubicBezTo>
                    <a:pt x="0" y="98"/>
                    <a:pt x="19" y="68"/>
                    <a:pt x="58" y="46"/>
                  </a:cubicBezTo>
                  <a:cubicBezTo>
                    <a:pt x="136" y="0"/>
                    <a:pt x="263" y="0"/>
                    <a:pt x="342" y="46"/>
                  </a:cubicBezTo>
                  <a:cubicBezTo>
                    <a:pt x="381" y="68"/>
                    <a:pt x="400" y="98"/>
                    <a:pt x="40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6" name="Freeform 2376">
              <a:extLst>
                <a:ext uri="{FF2B5EF4-FFF2-40B4-BE49-F238E27FC236}">
                  <a16:creationId xmlns:a16="http://schemas.microsoft.com/office/drawing/2014/main" id="{DEABFE77-B9F0-4B79-892D-12663C9DF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" y="3509"/>
              <a:ext cx="50" cy="31"/>
            </a:xfrm>
            <a:custGeom>
              <a:avLst/>
              <a:gdLst>
                <a:gd name="T0" fmla="*/ 179 w 179"/>
                <a:gd name="T1" fmla="*/ 56 h 113"/>
                <a:gd name="T2" fmla="*/ 179 w 179"/>
                <a:gd name="T3" fmla="*/ 57 h 113"/>
                <a:gd name="T4" fmla="*/ 153 w 179"/>
                <a:gd name="T5" fmla="*/ 93 h 113"/>
                <a:gd name="T6" fmla="*/ 27 w 179"/>
                <a:gd name="T7" fmla="*/ 93 h 113"/>
                <a:gd name="T8" fmla="*/ 0 w 179"/>
                <a:gd name="T9" fmla="*/ 56 h 113"/>
                <a:gd name="T10" fmla="*/ 27 w 179"/>
                <a:gd name="T11" fmla="*/ 20 h 113"/>
                <a:gd name="T12" fmla="*/ 153 w 179"/>
                <a:gd name="T13" fmla="*/ 20 h 113"/>
                <a:gd name="T14" fmla="*/ 179 w 179"/>
                <a:gd name="T15" fmla="*/ 5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9" h="113">
                  <a:moveTo>
                    <a:pt x="179" y="56"/>
                  </a:moveTo>
                  <a:cubicBezTo>
                    <a:pt x="179" y="57"/>
                    <a:pt x="179" y="57"/>
                    <a:pt x="179" y="57"/>
                  </a:cubicBezTo>
                  <a:cubicBezTo>
                    <a:pt x="179" y="70"/>
                    <a:pt x="170" y="83"/>
                    <a:pt x="153" y="93"/>
                  </a:cubicBezTo>
                  <a:cubicBezTo>
                    <a:pt x="118" y="113"/>
                    <a:pt x="62" y="113"/>
                    <a:pt x="27" y="93"/>
                  </a:cubicBezTo>
                  <a:cubicBezTo>
                    <a:pt x="9" y="83"/>
                    <a:pt x="0" y="70"/>
                    <a:pt x="0" y="56"/>
                  </a:cubicBezTo>
                  <a:cubicBezTo>
                    <a:pt x="0" y="43"/>
                    <a:pt x="9" y="30"/>
                    <a:pt x="27" y="20"/>
                  </a:cubicBezTo>
                  <a:cubicBezTo>
                    <a:pt x="62" y="0"/>
                    <a:pt x="118" y="0"/>
                    <a:pt x="153" y="20"/>
                  </a:cubicBezTo>
                  <a:cubicBezTo>
                    <a:pt x="171" y="30"/>
                    <a:pt x="179" y="43"/>
                    <a:pt x="179" y="5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7" name="Freeform 2377">
              <a:extLst>
                <a:ext uri="{FF2B5EF4-FFF2-40B4-BE49-F238E27FC236}">
                  <a16:creationId xmlns:a16="http://schemas.microsoft.com/office/drawing/2014/main" id="{35258A0D-9AC7-48A0-92A3-C2F293115F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8" y="3486"/>
              <a:ext cx="117" cy="73"/>
            </a:xfrm>
            <a:custGeom>
              <a:avLst/>
              <a:gdLst>
                <a:gd name="T0" fmla="*/ 212 w 424"/>
                <a:gd name="T1" fmla="*/ 267 h 267"/>
                <a:gd name="T2" fmla="*/ 64 w 424"/>
                <a:gd name="T3" fmla="*/ 232 h 267"/>
                <a:gd name="T4" fmla="*/ 0 w 424"/>
                <a:gd name="T5" fmla="*/ 139 h 267"/>
                <a:gd name="T6" fmla="*/ 64 w 424"/>
                <a:gd name="T7" fmla="*/ 47 h 267"/>
                <a:gd name="T8" fmla="*/ 360 w 424"/>
                <a:gd name="T9" fmla="*/ 47 h 267"/>
                <a:gd name="T10" fmla="*/ 424 w 424"/>
                <a:gd name="T11" fmla="*/ 139 h 267"/>
                <a:gd name="T12" fmla="*/ 424 w 424"/>
                <a:gd name="T13" fmla="*/ 140 h 267"/>
                <a:gd name="T14" fmla="*/ 424 w 424"/>
                <a:gd name="T15" fmla="*/ 141 h 267"/>
                <a:gd name="T16" fmla="*/ 360 w 424"/>
                <a:gd name="T17" fmla="*/ 232 h 267"/>
                <a:gd name="T18" fmla="*/ 212 w 424"/>
                <a:gd name="T19" fmla="*/ 267 h 267"/>
                <a:gd name="T20" fmla="*/ 212 w 424"/>
                <a:gd name="T21" fmla="*/ 36 h 267"/>
                <a:gd name="T22" fmla="*/ 76 w 424"/>
                <a:gd name="T23" fmla="*/ 68 h 267"/>
                <a:gd name="T24" fmla="*/ 24 w 424"/>
                <a:gd name="T25" fmla="*/ 139 h 267"/>
                <a:gd name="T26" fmla="*/ 76 w 424"/>
                <a:gd name="T27" fmla="*/ 211 h 267"/>
                <a:gd name="T28" fmla="*/ 348 w 424"/>
                <a:gd name="T29" fmla="*/ 211 h 267"/>
                <a:gd name="T30" fmla="*/ 400 w 424"/>
                <a:gd name="T31" fmla="*/ 141 h 267"/>
                <a:gd name="T32" fmla="*/ 400 w 424"/>
                <a:gd name="T33" fmla="*/ 140 h 267"/>
                <a:gd name="T34" fmla="*/ 400 w 424"/>
                <a:gd name="T35" fmla="*/ 139 h 267"/>
                <a:gd name="T36" fmla="*/ 348 w 424"/>
                <a:gd name="T37" fmla="*/ 68 h 267"/>
                <a:gd name="T38" fmla="*/ 212 w 424"/>
                <a:gd name="T39" fmla="*/ 36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4" h="267">
                  <a:moveTo>
                    <a:pt x="212" y="267"/>
                  </a:moveTo>
                  <a:cubicBezTo>
                    <a:pt x="158" y="267"/>
                    <a:pt x="105" y="255"/>
                    <a:pt x="64" y="232"/>
                  </a:cubicBezTo>
                  <a:cubicBezTo>
                    <a:pt x="22" y="208"/>
                    <a:pt x="0" y="175"/>
                    <a:pt x="0" y="139"/>
                  </a:cubicBezTo>
                  <a:cubicBezTo>
                    <a:pt x="0" y="104"/>
                    <a:pt x="22" y="71"/>
                    <a:pt x="64" y="47"/>
                  </a:cubicBezTo>
                  <a:cubicBezTo>
                    <a:pt x="146" y="0"/>
                    <a:pt x="278" y="0"/>
                    <a:pt x="360" y="47"/>
                  </a:cubicBezTo>
                  <a:cubicBezTo>
                    <a:pt x="401" y="71"/>
                    <a:pt x="424" y="104"/>
                    <a:pt x="424" y="139"/>
                  </a:cubicBezTo>
                  <a:cubicBezTo>
                    <a:pt x="424" y="140"/>
                    <a:pt x="424" y="140"/>
                    <a:pt x="424" y="140"/>
                  </a:cubicBezTo>
                  <a:cubicBezTo>
                    <a:pt x="424" y="140"/>
                    <a:pt x="424" y="141"/>
                    <a:pt x="424" y="141"/>
                  </a:cubicBezTo>
                  <a:cubicBezTo>
                    <a:pt x="424" y="176"/>
                    <a:pt x="401" y="208"/>
                    <a:pt x="360" y="232"/>
                  </a:cubicBezTo>
                  <a:cubicBezTo>
                    <a:pt x="319" y="255"/>
                    <a:pt x="265" y="267"/>
                    <a:pt x="212" y="267"/>
                  </a:cubicBezTo>
                  <a:close/>
                  <a:moveTo>
                    <a:pt x="212" y="36"/>
                  </a:moveTo>
                  <a:cubicBezTo>
                    <a:pt x="163" y="36"/>
                    <a:pt x="114" y="46"/>
                    <a:pt x="76" y="68"/>
                  </a:cubicBezTo>
                  <a:cubicBezTo>
                    <a:pt x="42" y="88"/>
                    <a:pt x="24" y="113"/>
                    <a:pt x="24" y="139"/>
                  </a:cubicBezTo>
                  <a:cubicBezTo>
                    <a:pt x="24" y="166"/>
                    <a:pt x="42" y="191"/>
                    <a:pt x="76" y="211"/>
                  </a:cubicBezTo>
                  <a:cubicBezTo>
                    <a:pt x="151" y="254"/>
                    <a:pt x="273" y="254"/>
                    <a:pt x="348" y="211"/>
                  </a:cubicBezTo>
                  <a:cubicBezTo>
                    <a:pt x="381" y="192"/>
                    <a:pt x="400" y="167"/>
                    <a:pt x="400" y="141"/>
                  </a:cubicBezTo>
                  <a:cubicBezTo>
                    <a:pt x="400" y="140"/>
                    <a:pt x="400" y="140"/>
                    <a:pt x="400" y="140"/>
                  </a:cubicBezTo>
                  <a:cubicBezTo>
                    <a:pt x="400" y="140"/>
                    <a:pt x="400" y="140"/>
                    <a:pt x="400" y="139"/>
                  </a:cubicBezTo>
                  <a:cubicBezTo>
                    <a:pt x="400" y="113"/>
                    <a:pt x="382" y="88"/>
                    <a:pt x="348" y="68"/>
                  </a:cubicBezTo>
                  <a:cubicBezTo>
                    <a:pt x="310" y="46"/>
                    <a:pt x="261" y="36"/>
                    <a:pt x="212" y="3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8" name="Freeform 2378">
              <a:extLst>
                <a:ext uri="{FF2B5EF4-FFF2-40B4-BE49-F238E27FC236}">
                  <a16:creationId xmlns:a16="http://schemas.microsoft.com/office/drawing/2014/main" id="{C1B97533-F6D9-4F80-AE00-6E81A1DE6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" y="3521"/>
              <a:ext cx="117" cy="242"/>
            </a:xfrm>
            <a:custGeom>
              <a:avLst/>
              <a:gdLst>
                <a:gd name="T0" fmla="*/ 212 w 424"/>
                <a:gd name="T1" fmla="*/ 876 h 876"/>
                <a:gd name="T2" fmla="*/ 64 w 424"/>
                <a:gd name="T3" fmla="*/ 841 h 876"/>
                <a:gd name="T4" fmla="*/ 0 w 424"/>
                <a:gd name="T5" fmla="*/ 749 h 876"/>
                <a:gd name="T6" fmla="*/ 0 w 424"/>
                <a:gd name="T7" fmla="*/ 12 h 876"/>
                <a:gd name="T8" fmla="*/ 12 w 424"/>
                <a:gd name="T9" fmla="*/ 0 h 876"/>
                <a:gd name="T10" fmla="*/ 24 w 424"/>
                <a:gd name="T11" fmla="*/ 12 h 876"/>
                <a:gd name="T12" fmla="*/ 24 w 424"/>
                <a:gd name="T13" fmla="*/ 749 h 876"/>
                <a:gd name="T14" fmla="*/ 76 w 424"/>
                <a:gd name="T15" fmla="*/ 820 h 876"/>
                <a:gd name="T16" fmla="*/ 348 w 424"/>
                <a:gd name="T17" fmla="*/ 820 h 876"/>
                <a:gd name="T18" fmla="*/ 400 w 424"/>
                <a:gd name="T19" fmla="*/ 749 h 876"/>
                <a:gd name="T20" fmla="*/ 400 w 424"/>
                <a:gd name="T21" fmla="*/ 12 h 876"/>
                <a:gd name="T22" fmla="*/ 412 w 424"/>
                <a:gd name="T23" fmla="*/ 0 h 876"/>
                <a:gd name="T24" fmla="*/ 424 w 424"/>
                <a:gd name="T25" fmla="*/ 12 h 876"/>
                <a:gd name="T26" fmla="*/ 424 w 424"/>
                <a:gd name="T27" fmla="*/ 749 h 876"/>
                <a:gd name="T28" fmla="*/ 360 w 424"/>
                <a:gd name="T29" fmla="*/ 841 h 876"/>
                <a:gd name="T30" fmla="*/ 212 w 424"/>
                <a:gd name="T31" fmla="*/ 876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4" h="876">
                  <a:moveTo>
                    <a:pt x="212" y="876"/>
                  </a:moveTo>
                  <a:cubicBezTo>
                    <a:pt x="158" y="876"/>
                    <a:pt x="105" y="865"/>
                    <a:pt x="64" y="841"/>
                  </a:cubicBezTo>
                  <a:cubicBezTo>
                    <a:pt x="22" y="817"/>
                    <a:pt x="0" y="784"/>
                    <a:pt x="0" y="74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8" y="0"/>
                    <a:pt x="24" y="6"/>
                    <a:pt x="24" y="12"/>
                  </a:cubicBezTo>
                  <a:cubicBezTo>
                    <a:pt x="24" y="749"/>
                    <a:pt x="24" y="749"/>
                    <a:pt x="24" y="749"/>
                  </a:cubicBezTo>
                  <a:cubicBezTo>
                    <a:pt x="24" y="775"/>
                    <a:pt x="42" y="801"/>
                    <a:pt x="76" y="820"/>
                  </a:cubicBezTo>
                  <a:cubicBezTo>
                    <a:pt x="151" y="863"/>
                    <a:pt x="273" y="863"/>
                    <a:pt x="348" y="820"/>
                  </a:cubicBezTo>
                  <a:cubicBezTo>
                    <a:pt x="382" y="801"/>
                    <a:pt x="400" y="775"/>
                    <a:pt x="400" y="749"/>
                  </a:cubicBezTo>
                  <a:cubicBezTo>
                    <a:pt x="400" y="12"/>
                    <a:pt x="400" y="12"/>
                    <a:pt x="400" y="12"/>
                  </a:cubicBezTo>
                  <a:cubicBezTo>
                    <a:pt x="400" y="6"/>
                    <a:pt x="406" y="0"/>
                    <a:pt x="412" y="0"/>
                  </a:cubicBezTo>
                  <a:cubicBezTo>
                    <a:pt x="419" y="0"/>
                    <a:pt x="424" y="6"/>
                    <a:pt x="424" y="12"/>
                  </a:cubicBezTo>
                  <a:cubicBezTo>
                    <a:pt x="424" y="749"/>
                    <a:pt x="424" y="749"/>
                    <a:pt x="424" y="749"/>
                  </a:cubicBezTo>
                  <a:cubicBezTo>
                    <a:pt x="424" y="784"/>
                    <a:pt x="401" y="817"/>
                    <a:pt x="360" y="841"/>
                  </a:cubicBezTo>
                  <a:cubicBezTo>
                    <a:pt x="319" y="865"/>
                    <a:pt x="265" y="876"/>
                    <a:pt x="212" y="87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9" name="Freeform 2379">
              <a:extLst>
                <a:ext uri="{FF2B5EF4-FFF2-40B4-BE49-F238E27FC236}">
                  <a16:creationId xmlns:a16="http://schemas.microsoft.com/office/drawing/2014/main" id="{15C70EEE-2ECF-47F2-8209-E9ADCD667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" y="3654"/>
              <a:ext cx="117" cy="38"/>
            </a:xfrm>
            <a:custGeom>
              <a:avLst/>
              <a:gdLst>
                <a:gd name="T0" fmla="*/ 212 w 424"/>
                <a:gd name="T1" fmla="*/ 140 h 140"/>
                <a:gd name="T2" fmla="*/ 64 w 424"/>
                <a:gd name="T3" fmla="*/ 104 h 140"/>
                <a:gd name="T4" fmla="*/ 0 w 424"/>
                <a:gd name="T5" fmla="*/ 12 h 140"/>
                <a:gd name="T6" fmla="*/ 12 w 424"/>
                <a:gd name="T7" fmla="*/ 0 h 140"/>
                <a:gd name="T8" fmla="*/ 24 w 424"/>
                <a:gd name="T9" fmla="*/ 12 h 140"/>
                <a:gd name="T10" fmla="*/ 76 w 424"/>
                <a:gd name="T11" fmla="*/ 84 h 140"/>
                <a:gd name="T12" fmla="*/ 348 w 424"/>
                <a:gd name="T13" fmla="*/ 84 h 140"/>
                <a:gd name="T14" fmla="*/ 400 w 424"/>
                <a:gd name="T15" fmla="*/ 12 h 140"/>
                <a:gd name="T16" fmla="*/ 412 w 424"/>
                <a:gd name="T17" fmla="*/ 0 h 140"/>
                <a:gd name="T18" fmla="*/ 424 w 424"/>
                <a:gd name="T19" fmla="*/ 12 h 140"/>
                <a:gd name="T20" fmla="*/ 360 w 424"/>
                <a:gd name="T21" fmla="*/ 104 h 140"/>
                <a:gd name="T22" fmla="*/ 212 w 424"/>
                <a:gd name="T2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4" h="140">
                  <a:moveTo>
                    <a:pt x="212" y="140"/>
                  </a:moveTo>
                  <a:cubicBezTo>
                    <a:pt x="158" y="140"/>
                    <a:pt x="105" y="128"/>
                    <a:pt x="64" y="104"/>
                  </a:cubicBezTo>
                  <a:cubicBezTo>
                    <a:pt x="22" y="80"/>
                    <a:pt x="0" y="48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8" y="0"/>
                    <a:pt x="24" y="6"/>
                    <a:pt x="24" y="12"/>
                  </a:cubicBezTo>
                  <a:cubicBezTo>
                    <a:pt x="24" y="39"/>
                    <a:pt x="42" y="64"/>
                    <a:pt x="76" y="84"/>
                  </a:cubicBezTo>
                  <a:cubicBezTo>
                    <a:pt x="151" y="127"/>
                    <a:pt x="273" y="127"/>
                    <a:pt x="348" y="84"/>
                  </a:cubicBezTo>
                  <a:cubicBezTo>
                    <a:pt x="382" y="64"/>
                    <a:pt x="400" y="39"/>
                    <a:pt x="400" y="12"/>
                  </a:cubicBezTo>
                  <a:cubicBezTo>
                    <a:pt x="400" y="6"/>
                    <a:pt x="406" y="0"/>
                    <a:pt x="412" y="0"/>
                  </a:cubicBezTo>
                  <a:cubicBezTo>
                    <a:pt x="419" y="0"/>
                    <a:pt x="424" y="6"/>
                    <a:pt x="424" y="12"/>
                  </a:cubicBezTo>
                  <a:cubicBezTo>
                    <a:pt x="424" y="48"/>
                    <a:pt x="401" y="80"/>
                    <a:pt x="360" y="104"/>
                  </a:cubicBezTo>
                  <a:cubicBezTo>
                    <a:pt x="319" y="128"/>
                    <a:pt x="265" y="140"/>
                    <a:pt x="212" y="140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0" name="Freeform 2380">
              <a:extLst>
                <a:ext uri="{FF2B5EF4-FFF2-40B4-BE49-F238E27FC236}">
                  <a16:creationId xmlns:a16="http://schemas.microsoft.com/office/drawing/2014/main" id="{89AC4FB1-2C72-4E9A-8167-0895C92B2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" y="3607"/>
              <a:ext cx="117" cy="38"/>
            </a:xfrm>
            <a:custGeom>
              <a:avLst/>
              <a:gdLst>
                <a:gd name="T0" fmla="*/ 212 w 424"/>
                <a:gd name="T1" fmla="*/ 139 h 139"/>
                <a:gd name="T2" fmla="*/ 64 w 424"/>
                <a:gd name="T3" fmla="*/ 104 h 139"/>
                <a:gd name="T4" fmla="*/ 0 w 424"/>
                <a:gd name="T5" fmla="*/ 12 h 139"/>
                <a:gd name="T6" fmla="*/ 12 w 424"/>
                <a:gd name="T7" fmla="*/ 0 h 139"/>
                <a:gd name="T8" fmla="*/ 24 w 424"/>
                <a:gd name="T9" fmla="*/ 12 h 139"/>
                <a:gd name="T10" fmla="*/ 76 w 424"/>
                <a:gd name="T11" fmla="*/ 83 h 139"/>
                <a:gd name="T12" fmla="*/ 348 w 424"/>
                <a:gd name="T13" fmla="*/ 83 h 139"/>
                <a:gd name="T14" fmla="*/ 400 w 424"/>
                <a:gd name="T15" fmla="*/ 12 h 139"/>
                <a:gd name="T16" fmla="*/ 412 w 424"/>
                <a:gd name="T17" fmla="*/ 0 h 139"/>
                <a:gd name="T18" fmla="*/ 424 w 424"/>
                <a:gd name="T19" fmla="*/ 12 h 139"/>
                <a:gd name="T20" fmla="*/ 360 w 424"/>
                <a:gd name="T21" fmla="*/ 104 h 139"/>
                <a:gd name="T22" fmla="*/ 212 w 424"/>
                <a:gd name="T23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4" h="139">
                  <a:moveTo>
                    <a:pt x="212" y="139"/>
                  </a:moveTo>
                  <a:cubicBezTo>
                    <a:pt x="158" y="139"/>
                    <a:pt x="105" y="127"/>
                    <a:pt x="64" y="104"/>
                  </a:cubicBezTo>
                  <a:cubicBezTo>
                    <a:pt x="22" y="80"/>
                    <a:pt x="0" y="47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4" y="5"/>
                    <a:pt x="24" y="12"/>
                  </a:cubicBezTo>
                  <a:cubicBezTo>
                    <a:pt x="24" y="38"/>
                    <a:pt x="42" y="64"/>
                    <a:pt x="76" y="83"/>
                  </a:cubicBezTo>
                  <a:cubicBezTo>
                    <a:pt x="151" y="126"/>
                    <a:pt x="273" y="126"/>
                    <a:pt x="348" y="83"/>
                  </a:cubicBezTo>
                  <a:cubicBezTo>
                    <a:pt x="382" y="64"/>
                    <a:pt x="400" y="38"/>
                    <a:pt x="400" y="12"/>
                  </a:cubicBezTo>
                  <a:cubicBezTo>
                    <a:pt x="400" y="5"/>
                    <a:pt x="406" y="0"/>
                    <a:pt x="412" y="0"/>
                  </a:cubicBezTo>
                  <a:cubicBezTo>
                    <a:pt x="419" y="0"/>
                    <a:pt x="424" y="5"/>
                    <a:pt x="424" y="12"/>
                  </a:cubicBezTo>
                  <a:cubicBezTo>
                    <a:pt x="424" y="47"/>
                    <a:pt x="401" y="80"/>
                    <a:pt x="360" y="104"/>
                  </a:cubicBezTo>
                  <a:cubicBezTo>
                    <a:pt x="319" y="127"/>
                    <a:pt x="265" y="139"/>
                    <a:pt x="212" y="13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1" name="Freeform 2381">
              <a:extLst>
                <a:ext uri="{FF2B5EF4-FFF2-40B4-BE49-F238E27FC236}">
                  <a16:creationId xmlns:a16="http://schemas.microsoft.com/office/drawing/2014/main" id="{70721154-6726-4AD3-BE56-5EF678A1A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" y="3579"/>
              <a:ext cx="117" cy="39"/>
            </a:xfrm>
            <a:custGeom>
              <a:avLst/>
              <a:gdLst>
                <a:gd name="T0" fmla="*/ 212 w 424"/>
                <a:gd name="T1" fmla="*/ 139 h 139"/>
                <a:gd name="T2" fmla="*/ 64 w 424"/>
                <a:gd name="T3" fmla="*/ 104 h 139"/>
                <a:gd name="T4" fmla="*/ 0 w 424"/>
                <a:gd name="T5" fmla="*/ 12 h 139"/>
                <a:gd name="T6" fmla="*/ 12 w 424"/>
                <a:gd name="T7" fmla="*/ 0 h 139"/>
                <a:gd name="T8" fmla="*/ 24 w 424"/>
                <a:gd name="T9" fmla="*/ 12 h 139"/>
                <a:gd name="T10" fmla="*/ 76 w 424"/>
                <a:gd name="T11" fmla="*/ 83 h 139"/>
                <a:gd name="T12" fmla="*/ 348 w 424"/>
                <a:gd name="T13" fmla="*/ 83 h 139"/>
                <a:gd name="T14" fmla="*/ 400 w 424"/>
                <a:gd name="T15" fmla="*/ 12 h 139"/>
                <a:gd name="T16" fmla="*/ 412 w 424"/>
                <a:gd name="T17" fmla="*/ 0 h 139"/>
                <a:gd name="T18" fmla="*/ 424 w 424"/>
                <a:gd name="T19" fmla="*/ 12 h 139"/>
                <a:gd name="T20" fmla="*/ 360 w 424"/>
                <a:gd name="T21" fmla="*/ 104 h 139"/>
                <a:gd name="T22" fmla="*/ 212 w 424"/>
                <a:gd name="T23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4" h="139">
                  <a:moveTo>
                    <a:pt x="212" y="139"/>
                  </a:moveTo>
                  <a:cubicBezTo>
                    <a:pt x="158" y="139"/>
                    <a:pt x="105" y="128"/>
                    <a:pt x="64" y="104"/>
                  </a:cubicBezTo>
                  <a:cubicBezTo>
                    <a:pt x="22" y="80"/>
                    <a:pt x="0" y="47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4" y="5"/>
                    <a:pt x="24" y="12"/>
                  </a:cubicBezTo>
                  <a:cubicBezTo>
                    <a:pt x="24" y="38"/>
                    <a:pt x="42" y="64"/>
                    <a:pt x="76" y="83"/>
                  </a:cubicBezTo>
                  <a:cubicBezTo>
                    <a:pt x="151" y="127"/>
                    <a:pt x="273" y="127"/>
                    <a:pt x="348" y="83"/>
                  </a:cubicBezTo>
                  <a:cubicBezTo>
                    <a:pt x="382" y="64"/>
                    <a:pt x="400" y="38"/>
                    <a:pt x="400" y="12"/>
                  </a:cubicBezTo>
                  <a:cubicBezTo>
                    <a:pt x="400" y="5"/>
                    <a:pt x="406" y="0"/>
                    <a:pt x="412" y="0"/>
                  </a:cubicBezTo>
                  <a:cubicBezTo>
                    <a:pt x="419" y="0"/>
                    <a:pt x="424" y="5"/>
                    <a:pt x="424" y="12"/>
                  </a:cubicBezTo>
                  <a:cubicBezTo>
                    <a:pt x="424" y="47"/>
                    <a:pt x="401" y="80"/>
                    <a:pt x="360" y="104"/>
                  </a:cubicBezTo>
                  <a:cubicBezTo>
                    <a:pt x="319" y="128"/>
                    <a:pt x="265" y="139"/>
                    <a:pt x="212" y="13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2" name="Freeform 2382">
              <a:extLst>
                <a:ext uri="{FF2B5EF4-FFF2-40B4-BE49-F238E27FC236}">
                  <a16:creationId xmlns:a16="http://schemas.microsoft.com/office/drawing/2014/main" id="{BB15C6FF-883C-4A57-BF3F-B064083030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0" y="3295"/>
              <a:ext cx="84" cy="127"/>
            </a:xfrm>
            <a:custGeom>
              <a:avLst/>
              <a:gdLst>
                <a:gd name="T0" fmla="*/ 285 w 305"/>
                <a:gd name="T1" fmla="*/ 43 h 463"/>
                <a:gd name="T2" fmla="*/ 305 w 305"/>
                <a:gd name="T3" fmla="*/ 143 h 463"/>
                <a:gd name="T4" fmla="*/ 285 w 305"/>
                <a:gd name="T5" fmla="*/ 266 h 463"/>
                <a:gd name="T6" fmla="*/ 231 w 305"/>
                <a:gd name="T7" fmla="*/ 369 h 463"/>
                <a:gd name="T8" fmla="*/ 153 w 305"/>
                <a:gd name="T9" fmla="*/ 439 h 463"/>
                <a:gd name="T10" fmla="*/ 74 w 305"/>
                <a:gd name="T11" fmla="*/ 460 h 463"/>
                <a:gd name="T12" fmla="*/ 49 w 305"/>
                <a:gd name="T13" fmla="*/ 452 h 463"/>
                <a:gd name="T14" fmla="*/ 20 w 305"/>
                <a:gd name="T15" fmla="*/ 420 h 463"/>
                <a:gd name="T16" fmla="*/ 0 w 305"/>
                <a:gd name="T17" fmla="*/ 319 h 463"/>
                <a:gd name="T18" fmla="*/ 20 w 305"/>
                <a:gd name="T19" fmla="*/ 197 h 463"/>
                <a:gd name="T20" fmla="*/ 74 w 305"/>
                <a:gd name="T21" fmla="*/ 94 h 463"/>
                <a:gd name="T22" fmla="*/ 153 w 305"/>
                <a:gd name="T23" fmla="*/ 24 h 463"/>
                <a:gd name="T24" fmla="*/ 231 w 305"/>
                <a:gd name="T25" fmla="*/ 3 h 463"/>
                <a:gd name="T26" fmla="*/ 255 w 305"/>
                <a:gd name="T27" fmla="*/ 11 h 463"/>
                <a:gd name="T28" fmla="*/ 256 w 305"/>
                <a:gd name="T29" fmla="*/ 11 h 463"/>
                <a:gd name="T30" fmla="*/ 285 w 305"/>
                <a:gd name="T31" fmla="*/ 43 h 463"/>
                <a:gd name="T32" fmla="*/ 192 w 305"/>
                <a:gd name="T33" fmla="*/ 296 h 463"/>
                <a:gd name="T34" fmla="*/ 207 w 305"/>
                <a:gd name="T35" fmla="*/ 200 h 463"/>
                <a:gd name="T36" fmla="*/ 192 w 305"/>
                <a:gd name="T37" fmla="*/ 121 h 463"/>
                <a:gd name="T38" fmla="*/ 153 w 305"/>
                <a:gd name="T39" fmla="*/ 116 h 463"/>
                <a:gd name="T40" fmla="*/ 113 w 305"/>
                <a:gd name="T41" fmla="*/ 167 h 463"/>
                <a:gd name="T42" fmla="*/ 98 w 305"/>
                <a:gd name="T43" fmla="*/ 263 h 463"/>
                <a:gd name="T44" fmla="*/ 113 w 305"/>
                <a:gd name="T45" fmla="*/ 342 h 463"/>
                <a:gd name="T46" fmla="*/ 153 w 305"/>
                <a:gd name="T47" fmla="*/ 347 h 463"/>
                <a:gd name="T48" fmla="*/ 192 w 305"/>
                <a:gd name="T49" fmla="*/ 296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05" h="463">
                  <a:moveTo>
                    <a:pt x="285" y="43"/>
                  </a:moveTo>
                  <a:cubicBezTo>
                    <a:pt x="298" y="67"/>
                    <a:pt x="305" y="100"/>
                    <a:pt x="305" y="143"/>
                  </a:cubicBezTo>
                  <a:cubicBezTo>
                    <a:pt x="305" y="186"/>
                    <a:pt x="298" y="227"/>
                    <a:pt x="285" y="266"/>
                  </a:cubicBezTo>
                  <a:cubicBezTo>
                    <a:pt x="272" y="305"/>
                    <a:pt x="254" y="339"/>
                    <a:pt x="231" y="369"/>
                  </a:cubicBezTo>
                  <a:cubicBezTo>
                    <a:pt x="208" y="399"/>
                    <a:pt x="182" y="422"/>
                    <a:pt x="153" y="439"/>
                  </a:cubicBezTo>
                  <a:cubicBezTo>
                    <a:pt x="123" y="456"/>
                    <a:pt x="97" y="463"/>
                    <a:pt x="74" y="460"/>
                  </a:cubicBezTo>
                  <a:cubicBezTo>
                    <a:pt x="65" y="459"/>
                    <a:pt x="57" y="456"/>
                    <a:pt x="49" y="452"/>
                  </a:cubicBezTo>
                  <a:cubicBezTo>
                    <a:pt x="38" y="445"/>
                    <a:pt x="28" y="434"/>
                    <a:pt x="20" y="420"/>
                  </a:cubicBezTo>
                  <a:cubicBezTo>
                    <a:pt x="7" y="396"/>
                    <a:pt x="0" y="362"/>
                    <a:pt x="0" y="319"/>
                  </a:cubicBezTo>
                  <a:cubicBezTo>
                    <a:pt x="0" y="276"/>
                    <a:pt x="7" y="236"/>
                    <a:pt x="20" y="197"/>
                  </a:cubicBezTo>
                  <a:cubicBezTo>
                    <a:pt x="33" y="158"/>
                    <a:pt x="51" y="123"/>
                    <a:pt x="74" y="94"/>
                  </a:cubicBezTo>
                  <a:cubicBezTo>
                    <a:pt x="97" y="64"/>
                    <a:pt x="123" y="41"/>
                    <a:pt x="153" y="24"/>
                  </a:cubicBezTo>
                  <a:cubicBezTo>
                    <a:pt x="182" y="7"/>
                    <a:pt x="208" y="0"/>
                    <a:pt x="231" y="3"/>
                  </a:cubicBezTo>
                  <a:cubicBezTo>
                    <a:pt x="240" y="4"/>
                    <a:pt x="248" y="7"/>
                    <a:pt x="255" y="11"/>
                  </a:cubicBezTo>
                  <a:cubicBezTo>
                    <a:pt x="256" y="11"/>
                    <a:pt x="256" y="11"/>
                    <a:pt x="256" y="11"/>
                  </a:cubicBezTo>
                  <a:cubicBezTo>
                    <a:pt x="268" y="18"/>
                    <a:pt x="277" y="29"/>
                    <a:pt x="285" y="43"/>
                  </a:cubicBezTo>
                  <a:close/>
                  <a:moveTo>
                    <a:pt x="192" y="296"/>
                  </a:moveTo>
                  <a:cubicBezTo>
                    <a:pt x="202" y="272"/>
                    <a:pt x="207" y="240"/>
                    <a:pt x="207" y="200"/>
                  </a:cubicBezTo>
                  <a:cubicBezTo>
                    <a:pt x="207" y="160"/>
                    <a:pt x="202" y="134"/>
                    <a:pt x="192" y="121"/>
                  </a:cubicBezTo>
                  <a:cubicBezTo>
                    <a:pt x="182" y="108"/>
                    <a:pt x="169" y="107"/>
                    <a:pt x="153" y="116"/>
                  </a:cubicBezTo>
                  <a:cubicBezTo>
                    <a:pt x="136" y="126"/>
                    <a:pt x="123" y="143"/>
                    <a:pt x="113" y="167"/>
                  </a:cubicBezTo>
                  <a:cubicBezTo>
                    <a:pt x="103" y="191"/>
                    <a:pt x="98" y="223"/>
                    <a:pt x="98" y="263"/>
                  </a:cubicBezTo>
                  <a:cubicBezTo>
                    <a:pt x="98" y="303"/>
                    <a:pt x="103" y="329"/>
                    <a:pt x="113" y="342"/>
                  </a:cubicBezTo>
                  <a:cubicBezTo>
                    <a:pt x="123" y="355"/>
                    <a:pt x="136" y="356"/>
                    <a:pt x="153" y="347"/>
                  </a:cubicBezTo>
                  <a:cubicBezTo>
                    <a:pt x="169" y="337"/>
                    <a:pt x="182" y="320"/>
                    <a:pt x="192" y="29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3" name="Freeform 2383">
              <a:extLst>
                <a:ext uri="{FF2B5EF4-FFF2-40B4-BE49-F238E27FC236}">
                  <a16:creationId xmlns:a16="http://schemas.microsoft.com/office/drawing/2014/main" id="{21FC4460-2233-4DA5-AA42-76C6ACDFC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" y="3277"/>
              <a:ext cx="100" cy="142"/>
            </a:xfrm>
            <a:custGeom>
              <a:avLst/>
              <a:gdLst>
                <a:gd name="T0" fmla="*/ 255 w 361"/>
                <a:gd name="T1" fmla="*/ 12 h 514"/>
                <a:gd name="T2" fmla="*/ 361 w 361"/>
                <a:gd name="T3" fmla="*/ 73 h 514"/>
                <a:gd name="T4" fmla="*/ 337 w 361"/>
                <a:gd name="T5" fmla="*/ 65 h 514"/>
                <a:gd name="T6" fmla="*/ 259 w 361"/>
                <a:gd name="T7" fmla="*/ 86 h 514"/>
                <a:gd name="T8" fmla="*/ 180 w 361"/>
                <a:gd name="T9" fmla="*/ 156 h 514"/>
                <a:gd name="T10" fmla="*/ 126 w 361"/>
                <a:gd name="T11" fmla="*/ 259 h 514"/>
                <a:gd name="T12" fmla="*/ 106 w 361"/>
                <a:gd name="T13" fmla="*/ 381 h 514"/>
                <a:gd name="T14" fmla="*/ 126 w 361"/>
                <a:gd name="T15" fmla="*/ 482 h 514"/>
                <a:gd name="T16" fmla="*/ 155 w 361"/>
                <a:gd name="T17" fmla="*/ 514 h 514"/>
                <a:gd name="T18" fmla="*/ 49 w 361"/>
                <a:gd name="T19" fmla="*/ 452 h 514"/>
                <a:gd name="T20" fmla="*/ 19 w 361"/>
                <a:gd name="T21" fmla="*/ 420 h 514"/>
                <a:gd name="T22" fmla="*/ 0 w 361"/>
                <a:gd name="T23" fmla="*/ 320 h 514"/>
                <a:gd name="T24" fmla="*/ 19 w 361"/>
                <a:gd name="T25" fmla="*/ 197 h 514"/>
                <a:gd name="T26" fmla="*/ 73 w 361"/>
                <a:gd name="T27" fmla="*/ 94 h 514"/>
                <a:gd name="T28" fmla="*/ 152 w 361"/>
                <a:gd name="T29" fmla="*/ 24 h 514"/>
                <a:gd name="T30" fmla="*/ 231 w 361"/>
                <a:gd name="T31" fmla="*/ 3 h 514"/>
                <a:gd name="T32" fmla="*/ 255 w 361"/>
                <a:gd name="T33" fmla="*/ 12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1" h="514">
                  <a:moveTo>
                    <a:pt x="255" y="12"/>
                  </a:moveTo>
                  <a:cubicBezTo>
                    <a:pt x="361" y="73"/>
                    <a:pt x="361" y="73"/>
                    <a:pt x="361" y="73"/>
                  </a:cubicBezTo>
                  <a:cubicBezTo>
                    <a:pt x="354" y="69"/>
                    <a:pt x="346" y="66"/>
                    <a:pt x="337" y="65"/>
                  </a:cubicBezTo>
                  <a:cubicBezTo>
                    <a:pt x="314" y="62"/>
                    <a:pt x="288" y="69"/>
                    <a:pt x="259" y="86"/>
                  </a:cubicBezTo>
                  <a:cubicBezTo>
                    <a:pt x="229" y="103"/>
                    <a:pt x="203" y="126"/>
                    <a:pt x="180" y="156"/>
                  </a:cubicBezTo>
                  <a:cubicBezTo>
                    <a:pt x="157" y="185"/>
                    <a:pt x="139" y="220"/>
                    <a:pt x="126" y="259"/>
                  </a:cubicBezTo>
                  <a:cubicBezTo>
                    <a:pt x="113" y="298"/>
                    <a:pt x="106" y="338"/>
                    <a:pt x="106" y="381"/>
                  </a:cubicBezTo>
                  <a:cubicBezTo>
                    <a:pt x="106" y="424"/>
                    <a:pt x="113" y="458"/>
                    <a:pt x="126" y="482"/>
                  </a:cubicBezTo>
                  <a:cubicBezTo>
                    <a:pt x="134" y="496"/>
                    <a:pt x="144" y="507"/>
                    <a:pt x="155" y="514"/>
                  </a:cubicBezTo>
                  <a:cubicBezTo>
                    <a:pt x="49" y="452"/>
                    <a:pt x="49" y="452"/>
                    <a:pt x="49" y="452"/>
                  </a:cubicBezTo>
                  <a:cubicBezTo>
                    <a:pt x="37" y="446"/>
                    <a:pt x="27" y="435"/>
                    <a:pt x="19" y="420"/>
                  </a:cubicBezTo>
                  <a:cubicBezTo>
                    <a:pt x="6" y="396"/>
                    <a:pt x="0" y="363"/>
                    <a:pt x="0" y="320"/>
                  </a:cubicBezTo>
                  <a:cubicBezTo>
                    <a:pt x="0" y="277"/>
                    <a:pt x="6" y="236"/>
                    <a:pt x="19" y="197"/>
                  </a:cubicBezTo>
                  <a:cubicBezTo>
                    <a:pt x="32" y="158"/>
                    <a:pt x="50" y="124"/>
                    <a:pt x="73" y="94"/>
                  </a:cubicBezTo>
                  <a:cubicBezTo>
                    <a:pt x="96" y="65"/>
                    <a:pt x="123" y="41"/>
                    <a:pt x="152" y="24"/>
                  </a:cubicBezTo>
                  <a:cubicBezTo>
                    <a:pt x="182" y="7"/>
                    <a:pt x="208" y="0"/>
                    <a:pt x="231" y="3"/>
                  </a:cubicBezTo>
                  <a:cubicBezTo>
                    <a:pt x="240" y="5"/>
                    <a:pt x="248" y="7"/>
                    <a:pt x="255" y="12"/>
                  </a:cubicBez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4" name="Freeform 2384">
              <a:extLst>
                <a:ext uri="{FF2B5EF4-FFF2-40B4-BE49-F238E27FC236}">
                  <a16:creationId xmlns:a16="http://schemas.microsoft.com/office/drawing/2014/main" id="{58167D8D-E53D-4EF7-B672-C28BD076FBA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" y="3324"/>
              <a:ext cx="30" cy="69"/>
            </a:xfrm>
            <a:custGeom>
              <a:avLst/>
              <a:gdLst>
                <a:gd name="T0" fmla="*/ 109 w 109"/>
                <a:gd name="T1" fmla="*/ 93 h 249"/>
                <a:gd name="T2" fmla="*/ 94 w 109"/>
                <a:gd name="T3" fmla="*/ 189 h 249"/>
                <a:gd name="T4" fmla="*/ 55 w 109"/>
                <a:gd name="T5" fmla="*/ 240 h 249"/>
                <a:gd name="T6" fmla="*/ 15 w 109"/>
                <a:gd name="T7" fmla="*/ 235 h 249"/>
                <a:gd name="T8" fmla="*/ 0 w 109"/>
                <a:gd name="T9" fmla="*/ 156 h 249"/>
                <a:gd name="T10" fmla="*/ 15 w 109"/>
                <a:gd name="T11" fmla="*/ 60 h 249"/>
                <a:gd name="T12" fmla="*/ 55 w 109"/>
                <a:gd name="T13" fmla="*/ 9 h 249"/>
                <a:gd name="T14" fmla="*/ 94 w 109"/>
                <a:gd name="T15" fmla="*/ 14 h 249"/>
                <a:gd name="T16" fmla="*/ 109 w 109"/>
                <a:gd name="T17" fmla="*/ 93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9" h="249">
                  <a:moveTo>
                    <a:pt x="109" y="93"/>
                  </a:moveTo>
                  <a:cubicBezTo>
                    <a:pt x="109" y="133"/>
                    <a:pt x="104" y="165"/>
                    <a:pt x="94" y="189"/>
                  </a:cubicBezTo>
                  <a:cubicBezTo>
                    <a:pt x="84" y="213"/>
                    <a:pt x="71" y="230"/>
                    <a:pt x="55" y="240"/>
                  </a:cubicBezTo>
                  <a:cubicBezTo>
                    <a:pt x="38" y="249"/>
                    <a:pt x="25" y="248"/>
                    <a:pt x="15" y="235"/>
                  </a:cubicBezTo>
                  <a:cubicBezTo>
                    <a:pt x="5" y="222"/>
                    <a:pt x="0" y="196"/>
                    <a:pt x="0" y="156"/>
                  </a:cubicBezTo>
                  <a:cubicBezTo>
                    <a:pt x="0" y="116"/>
                    <a:pt x="5" y="84"/>
                    <a:pt x="15" y="60"/>
                  </a:cubicBezTo>
                  <a:cubicBezTo>
                    <a:pt x="25" y="36"/>
                    <a:pt x="38" y="19"/>
                    <a:pt x="55" y="9"/>
                  </a:cubicBezTo>
                  <a:cubicBezTo>
                    <a:pt x="71" y="0"/>
                    <a:pt x="84" y="1"/>
                    <a:pt x="94" y="14"/>
                  </a:cubicBezTo>
                  <a:cubicBezTo>
                    <a:pt x="104" y="27"/>
                    <a:pt x="109" y="53"/>
                    <a:pt x="109" y="9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5" name="Freeform 2385">
              <a:extLst>
                <a:ext uri="{FF2B5EF4-FFF2-40B4-BE49-F238E27FC236}">
                  <a16:creationId xmlns:a16="http://schemas.microsoft.com/office/drawing/2014/main" id="{4D80F032-CEF0-4503-9644-283AA58519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6" y="3291"/>
              <a:ext cx="91" cy="134"/>
            </a:xfrm>
            <a:custGeom>
              <a:avLst/>
              <a:gdLst>
                <a:gd name="T0" fmla="*/ 96 w 329"/>
                <a:gd name="T1" fmla="*/ 485 h 485"/>
                <a:gd name="T2" fmla="*/ 84 w 329"/>
                <a:gd name="T3" fmla="*/ 484 h 485"/>
                <a:gd name="T4" fmla="*/ 55 w 329"/>
                <a:gd name="T5" fmla="*/ 474 h 485"/>
                <a:gd name="T6" fmla="*/ 21 w 329"/>
                <a:gd name="T7" fmla="*/ 437 h 485"/>
                <a:gd name="T8" fmla="*/ 0 w 329"/>
                <a:gd name="T9" fmla="*/ 331 h 485"/>
                <a:gd name="T10" fmla="*/ 20 w 329"/>
                <a:gd name="T11" fmla="*/ 205 h 485"/>
                <a:gd name="T12" fmla="*/ 76 w 329"/>
                <a:gd name="T13" fmla="*/ 98 h 485"/>
                <a:gd name="T14" fmla="*/ 159 w 329"/>
                <a:gd name="T15" fmla="*/ 25 h 485"/>
                <a:gd name="T16" fmla="*/ 245 w 329"/>
                <a:gd name="T17" fmla="*/ 3 h 485"/>
                <a:gd name="T18" fmla="*/ 273 w 329"/>
                <a:gd name="T19" fmla="*/ 12 h 485"/>
                <a:gd name="T20" fmla="*/ 274 w 329"/>
                <a:gd name="T21" fmla="*/ 13 h 485"/>
                <a:gd name="T22" fmla="*/ 308 w 329"/>
                <a:gd name="T23" fmla="*/ 49 h 485"/>
                <a:gd name="T24" fmla="*/ 329 w 329"/>
                <a:gd name="T25" fmla="*/ 155 h 485"/>
                <a:gd name="T26" fmla="*/ 309 w 329"/>
                <a:gd name="T27" fmla="*/ 282 h 485"/>
                <a:gd name="T28" fmla="*/ 253 w 329"/>
                <a:gd name="T29" fmla="*/ 388 h 485"/>
                <a:gd name="T30" fmla="*/ 171 w 329"/>
                <a:gd name="T31" fmla="*/ 461 h 485"/>
                <a:gd name="T32" fmla="*/ 96 w 329"/>
                <a:gd name="T33" fmla="*/ 485 h 485"/>
                <a:gd name="T34" fmla="*/ 233 w 329"/>
                <a:gd name="T35" fmla="*/ 26 h 485"/>
                <a:gd name="T36" fmla="*/ 171 w 329"/>
                <a:gd name="T37" fmla="*/ 46 h 485"/>
                <a:gd name="T38" fmla="*/ 95 w 329"/>
                <a:gd name="T39" fmla="*/ 113 h 485"/>
                <a:gd name="T40" fmla="*/ 43 w 329"/>
                <a:gd name="T41" fmla="*/ 212 h 485"/>
                <a:gd name="T42" fmla="*/ 24 w 329"/>
                <a:gd name="T43" fmla="*/ 331 h 485"/>
                <a:gd name="T44" fmla="*/ 42 w 329"/>
                <a:gd name="T45" fmla="*/ 426 h 485"/>
                <a:gd name="T46" fmla="*/ 67 w 329"/>
                <a:gd name="T47" fmla="*/ 453 h 485"/>
                <a:gd name="T48" fmla="*/ 87 w 329"/>
                <a:gd name="T49" fmla="*/ 460 h 485"/>
                <a:gd name="T50" fmla="*/ 159 w 329"/>
                <a:gd name="T51" fmla="*/ 441 h 485"/>
                <a:gd name="T52" fmla="*/ 234 w 329"/>
                <a:gd name="T53" fmla="*/ 374 h 485"/>
                <a:gd name="T54" fmla="*/ 286 w 329"/>
                <a:gd name="T55" fmla="*/ 274 h 485"/>
                <a:gd name="T56" fmla="*/ 305 w 329"/>
                <a:gd name="T57" fmla="*/ 155 h 485"/>
                <a:gd name="T58" fmla="*/ 287 w 329"/>
                <a:gd name="T59" fmla="*/ 61 h 485"/>
                <a:gd name="T60" fmla="*/ 262 w 329"/>
                <a:gd name="T61" fmla="*/ 33 h 485"/>
                <a:gd name="T62" fmla="*/ 261 w 329"/>
                <a:gd name="T63" fmla="*/ 33 h 485"/>
                <a:gd name="T64" fmla="*/ 242 w 329"/>
                <a:gd name="T65" fmla="*/ 27 h 485"/>
                <a:gd name="T66" fmla="*/ 233 w 329"/>
                <a:gd name="T67" fmla="*/ 2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9" h="485">
                  <a:moveTo>
                    <a:pt x="96" y="485"/>
                  </a:moveTo>
                  <a:cubicBezTo>
                    <a:pt x="92" y="485"/>
                    <a:pt x="88" y="484"/>
                    <a:pt x="84" y="484"/>
                  </a:cubicBezTo>
                  <a:cubicBezTo>
                    <a:pt x="74" y="483"/>
                    <a:pt x="64" y="479"/>
                    <a:pt x="55" y="474"/>
                  </a:cubicBezTo>
                  <a:cubicBezTo>
                    <a:pt x="42" y="466"/>
                    <a:pt x="30" y="454"/>
                    <a:pt x="21" y="437"/>
                  </a:cubicBezTo>
                  <a:cubicBezTo>
                    <a:pt x="7" y="412"/>
                    <a:pt x="0" y="377"/>
                    <a:pt x="0" y="331"/>
                  </a:cubicBezTo>
                  <a:cubicBezTo>
                    <a:pt x="0" y="287"/>
                    <a:pt x="7" y="245"/>
                    <a:pt x="20" y="205"/>
                  </a:cubicBezTo>
                  <a:cubicBezTo>
                    <a:pt x="34" y="165"/>
                    <a:pt x="52" y="129"/>
                    <a:pt x="76" y="98"/>
                  </a:cubicBezTo>
                  <a:cubicBezTo>
                    <a:pt x="100" y="68"/>
                    <a:pt x="128" y="43"/>
                    <a:pt x="159" y="25"/>
                  </a:cubicBezTo>
                  <a:cubicBezTo>
                    <a:pt x="190" y="7"/>
                    <a:pt x="219" y="0"/>
                    <a:pt x="245" y="3"/>
                  </a:cubicBezTo>
                  <a:cubicBezTo>
                    <a:pt x="255" y="4"/>
                    <a:pt x="265" y="7"/>
                    <a:pt x="273" y="12"/>
                  </a:cubicBezTo>
                  <a:cubicBezTo>
                    <a:pt x="274" y="13"/>
                    <a:pt x="274" y="13"/>
                    <a:pt x="274" y="13"/>
                  </a:cubicBezTo>
                  <a:cubicBezTo>
                    <a:pt x="287" y="21"/>
                    <a:pt x="299" y="33"/>
                    <a:pt x="308" y="49"/>
                  </a:cubicBezTo>
                  <a:cubicBezTo>
                    <a:pt x="322" y="75"/>
                    <a:pt x="329" y="110"/>
                    <a:pt x="329" y="155"/>
                  </a:cubicBezTo>
                  <a:cubicBezTo>
                    <a:pt x="329" y="200"/>
                    <a:pt x="322" y="242"/>
                    <a:pt x="309" y="282"/>
                  </a:cubicBezTo>
                  <a:cubicBezTo>
                    <a:pt x="295" y="322"/>
                    <a:pt x="277" y="358"/>
                    <a:pt x="253" y="388"/>
                  </a:cubicBezTo>
                  <a:cubicBezTo>
                    <a:pt x="229" y="419"/>
                    <a:pt x="201" y="444"/>
                    <a:pt x="171" y="461"/>
                  </a:cubicBezTo>
                  <a:cubicBezTo>
                    <a:pt x="144" y="477"/>
                    <a:pt x="119" y="485"/>
                    <a:pt x="96" y="485"/>
                  </a:cubicBezTo>
                  <a:close/>
                  <a:moveTo>
                    <a:pt x="233" y="26"/>
                  </a:moveTo>
                  <a:cubicBezTo>
                    <a:pt x="214" y="26"/>
                    <a:pt x="194" y="33"/>
                    <a:pt x="171" y="46"/>
                  </a:cubicBezTo>
                  <a:cubicBezTo>
                    <a:pt x="143" y="62"/>
                    <a:pt x="117" y="85"/>
                    <a:pt x="95" y="113"/>
                  </a:cubicBezTo>
                  <a:cubicBezTo>
                    <a:pt x="73" y="142"/>
                    <a:pt x="56" y="175"/>
                    <a:pt x="43" y="212"/>
                  </a:cubicBezTo>
                  <a:cubicBezTo>
                    <a:pt x="31" y="250"/>
                    <a:pt x="24" y="290"/>
                    <a:pt x="24" y="331"/>
                  </a:cubicBezTo>
                  <a:cubicBezTo>
                    <a:pt x="24" y="372"/>
                    <a:pt x="30" y="404"/>
                    <a:pt x="42" y="426"/>
                  </a:cubicBezTo>
                  <a:cubicBezTo>
                    <a:pt x="49" y="439"/>
                    <a:pt x="58" y="448"/>
                    <a:pt x="67" y="453"/>
                  </a:cubicBezTo>
                  <a:cubicBezTo>
                    <a:pt x="73" y="457"/>
                    <a:pt x="80" y="459"/>
                    <a:pt x="87" y="460"/>
                  </a:cubicBezTo>
                  <a:cubicBezTo>
                    <a:pt x="108" y="463"/>
                    <a:pt x="132" y="456"/>
                    <a:pt x="159" y="441"/>
                  </a:cubicBezTo>
                  <a:cubicBezTo>
                    <a:pt x="187" y="424"/>
                    <a:pt x="212" y="402"/>
                    <a:pt x="234" y="374"/>
                  </a:cubicBezTo>
                  <a:cubicBezTo>
                    <a:pt x="256" y="345"/>
                    <a:pt x="274" y="312"/>
                    <a:pt x="286" y="274"/>
                  </a:cubicBezTo>
                  <a:cubicBezTo>
                    <a:pt x="299" y="237"/>
                    <a:pt x="305" y="197"/>
                    <a:pt x="305" y="155"/>
                  </a:cubicBezTo>
                  <a:cubicBezTo>
                    <a:pt x="305" y="115"/>
                    <a:pt x="299" y="83"/>
                    <a:pt x="287" y="61"/>
                  </a:cubicBezTo>
                  <a:cubicBezTo>
                    <a:pt x="280" y="48"/>
                    <a:pt x="272" y="39"/>
                    <a:pt x="262" y="33"/>
                  </a:cubicBezTo>
                  <a:cubicBezTo>
                    <a:pt x="261" y="33"/>
                    <a:pt x="261" y="33"/>
                    <a:pt x="261" y="33"/>
                  </a:cubicBezTo>
                  <a:cubicBezTo>
                    <a:pt x="255" y="30"/>
                    <a:pt x="249" y="28"/>
                    <a:pt x="242" y="27"/>
                  </a:cubicBezTo>
                  <a:cubicBezTo>
                    <a:pt x="239" y="26"/>
                    <a:pt x="236" y="26"/>
                    <a:pt x="233" y="2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6" name="Freeform 2386">
              <a:extLst>
                <a:ext uri="{FF2B5EF4-FFF2-40B4-BE49-F238E27FC236}">
                  <a16:creationId xmlns:a16="http://schemas.microsoft.com/office/drawing/2014/main" id="{9C792F2E-B377-4112-8DF7-7BFE5D0529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3" y="3319"/>
              <a:ext cx="37" cy="76"/>
            </a:xfrm>
            <a:custGeom>
              <a:avLst/>
              <a:gdLst>
                <a:gd name="T0" fmla="*/ 47 w 133"/>
                <a:gd name="T1" fmla="*/ 276 h 276"/>
                <a:gd name="T2" fmla="*/ 17 w 133"/>
                <a:gd name="T3" fmla="*/ 260 h 276"/>
                <a:gd name="T4" fmla="*/ 0 w 133"/>
                <a:gd name="T5" fmla="*/ 174 h 276"/>
                <a:gd name="T6" fmla="*/ 16 w 133"/>
                <a:gd name="T7" fmla="*/ 73 h 276"/>
                <a:gd name="T8" fmla="*/ 61 w 133"/>
                <a:gd name="T9" fmla="*/ 17 h 276"/>
                <a:gd name="T10" fmla="*/ 116 w 133"/>
                <a:gd name="T11" fmla="*/ 25 h 276"/>
                <a:gd name="T12" fmla="*/ 133 w 133"/>
                <a:gd name="T13" fmla="*/ 111 h 276"/>
                <a:gd name="T14" fmla="*/ 117 w 133"/>
                <a:gd name="T15" fmla="*/ 212 h 276"/>
                <a:gd name="T16" fmla="*/ 73 w 133"/>
                <a:gd name="T17" fmla="*/ 268 h 276"/>
                <a:gd name="T18" fmla="*/ 47 w 133"/>
                <a:gd name="T19" fmla="*/ 276 h 276"/>
                <a:gd name="T20" fmla="*/ 86 w 133"/>
                <a:gd name="T21" fmla="*/ 33 h 276"/>
                <a:gd name="T22" fmla="*/ 73 w 133"/>
                <a:gd name="T23" fmla="*/ 37 h 276"/>
                <a:gd name="T24" fmla="*/ 38 w 133"/>
                <a:gd name="T25" fmla="*/ 82 h 276"/>
                <a:gd name="T26" fmla="*/ 24 w 133"/>
                <a:gd name="T27" fmla="*/ 174 h 276"/>
                <a:gd name="T28" fmla="*/ 37 w 133"/>
                <a:gd name="T29" fmla="*/ 246 h 276"/>
                <a:gd name="T30" fmla="*/ 61 w 133"/>
                <a:gd name="T31" fmla="*/ 247 h 276"/>
                <a:gd name="T32" fmla="*/ 95 w 133"/>
                <a:gd name="T33" fmla="*/ 203 h 276"/>
                <a:gd name="T34" fmla="*/ 109 w 133"/>
                <a:gd name="T35" fmla="*/ 111 h 276"/>
                <a:gd name="T36" fmla="*/ 96 w 133"/>
                <a:gd name="T37" fmla="*/ 39 h 276"/>
                <a:gd name="T38" fmla="*/ 86 w 133"/>
                <a:gd name="T39" fmla="*/ 33 h 276"/>
                <a:gd name="T40" fmla="*/ 106 w 133"/>
                <a:gd name="T41" fmla="*/ 207 h 276"/>
                <a:gd name="T42" fmla="*/ 106 w 133"/>
                <a:gd name="T43" fmla="*/ 20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3" h="276">
                  <a:moveTo>
                    <a:pt x="47" y="276"/>
                  </a:moveTo>
                  <a:cubicBezTo>
                    <a:pt x="32" y="276"/>
                    <a:pt x="23" y="267"/>
                    <a:pt x="17" y="260"/>
                  </a:cubicBezTo>
                  <a:cubicBezTo>
                    <a:pt x="6" y="245"/>
                    <a:pt x="0" y="217"/>
                    <a:pt x="0" y="174"/>
                  </a:cubicBezTo>
                  <a:cubicBezTo>
                    <a:pt x="0" y="132"/>
                    <a:pt x="6" y="99"/>
                    <a:pt x="16" y="73"/>
                  </a:cubicBezTo>
                  <a:cubicBezTo>
                    <a:pt x="27" y="47"/>
                    <a:pt x="42" y="28"/>
                    <a:pt x="61" y="17"/>
                  </a:cubicBezTo>
                  <a:cubicBezTo>
                    <a:pt x="90" y="0"/>
                    <a:pt x="108" y="14"/>
                    <a:pt x="116" y="25"/>
                  </a:cubicBezTo>
                  <a:cubicBezTo>
                    <a:pt x="127" y="40"/>
                    <a:pt x="133" y="68"/>
                    <a:pt x="133" y="111"/>
                  </a:cubicBezTo>
                  <a:cubicBezTo>
                    <a:pt x="133" y="152"/>
                    <a:pt x="127" y="186"/>
                    <a:pt x="117" y="212"/>
                  </a:cubicBezTo>
                  <a:cubicBezTo>
                    <a:pt x="106" y="238"/>
                    <a:pt x="92" y="257"/>
                    <a:pt x="73" y="268"/>
                  </a:cubicBezTo>
                  <a:cubicBezTo>
                    <a:pt x="63" y="274"/>
                    <a:pt x="54" y="276"/>
                    <a:pt x="47" y="276"/>
                  </a:cubicBezTo>
                  <a:close/>
                  <a:moveTo>
                    <a:pt x="86" y="33"/>
                  </a:moveTo>
                  <a:cubicBezTo>
                    <a:pt x="83" y="33"/>
                    <a:pt x="78" y="34"/>
                    <a:pt x="73" y="37"/>
                  </a:cubicBezTo>
                  <a:cubicBezTo>
                    <a:pt x="58" y="46"/>
                    <a:pt x="47" y="61"/>
                    <a:pt x="38" y="82"/>
                  </a:cubicBezTo>
                  <a:cubicBezTo>
                    <a:pt x="29" y="105"/>
                    <a:pt x="24" y="135"/>
                    <a:pt x="24" y="174"/>
                  </a:cubicBezTo>
                  <a:cubicBezTo>
                    <a:pt x="24" y="220"/>
                    <a:pt x="31" y="238"/>
                    <a:pt x="37" y="246"/>
                  </a:cubicBezTo>
                  <a:cubicBezTo>
                    <a:pt x="41" y="251"/>
                    <a:pt x="46" y="256"/>
                    <a:pt x="61" y="247"/>
                  </a:cubicBezTo>
                  <a:cubicBezTo>
                    <a:pt x="75" y="239"/>
                    <a:pt x="86" y="224"/>
                    <a:pt x="95" y="203"/>
                  </a:cubicBezTo>
                  <a:cubicBezTo>
                    <a:pt x="104" y="180"/>
                    <a:pt x="109" y="149"/>
                    <a:pt x="109" y="111"/>
                  </a:cubicBezTo>
                  <a:cubicBezTo>
                    <a:pt x="109" y="65"/>
                    <a:pt x="102" y="47"/>
                    <a:pt x="96" y="39"/>
                  </a:cubicBezTo>
                  <a:cubicBezTo>
                    <a:pt x="94" y="36"/>
                    <a:pt x="91" y="33"/>
                    <a:pt x="86" y="33"/>
                  </a:cubicBezTo>
                  <a:close/>
                  <a:moveTo>
                    <a:pt x="106" y="207"/>
                  </a:moveTo>
                  <a:cubicBezTo>
                    <a:pt x="106" y="207"/>
                    <a:pt x="106" y="207"/>
                    <a:pt x="106" y="207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7" name="Freeform 2387">
              <a:extLst>
                <a:ext uri="{FF2B5EF4-FFF2-40B4-BE49-F238E27FC236}">
                  <a16:creationId xmlns:a16="http://schemas.microsoft.com/office/drawing/2014/main" id="{A3B5E042-0AFF-41B4-9961-A5D802BAE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3274"/>
              <a:ext cx="107" cy="149"/>
            </a:xfrm>
            <a:custGeom>
              <a:avLst/>
              <a:gdLst>
                <a:gd name="T0" fmla="*/ 167 w 387"/>
                <a:gd name="T1" fmla="*/ 538 h 538"/>
                <a:gd name="T2" fmla="*/ 161 w 387"/>
                <a:gd name="T3" fmla="*/ 536 h 538"/>
                <a:gd name="T4" fmla="*/ 55 w 387"/>
                <a:gd name="T5" fmla="*/ 475 h 538"/>
                <a:gd name="T6" fmla="*/ 21 w 387"/>
                <a:gd name="T7" fmla="*/ 438 h 538"/>
                <a:gd name="T8" fmla="*/ 0 w 387"/>
                <a:gd name="T9" fmla="*/ 332 h 538"/>
                <a:gd name="T10" fmla="*/ 20 w 387"/>
                <a:gd name="T11" fmla="*/ 205 h 538"/>
                <a:gd name="T12" fmla="*/ 76 w 387"/>
                <a:gd name="T13" fmla="*/ 99 h 538"/>
                <a:gd name="T14" fmla="*/ 158 w 387"/>
                <a:gd name="T15" fmla="*/ 26 h 538"/>
                <a:gd name="T16" fmla="*/ 244 w 387"/>
                <a:gd name="T17" fmla="*/ 3 h 538"/>
                <a:gd name="T18" fmla="*/ 273 w 387"/>
                <a:gd name="T19" fmla="*/ 13 h 538"/>
                <a:gd name="T20" fmla="*/ 380 w 387"/>
                <a:gd name="T21" fmla="*/ 75 h 538"/>
                <a:gd name="T22" fmla="*/ 384 w 387"/>
                <a:gd name="T23" fmla="*/ 91 h 538"/>
                <a:gd name="T24" fmla="*/ 368 w 387"/>
                <a:gd name="T25" fmla="*/ 95 h 538"/>
                <a:gd name="T26" fmla="*/ 261 w 387"/>
                <a:gd name="T27" fmla="*/ 34 h 538"/>
                <a:gd name="T28" fmla="*/ 241 w 387"/>
                <a:gd name="T29" fmla="*/ 27 h 538"/>
                <a:gd name="T30" fmla="*/ 170 w 387"/>
                <a:gd name="T31" fmla="*/ 47 h 538"/>
                <a:gd name="T32" fmla="*/ 95 w 387"/>
                <a:gd name="T33" fmla="*/ 114 h 538"/>
                <a:gd name="T34" fmla="*/ 43 w 387"/>
                <a:gd name="T35" fmla="*/ 213 h 538"/>
                <a:gd name="T36" fmla="*/ 24 w 387"/>
                <a:gd name="T37" fmla="*/ 332 h 538"/>
                <a:gd name="T38" fmla="*/ 42 w 387"/>
                <a:gd name="T39" fmla="*/ 426 h 538"/>
                <a:gd name="T40" fmla="*/ 67 w 387"/>
                <a:gd name="T41" fmla="*/ 454 h 538"/>
                <a:gd name="T42" fmla="*/ 173 w 387"/>
                <a:gd name="T43" fmla="*/ 515 h 538"/>
                <a:gd name="T44" fmla="*/ 178 w 387"/>
                <a:gd name="T45" fmla="*/ 532 h 538"/>
                <a:gd name="T46" fmla="*/ 167 w 387"/>
                <a:gd name="T47" fmla="*/ 538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87" h="538">
                  <a:moveTo>
                    <a:pt x="167" y="538"/>
                  </a:moveTo>
                  <a:cubicBezTo>
                    <a:pt x="165" y="538"/>
                    <a:pt x="163" y="537"/>
                    <a:pt x="161" y="536"/>
                  </a:cubicBezTo>
                  <a:cubicBezTo>
                    <a:pt x="55" y="475"/>
                    <a:pt x="55" y="475"/>
                    <a:pt x="55" y="475"/>
                  </a:cubicBezTo>
                  <a:cubicBezTo>
                    <a:pt x="41" y="467"/>
                    <a:pt x="30" y="454"/>
                    <a:pt x="21" y="438"/>
                  </a:cubicBezTo>
                  <a:cubicBezTo>
                    <a:pt x="7" y="412"/>
                    <a:pt x="0" y="377"/>
                    <a:pt x="0" y="332"/>
                  </a:cubicBezTo>
                  <a:cubicBezTo>
                    <a:pt x="0" y="288"/>
                    <a:pt x="6" y="245"/>
                    <a:pt x="20" y="205"/>
                  </a:cubicBezTo>
                  <a:cubicBezTo>
                    <a:pt x="33" y="165"/>
                    <a:pt x="52" y="130"/>
                    <a:pt x="76" y="99"/>
                  </a:cubicBezTo>
                  <a:cubicBezTo>
                    <a:pt x="100" y="68"/>
                    <a:pt x="128" y="44"/>
                    <a:pt x="158" y="26"/>
                  </a:cubicBezTo>
                  <a:cubicBezTo>
                    <a:pt x="190" y="8"/>
                    <a:pt x="219" y="0"/>
                    <a:pt x="244" y="3"/>
                  </a:cubicBezTo>
                  <a:cubicBezTo>
                    <a:pt x="255" y="5"/>
                    <a:pt x="265" y="8"/>
                    <a:pt x="273" y="13"/>
                  </a:cubicBezTo>
                  <a:cubicBezTo>
                    <a:pt x="380" y="75"/>
                    <a:pt x="380" y="75"/>
                    <a:pt x="380" y="75"/>
                  </a:cubicBezTo>
                  <a:cubicBezTo>
                    <a:pt x="385" y="78"/>
                    <a:pt x="387" y="85"/>
                    <a:pt x="384" y="91"/>
                  </a:cubicBezTo>
                  <a:cubicBezTo>
                    <a:pt x="381" y="97"/>
                    <a:pt x="373" y="99"/>
                    <a:pt x="368" y="95"/>
                  </a:cubicBezTo>
                  <a:cubicBezTo>
                    <a:pt x="261" y="34"/>
                    <a:pt x="261" y="34"/>
                    <a:pt x="261" y="34"/>
                  </a:cubicBezTo>
                  <a:cubicBezTo>
                    <a:pt x="255" y="30"/>
                    <a:pt x="249" y="28"/>
                    <a:pt x="241" y="27"/>
                  </a:cubicBezTo>
                  <a:cubicBezTo>
                    <a:pt x="221" y="25"/>
                    <a:pt x="197" y="31"/>
                    <a:pt x="170" y="47"/>
                  </a:cubicBezTo>
                  <a:cubicBezTo>
                    <a:pt x="142" y="63"/>
                    <a:pt x="117" y="85"/>
                    <a:pt x="95" y="114"/>
                  </a:cubicBezTo>
                  <a:cubicBezTo>
                    <a:pt x="73" y="142"/>
                    <a:pt x="55" y="176"/>
                    <a:pt x="43" y="213"/>
                  </a:cubicBezTo>
                  <a:cubicBezTo>
                    <a:pt x="30" y="250"/>
                    <a:pt x="24" y="290"/>
                    <a:pt x="24" y="332"/>
                  </a:cubicBezTo>
                  <a:cubicBezTo>
                    <a:pt x="24" y="373"/>
                    <a:pt x="30" y="405"/>
                    <a:pt x="42" y="426"/>
                  </a:cubicBezTo>
                  <a:cubicBezTo>
                    <a:pt x="49" y="439"/>
                    <a:pt x="57" y="448"/>
                    <a:pt x="67" y="454"/>
                  </a:cubicBezTo>
                  <a:cubicBezTo>
                    <a:pt x="173" y="515"/>
                    <a:pt x="173" y="515"/>
                    <a:pt x="173" y="515"/>
                  </a:cubicBezTo>
                  <a:cubicBezTo>
                    <a:pt x="179" y="519"/>
                    <a:pt x="181" y="526"/>
                    <a:pt x="178" y="532"/>
                  </a:cubicBezTo>
                  <a:cubicBezTo>
                    <a:pt x="175" y="536"/>
                    <a:pt x="171" y="538"/>
                    <a:pt x="167" y="538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8" name="Freeform 2388">
              <a:extLst>
                <a:ext uri="{FF2B5EF4-FFF2-40B4-BE49-F238E27FC236}">
                  <a16:creationId xmlns:a16="http://schemas.microsoft.com/office/drawing/2014/main" id="{35D9DE2D-2235-427F-8624-34CA1C928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" y="3203"/>
              <a:ext cx="42" cy="127"/>
            </a:xfrm>
            <a:custGeom>
              <a:avLst/>
              <a:gdLst>
                <a:gd name="T0" fmla="*/ 42 w 42"/>
                <a:gd name="T1" fmla="*/ 24 h 127"/>
                <a:gd name="T2" fmla="*/ 42 w 42"/>
                <a:gd name="T3" fmla="*/ 127 h 127"/>
                <a:gd name="T4" fmla="*/ 16 w 42"/>
                <a:gd name="T5" fmla="*/ 113 h 127"/>
                <a:gd name="T6" fmla="*/ 16 w 42"/>
                <a:gd name="T7" fmla="*/ 32 h 127"/>
                <a:gd name="T8" fmla="*/ 0 w 42"/>
                <a:gd name="T9" fmla="*/ 23 h 127"/>
                <a:gd name="T10" fmla="*/ 0 w 42"/>
                <a:gd name="T11" fmla="*/ 0 h 127"/>
                <a:gd name="T12" fmla="*/ 42 w 42"/>
                <a:gd name="T13" fmla="*/ 2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127">
                  <a:moveTo>
                    <a:pt x="42" y="24"/>
                  </a:moveTo>
                  <a:lnTo>
                    <a:pt x="42" y="127"/>
                  </a:lnTo>
                  <a:lnTo>
                    <a:pt x="16" y="113"/>
                  </a:lnTo>
                  <a:lnTo>
                    <a:pt x="16" y="32"/>
                  </a:lnTo>
                  <a:lnTo>
                    <a:pt x="0" y="23"/>
                  </a:lnTo>
                  <a:lnTo>
                    <a:pt x="0" y="0"/>
                  </a:lnTo>
                  <a:lnTo>
                    <a:pt x="42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9" name="Freeform 2389">
              <a:extLst>
                <a:ext uri="{FF2B5EF4-FFF2-40B4-BE49-F238E27FC236}">
                  <a16:creationId xmlns:a16="http://schemas.microsoft.com/office/drawing/2014/main" id="{2CCAFD12-9A89-4866-89EE-F94695D9F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" y="3211"/>
              <a:ext cx="27" cy="119"/>
            </a:xfrm>
            <a:custGeom>
              <a:avLst/>
              <a:gdLst>
                <a:gd name="T0" fmla="*/ 27 w 27"/>
                <a:gd name="T1" fmla="*/ 0 h 119"/>
                <a:gd name="T2" fmla="*/ 27 w 27"/>
                <a:gd name="T3" fmla="*/ 103 h 119"/>
                <a:gd name="T4" fmla="*/ 0 w 27"/>
                <a:gd name="T5" fmla="*/ 119 h 119"/>
                <a:gd name="T6" fmla="*/ 0 w 27"/>
                <a:gd name="T7" fmla="*/ 16 h 119"/>
                <a:gd name="T8" fmla="*/ 27 w 27"/>
                <a:gd name="T9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19">
                  <a:moveTo>
                    <a:pt x="27" y="0"/>
                  </a:moveTo>
                  <a:lnTo>
                    <a:pt x="27" y="103"/>
                  </a:lnTo>
                  <a:lnTo>
                    <a:pt x="0" y="119"/>
                  </a:lnTo>
                  <a:lnTo>
                    <a:pt x="0" y="16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0" name="Freeform 2390">
              <a:extLst>
                <a:ext uri="{FF2B5EF4-FFF2-40B4-BE49-F238E27FC236}">
                  <a16:creationId xmlns:a16="http://schemas.microsoft.com/office/drawing/2014/main" id="{6C757AD3-0403-4160-A0D8-7B7C15AA9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" y="3187"/>
              <a:ext cx="69" cy="40"/>
            </a:xfrm>
            <a:custGeom>
              <a:avLst/>
              <a:gdLst>
                <a:gd name="T0" fmla="*/ 69 w 69"/>
                <a:gd name="T1" fmla="*/ 24 h 40"/>
                <a:gd name="T2" fmla="*/ 42 w 69"/>
                <a:gd name="T3" fmla="*/ 40 h 40"/>
                <a:gd name="T4" fmla="*/ 0 w 69"/>
                <a:gd name="T5" fmla="*/ 16 h 40"/>
                <a:gd name="T6" fmla="*/ 27 w 69"/>
                <a:gd name="T7" fmla="*/ 0 h 40"/>
                <a:gd name="T8" fmla="*/ 69 w 69"/>
                <a:gd name="T9" fmla="*/ 2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40">
                  <a:moveTo>
                    <a:pt x="69" y="24"/>
                  </a:moveTo>
                  <a:lnTo>
                    <a:pt x="42" y="40"/>
                  </a:lnTo>
                  <a:lnTo>
                    <a:pt x="0" y="16"/>
                  </a:lnTo>
                  <a:lnTo>
                    <a:pt x="27" y="0"/>
                  </a:lnTo>
                  <a:lnTo>
                    <a:pt x="69" y="24"/>
                  </a:lnTo>
                  <a:close/>
                </a:path>
              </a:pathLst>
            </a:custGeom>
            <a:solidFill>
              <a:srgbClr val="DAE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1" name="Freeform 2391">
              <a:extLst>
                <a:ext uri="{FF2B5EF4-FFF2-40B4-BE49-F238E27FC236}">
                  <a16:creationId xmlns:a16="http://schemas.microsoft.com/office/drawing/2014/main" id="{710B169E-DE01-4F5B-9C7D-049F246F45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8" y="3199"/>
              <a:ext cx="48" cy="135"/>
            </a:xfrm>
            <a:custGeom>
              <a:avLst/>
              <a:gdLst>
                <a:gd name="T0" fmla="*/ 164 w 176"/>
                <a:gd name="T1" fmla="*/ 487 h 487"/>
                <a:gd name="T2" fmla="*/ 158 w 176"/>
                <a:gd name="T3" fmla="*/ 485 h 487"/>
                <a:gd name="T4" fmla="*/ 66 w 176"/>
                <a:gd name="T5" fmla="*/ 433 h 487"/>
                <a:gd name="T6" fmla="*/ 60 w 176"/>
                <a:gd name="T7" fmla="*/ 422 h 487"/>
                <a:gd name="T8" fmla="*/ 60 w 176"/>
                <a:gd name="T9" fmla="*/ 136 h 487"/>
                <a:gd name="T10" fmla="*/ 6 w 176"/>
                <a:gd name="T11" fmla="*/ 105 h 487"/>
                <a:gd name="T12" fmla="*/ 0 w 176"/>
                <a:gd name="T13" fmla="*/ 95 h 487"/>
                <a:gd name="T14" fmla="*/ 0 w 176"/>
                <a:gd name="T15" fmla="*/ 13 h 487"/>
                <a:gd name="T16" fmla="*/ 6 w 176"/>
                <a:gd name="T17" fmla="*/ 2 h 487"/>
                <a:gd name="T18" fmla="*/ 18 w 176"/>
                <a:gd name="T19" fmla="*/ 2 h 487"/>
                <a:gd name="T20" fmla="*/ 170 w 176"/>
                <a:gd name="T21" fmla="*/ 90 h 487"/>
                <a:gd name="T22" fmla="*/ 176 w 176"/>
                <a:gd name="T23" fmla="*/ 101 h 487"/>
                <a:gd name="T24" fmla="*/ 176 w 176"/>
                <a:gd name="T25" fmla="*/ 475 h 487"/>
                <a:gd name="T26" fmla="*/ 170 w 176"/>
                <a:gd name="T27" fmla="*/ 485 h 487"/>
                <a:gd name="T28" fmla="*/ 164 w 176"/>
                <a:gd name="T29" fmla="*/ 487 h 487"/>
                <a:gd name="T30" fmla="*/ 84 w 176"/>
                <a:gd name="T31" fmla="*/ 415 h 487"/>
                <a:gd name="T32" fmla="*/ 152 w 176"/>
                <a:gd name="T33" fmla="*/ 454 h 487"/>
                <a:gd name="T34" fmla="*/ 152 w 176"/>
                <a:gd name="T35" fmla="*/ 107 h 487"/>
                <a:gd name="T36" fmla="*/ 24 w 176"/>
                <a:gd name="T37" fmla="*/ 34 h 487"/>
                <a:gd name="T38" fmla="*/ 24 w 176"/>
                <a:gd name="T39" fmla="*/ 88 h 487"/>
                <a:gd name="T40" fmla="*/ 78 w 176"/>
                <a:gd name="T41" fmla="*/ 119 h 487"/>
                <a:gd name="T42" fmla="*/ 84 w 176"/>
                <a:gd name="T43" fmla="*/ 129 h 487"/>
                <a:gd name="T44" fmla="*/ 84 w 176"/>
                <a:gd name="T45" fmla="*/ 415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6" h="487">
                  <a:moveTo>
                    <a:pt x="164" y="487"/>
                  </a:moveTo>
                  <a:cubicBezTo>
                    <a:pt x="161" y="487"/>
                    <a:pt x="159" y="487"/>
                    <a:pt x="158" y="485"/>
                  </a:cubicBezTo>
                  <a:cubicBezTo>
                    <a:pt x="66" y="433"/>
                    <a:pt x="66" y="433"/>
                    <a:pt x="66" y="433"/>
                  </a:cubicBezTo>
                  <a:cubicBezTo>
                    <a:pt x="62" y="430"/>
                    <a:pt x="60" y="426"/>
                    <a:pt x="60" y="422"/>
                  </a:cubicBezTo>
                  <a:cubicBezTo>
                    <a:pt x="60" y="136"/>
                    <a:pt x="60" y="136"/>
                    <a:pt x="60" y="136"/>
                  </a:cubicBezTo>
                  <a:cubicBezTo>
                    <a:pt x="6" y="105"/>
                    <a:pt x="6" y="105"/>
                    <a:pt x="6" y="105"/>
                  </a:cubicBezTo>
                  <a:cubicBezTo>
                    <a:pt x="2" y="103"/>
                    <a:pt x="0" y="99"/>
                    <a:pt x="0" y="9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8"/>
                    <a:pt x="2" y="5"/>
                    <a:pt x="6" y="2"/>
                  </a:cubicBezTo>
                  <a:cubicBezTo>
                    <a:pt x="9" y="0"/>
                    <a:pt x="14" y="0"/>
                    <a:pt x="18" y="2"/>
                  </a:cubicBezTo>
                  <a:cubicBezTo>
                    <a:pt x="170" y="90"/>
                    <a:pt x="170" y="90"/>
                    <a:pt x="170" y="90"/>
                  </a:cubicBezTo>
                  <a:cubicBezTo>
                    <a:pt x="173" y="92"/>
                    <a:pt x="176" y="96"/>
                    <a:pt x="176" y="101"/>
                  </a:cubicBezTo>
                  <a:cubicBezTo>
                    <a:pt x="176" y="475"/>
                    <a:pt x="176" y="475"/>
                    <a:pt x="176" y="475"/>
                  </a:cubicBezTo>
                  <a:cubicBezTo>
                    <a:pt x="176" y="479"/>
                    <a:pt x="173" y="483"/>
                    <a:pt x="170" y="485"/>
                  </a:cubicBezTo>
                  <a:cubicBezTo>
                    <a:pt x="168" y="487"/>
                    <a:pt x="166" y="487"/>
                    <a:pt x="164" y="487"/>
                  </a:cubicBezTo>
                  <a:close/>
                  <a:moveTo>
                    <a:pt x="84" y="415"/>
                  </a:moveTo>
                  <a:cubicBezTo>
                    <a:pt x="152" y="454"/>
                    <a:pt x="152" y="454"/>
                    <a:pt x="152" y="454"/>
                  </a:cubicBezTo>
                  <a:cubicBezTo>
                    <a:pt x="152" y="107"/>
                    <a:pt x="152" y="107"/>
                    <a:pt x="152" y="107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78" y="119"/>
                    <a:pt x="78" y="119"/>
                    <a:pt x="78" y="119"/>
                  </a:cubicBezTo>
                  <a:cubicBezTo>
                    <a:pt x="81" y="121"/>
                    <a:pt x="84" y="125"/>
                    <a:pt x="84" y="129"/>
                  </a:cubicBezTo>
                  <a:lnTo>
                    <a:pt x="84" y="415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2" name="Freeform 2392">
              <a:extLst>
                <a:ext uri="{FF2B5EF4-FFF2-40B4-BE49-F238E27FC236}">
                  <a16:creationId xmlns:a16="http://schemas.microsoft.com/office/drawing/2014/main" id="{E6D20AB9-0881-40B4-9ACC-449D8BD8A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" y="3184"/>
              <a:ext cx="77" cy="150"/>
            </a:xfrm>
            <a:custGeom>
              <a:avLst/>
              <a:gdLst>
                <a:gd name="T0" fmla="*/ 166 w 277"/>
                <a:gd name="T1" fmla="*/ 544 h 544"/>
                <a:gd name="T2" fmla="*/ 155 w 277"/>
                <a:gd name="T3" fmla="*/ 538 h 544"/>
                <a:gd name="T4" fmla="*/ 160 w 277"/>
                <a:gd name="T5" fmla="*/ 522 h 544"/>
                <a:gd name="T6" fmla="*/ 253 w 277"/>
                <a:gd name="T7" fmla="*/ 468 h 544"/>
                <a:gd name="T8" fmla="*/ 253 w 277"/>
                <a:gd name="T9" fmla="*/ 107 h 544"/>
                <a:gd name="T10" fmla="*/ 113 w 277"/>
                <a:gd name="T11" fmla="*/ 26 h 544"/>
                <a:gd name="T12" fmla="*/ 20 w 277"/>
                <a:gd name="T13" fmla="*/ 80 h 544"/>
                <a:gd name="T14" fmla="*/ 3 w 277"/>
                <a:gd name="T15" fmla="*/ 76 h 544"/>
                <a:gd name="T16" fmla="*/ 8 w 277"/>
                <a:gd name="T17" fmla="*/ 59 h 544"/>
                <a:gd name="T18" fmla="*/ 107 w 277"/>
                <a:gd name="T19" fmla="*/ 2 h 544"/>
                <a:gd name="T20" fmla="*/ 119 w 277"/>
                <a:gd name="T21" fmla="*/ 2 h 544"/>
                <a:gd name="T22" fmla="*/ 271 w 277"/>
                <a:gd name="T23" fmla="*/ 89 h 544"/>
                <a:gd name="T24" fmla="*/ 277 w 277"/>
                <a:gd name="T25" fmla="*/ 100 h 544"/>
                <a:gd name="T26" fmla="*/ 277 w 277"/>
                <a:gd name="T27" fmla="*/ 474 h 544"/>
                <a:gd name="T28" fmla="*/ 271 w 277"/>
                <a:gd name="T29" fmla="*/ 485 h 544"/>
                <a:gd name="T30" fmla="*/ 172 w 277"/>
                <a:gd name="T31" fmla="*/ 542 h 544"/>
                <a:gd name="T32" fmla="*/ 166 w 277"/>
                <a:gd name="T33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7" h="544">
                  <a:moveTo>
                    <a:pt x="166" y="544"/>
                  </a:moveTo>
                  <a:cubicBezTo>
                    <a:pt x="161" y="544"/>
                    <a:pt x="157" y="542"/>
                    <a:pt x="155" y="538"/>
                  </a:cubicBezTo>
                  <a:cubicBezTo>
                    <a:pt x="152" y="532"/>
                    <a:pt x="154" y="525"/>
                    <a:pt x="160" y="522"/>
                  </a:cubicBezTo>
                  <a:cubicBezTo>
                    <a:pt x="253" y="468"/>
                    <a:pt x="253" y="468"/>
                    <a:pt x="253" y="468"/>
                  </a:cubicBezTo>
                  <a:cubicBezTo>
                    <a:pt x="253" y="107"/>
                    <a:pt x="253" y="107"/>
                    <a:pt x="253" y="107"/>
                  </a:cubicBezTo>
                  <a:cubicBezTo>
                    <a:pt x="113" y="26"/>
                    <a:pt x="113" y="26"/>
                    <a:pt x="113" y="26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14" y="83"/>
                    <a:pt x="6" y="81"/>
                    <a:pt x="3" y="76"/>
                  </a:cubicBezTo>
                  <a:cubicBezTo>
                    <a:pt x="0" y="70"/>
                    <a:pt x="2" y="63"/>
                    <a:pt x="8" y="59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11" y="0"/>
                    <a:pt x="116" y="0"/>
                    <a:pt x="119" y="2"/>
                  </a:cubicBezTo>
                  <a:cubicBezTo>
                    <a:pt x="271" y="89"/>
                    <a:pt x="271" y="89"/>
                    <a:pt x="271" y="89"/>
                  </a:cubicBezTo>
                  <a:cubicBezTo>
                    <a:pt x="275" y="92"/>
                    <a:pt x="277" y="96"/>
                    <a:pt x="277" y="100"/>
                  </a:cubicBezTo>
                  <a:cubicBezTo>
                    <a:pt x="277" y="474"/>
                    <a:pt x="277" y="474"/>
                    <a:pt x="277" y="474"/>
                  </a:cubicBezTo>
                  <a:cubicBezTo>
                    <a:pt x="277" y="479"/>
                    <a:pt x="275" y="483"/>
                    <a:pt x="271" y="485"/>
                  </a:cubicBezTo>
                  <a:cubicBezTo>
                    <a:pt x="172" y="542"/>
                    <a:pt x="172" y="542"/>
                    <a:pt x="172" y="542"/>
                  </a:cubicBezTo>
                  <a:cubicBezTo>
                    <a:pt x="170" y="544"/>
                    <a:pt x="168" y="544"/>
                    <a:pt x="166" y="54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3" name="Freeform 2393">
              <a:extLst>
                <a:ext uri="{FF2B5EF4-FFF2-40B4-BE49-F238E27FC236}">
                  <a16:creationId xmlns:a16="http://schemas.microsoft.com/office/drawing/2014/main" id="{703B411D-6DA2-4FC2-BAFD-8AC1816244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" y="3207"/>
              <a:ext cx="35" cy="23"/>
            </a:xfrm>
            <a:custGeom>
              <a:avLst/>
              <a:gdLst>
                <a:gd name="T0" fmla="*/ 14 w 127"/>
                <a:gd name="T1" fmla="*/ 84 h 84"/>
                <a:gd name="T2" fmla="*/ 3 w 127"/>
                <a:gd name="T3" fmla="*/ 78 h 84"/>
                <a:gd name="T4" fmla="*/ 8 w 127"/>
                <a:gd name="T5" fmla="*/ 61 h 84"/>
                <a:gd name="T6" fmla="*/ 107 w 127"/>
                <a:gd name="T7" fmla="*/ 3 h 84"/>
                <a:gd name="T8" fmla="*/ 124 w 127"/>
                <a:gd name="T9" fmla="*/ 8 h 84"/>
                <a:gd name="T10" fmla="*/ 119 w 127"/>
                <a:gd name="T11" fmla="*/ 24 h 84"/>
                <a:gd name="T12" fmla="*/ 20 w 127"/>
                <a:gd name="T13" fmla="*/ 82 h 84"/>
                <a:gd name="T14" fmla="*/ 14 w 127"/>
                <a:gd name="T15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84">
                  <a:moveTo>
                    <a:pt x="14" y="84"/>
                  </a:moveTo>
                  <a:cubicBezTo>
                    <a:pt x="9" y="84"/>
                    <a:pt x="5" y="81"/>
                    <a:pt x="3" y="78"/>
                  </a:cubicBezTo>
                  <a:cubicBezTo>
                    <a:pt x="0" y="72"/>
                    <a:pt x="2" y="64"/>
                    <a:pt x="8" y="61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13" y="0"/>
                    <a:pt x="120" y="2"/>
                    <a:pt x="124" y="8"/>
                  </a:cubicBezTo>
                  <a:cubicBezTo>
                    <a:pt x="127" y="14"/>
                    <a:pt x="125" y="21"/>
                    <a:pt x="119" y="24"/>
                  </a:cubicBezTo>
                  <a:cubicBezTo>
                    <a:pt x="20" y="82"/>
                    <a:pt x="20" y="82"/>
                    <a:pt x="20" y="82"/>
                  </a:cubicBezTo>
                  <a:cubicBezTo>
                    <a:pt x="18" y="83"/>
                    <a:pt x="16" y="84"/>
                    <a:pt x="14" y="8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4" name="Freeform 2394">
              <a:extLst>
                <a:ext uri="{FF2B5EF4-FFF2-40B4-BE49-F238E27FC236}">
                  <a16:creationId xmlns:a16="http://schemas.microsoft.com/office/drawing/2014/main" id="{F47C72A8-99DE-4BC1-AC08-AE09155535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" y="3487"/>
              <a:ext cx="123" cy="81"/>
            </a:xfrm>
            <a:custGeom>
              <a:avLst/>
              <a:gdLst>
                <a:gd name="T0" fmla="*/ 123 w 123"/>
                <a:gd name="T1" fmla="*/ 26 h 81"/>
                <a:gd name="T2" fmla="*/ 27 w 123"/>
                <a:gd name="T3" fmla="*/ 81 h 81"/>
                <a:gd name="T4" fmla="*/ 0 w 123"/>
                <a:gd name="T5" fmla="*/ 65 h 81"/>
                <a:gd name="T6" fmla="*/ 75 w 123"/>
                <a:gd name="T7" fmla="*/ 22 h 81"/>
                <a:gd name="T8" fmla="*/ 57 w 123"/>
                <a:gd name="T9" fmla="*/ 12 h 81"/>
                <a:gd name="T10" fmla="*/ 78 w 123"/>
                <a:gd name="T11" fmla="*/ 0 h 81"/>
                <a:gd name="T12" fmla="*/ 123 w 123"/>
                <a:gd name="T13" fmla="*/ 2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81">
                  <a:moveTo>
                    <a:pt x="123" y="26"/>
                  </a:moveTo>
                  <a:lnTo>
                    <a:pt x="27" y="81"/>
                  </a:lnTo>
                  <a:lnTo>
                    <a:pt x="0" y="65"/>
                  </a:lnTo>
                  <a:lnTo>
                    <a:pt x="75" y="22"/>
                  </a:lnTo>
                  <a:lnTo>
                    <a:pt x="57" y="12"/>
                  </a:lnTo>
                  <a:lnTo>
                    <a:pt x="78" y="0"/>
                  </a:lnTo>
                  <a:lnTo>
                    <a:pt x="123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5" name="Freeform 2395">
              <a:extLst>
                <a:ext uri="{FF2B5EF4-FFF2-40B4-BE49-F238E27FC236}">
                  <a16:creationId xmlns:a16="http://schemas.microsoft.com/office/drawing/2014/main" id="{4D9C0884-8C9E-4491-A974-FA7B5B837B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" y="3513"/>
              <a:ext cx="96" cy="96"/>
            </a:xfrm>
            <a:custGeom>
              <a:avLst/>
              <a:gdLst>
                <a:gd name="T0" fmla="*/ 96 w 96"/>
                <a:gd name="T1" fmla="*/ 0 h 96"/>
                <a:gd name="T2" fmla="*/ 96 w 96"/>
                <a:gd name="T3" fmla="*/ 41 h 96"/>
                <a:gd name="T4" fmla="*/ 0 w 96"/>
                <a:gd name="T5" fmla="*/ 96 h 96"/>
                <a:gd name="T6" fmla="*/ 0 w 96"/>
                <a:gd name="T7" fmla="*/ 55 h 96"/>
                <a:gd name="T8" fmla="*/ 96 w 9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96">
                  <a:moveTo>
                    <a:pt x="96" y="0"/>
                  </a:moveTo>
                  <a:lnTo>
                    <a:pt x="96" y="41"/>
                  </a:lnTo>
                  <a:lnTo>
                    <a:pt x="0" y="96"/>
                  </a:lnTo>
                  <a:lnTo>
                    <a:pt x="0" y="55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6" name="Freeform 2396">
              <a:extLst>
                <a:ext uri="{FF2B5EF4-FFF2-40B4-BE49-F238E27FC236}">
                  <a16:creationId xmlns:a16="http://schemas.microsoft.com/office/drawing/2014/main" id="{599DBF66-C19D-4D64-AFA7-EE0AF674F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" y="3552"/>
              <a:ext cx="27" cy="57"/>
            </a:xfrm>
            <a:custGeom>
              <a:avLst/>
              <a:gdLst>
                <a:gd name="T0" fmla="*/ 27 w 27"/>
                <a:gd name="T1" fmla="*/ 16 h 57"/>
                <a:gd name="T2" fmla="*/ 27 w 27"/>
                <a:gd name="T3" fmla="*/ 57 h 57"/>
                <a:gd name="T4" fmla="*/ 0 w 27"/>
                <a:gd name="T5" fmla="*/ 41 h 57"/>
                <a:gd name="T6" fmla="*/ 0 w 27"/>
                <a:gd name="T7" fmla="*/ 0 h 57"/>
                <a:gd name="T8" fmla="*/ 27 w 27"/>
                <a:gd name="T9" fmla="*/ 1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57">
                  <a:moveTo>
                    <a:pt x="27" y="16"/>
                  </a:moveTo>
                  <a:lnTo>
                    <a:pt x="27" y="57"/>
                  </a:lnTo>
                  <a:lnTo>
                    <a:pt x="0" y="41"/>
                  </a:lnTo>
                  <a:lnTo>
                    <a:pt x="0" y="0"/>
                  </a:lnTo>
                  <a:lnTo>
                    <a:pt x="27" y="16"/>
                  </a:lnTo>
                  <a:close/>
                </a:path>
              </a:pathLst>
            </a:custGeom>
            <a:solidFill>
              <a:srgbClr val="DAE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7" name="Freeform 2397">
              <a:extLst>
                <a:ext uri="{FF2B5EF4-FFF2-40B4-BE49-F238E27FC236}">
                  <a16:creationId xmlns:a16="http://schemas.microsoft.com/office/drawing/2014/main" id="{27639F6C-028A-4AE6-B123-23B01D63E4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" y="3483"/>
              <a:ext cx="130" cy="88"/>
            </a:xfrm>
            <a:custGeom>
              <a:avLst/>
              <a:gdLst>
                <a:gd name="T0" fmla="*/ 110 w 470"/>
                <a:gd name="T1" fmla="*/ 319 h 319"/>
                <a:gd name="T2" fmla="*/ 104 w 470"/>
                <a:gd name="T3" fmla="*/ 318 h 319"/>
                <a:gd name="T4" fmla="*/ 6 w 470"/>
                <a:gd name="T5" fmla="*/ 261 h 319"/>
                <a:gd name="T6" fmla="*/ 0 w 470"/>
                <a:gd name="T7" fmla="*/ 250 h 319"/>
                <a:gd name="T8" fmla="*/ 6 w 470"/>
                <a:gd name="T9" fmla="*/ 240 h 319"/>
                <a:gd name="T10" fmla="*/ 259 w 470"/>
                <a:gd name="T11" fmla="*/ 94 h 319"/>
                <a:gd name="T12" fmla="*/ 213 w 470"/>
                <a:gd name="T13" fmla="*/ 67 h 319"/>
                <a:gd name="T14" fmla="*/ 207 w 470"/>
                <a:gd name="T15" fmla="*/ 56 h 319"/>
                <a:gd name="T16" fmla="*/ 213 w 470"/>
                <a:gd name="T17" fmla="*/ 46 h 319"/>
                <a:gd name="T18" fmla="*/ 289 w 470"/>
                <a:gd name="T19" fmla="*/ 2 h 319"/>
                <a:gd name="T20" fmla="*/ 301 w 470"/>
                <a:gd name="T21" fmla="*/ 2 h 319"/>
                <a:gd name="T22" fmla="*/ 464 w 470"/>
                <a:gd name="T23" fmla="*/ 96 h 319"/>
                <a:gd name="T24" fmla="*/ 470 w 470"/>
                <a:gd name="T25" fmla="*/ 107 h 319"/>
                <a:gd name="T26" fmla="*/ 464 w 470"/>
                <a:gd name="T27" fmla="*/ 117 h 319"/>
                <a:gd name="T28" fmla="*/ 116 w 470"/>
                <a:gd name="T29" fmla="*/ 318 h 319"/>
                <a:gd name="T30" fmla="*/ 110 w 470"/>
                <a:gd name="T31" fmla="*/ 319 h 319"/>
                <a:gd name="T32" fmla="*/ 36 w 470"/>
                <a:gd name="T33" fmla="*/ 250 h 319"/>
                <a:gd name="T34" fmla="*/ 110 w 470"/>
                <a:gd name="T35" fmla="*/ 293 h 319"/>
                <a:gd name="T36" fmla="*/ 434 w 470"/>
                <a:gd name="T37" fmla="*/ 107 h 319"/>
                <a:gd name="T38" fmla="*/ 295 w 470"/>
                <a:gd name="T39" fmla="*/ 26 h 319"/>
                <a:gd name="T40" fmla="*/ 243 w 470"/>
                <a:gd name="T41" fmla="*/ 56 h 319"/>
                <a:gd name="T42" fmla="*/ 289 w 470"/>
                <a:gd name="T43" fmla="*/ 83 h 319"/>
                <a:gd name="T44" fmla="*/ 295 w 470"/>
                <a:gd name="T45" fmla="*/ 94 h 319"/>
                <a:gd name="T46" fmla="*/ 289 w 470"/>
                <a:gd name="T47" fmla="*/ 104 h 319"/>
                <a:gd name="T48" fmla="*/ 36 w 470"/>
                <a:gd name="T49" fmla="*/ 25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0" h="319">
                  <a:moveTo>
                    <a:pt x="110" y="319"/>
                  </a:moveTo>
                  <a:cubicBezTo>
                    <a:pt x="108" y="319"/>
                    <a:pt x="106" y="319"/>
                    <a:pt x="104" y="318"/>
                  </a:cubicBezTo>
                  <a:cubicBezTo>
                    <a:pt x="6" y="261"/>
                    <a:pt x="6" y="261"/>
                    <a:pt x="6" y="261"/>
                  </a:cubicBezTo>
                  <a:cubicBezTo>
                    <a:pt x="2" y="259"/>
                    <a:pt x="0" y="255"/>
                    <a:pt x="0" y="250"/>
                  </a:cubicBezTo>
                  <a:cubicBezTo>
                    <a:pt x="0" y="246"/>
                    <a:pt x="2" y="242"/>
                    <a:pt x="6" y="240"/>
                  </a:cubicBezTo>
                  <a:cubicBezTo>
                    <a:pt x="259" y="94"/>
                    <a:pt x="259" y="94"/>
                    <a:pt x="259" y="94"/>
                  </a:cubicBezTo>
                  <a:cubicBezTo>
                    <a:pt x="213" y="67"/>
                    <a:pt x="213" y="67"/>
                    <a:pt x="213" y="67"/>
                  </a:cubicBezTo>
                  <a:cubicBezTo>
                    <a:pt x="209" y="65"/>
                    <a:pt x="207" y="61"/>
                    <a:pt x="207" y="56"/>
                  </a:cubicBezTo>
                  <a:cubicBezTo>
                    <a:pt x="207" y="52"/>
                    <a:pt x="209" y="48"/>
                    <a:pt x="213" y="46"/>
                  </a:cubicBezTo>
                  <a:cubicBezTo>
                    <a:pt x="289" y="2"/>
                    <a:pt x="289" y="2"/>
                    <a:pt x="289" y="2"/>
                  </a:cubicBezTo>
                  <a:cubicBezTo>
                    <a:pt x="292" y="0"/>
                    <a:pt x="297" y="0"/>
                    <a:pt x="301" y="2"/>
                  </a:cubicBezTo>
                  <a:cubicBezTo>
                    <a:pt x="464" y="96"/>
                    <a:pt x="464" y="96"/>
                    <a:pt x="464" y="96"/>
                  </a:cubicBezTo>
                  <a:cubicBezTo>
                    <a:pt x="467" y="98"/>
                    <a:pt x="470" y="102"/>
                    <a:pt x="470" y="107"/>
                  </a:cubicBezTo>
                  <a:cubicBezTo>
                    <a:pt x="470" y="111"/>
                    <a:pt x="467" y="115"/>
                    <a:pt x="464" y="117"/>
                  </a:cubicBezTo>
                  <a:cubicBezTo>
                    <a:pt x="116" y="318"/>
                    <a:pt x="116" y="318"/>
                    <a:pt x="116" y="318"/>
                  </a:cubicBezTo>
                  <a:cubicBezTo>
                    <a:pt x="114" y="319"/>
                    <a:pt x="112" y="319"/>
                    <a:pt x="110" y="319"/>
                  </a:cubicBezTo>
                  <a:close/>
                  <a:moveTo>
                    <a:pt x="36" y="250"/>
                  </a:moveTo>
                  <a:cubicBezTo>
                    <a:pt x="110" y="293"/>
                    <a:pt x="110" y="293"/>
                    <a:pt x="110" y="293"/>
                  </a:cubicBezTo>
                  <a:cubicBezTo>
                    <a:pt x="434" y="107"/>
                    <a:pt x="434" y="107"/>
                    <a:pt x="434" y="107"/>
                  </a:cubicBezTo>
                  <a:cubicBezTo>
                    <a:pt x="295" y="26"/>
                    <a:pt x="295" y="26"/>
                    <a:pt x="295" y="26"/>
                  </a:cubicBezTo>
                  <a:cubicBezTo>
                    <a:pt x="243" y="56"/>
                    <a:pt x="243" y="56"/>
                    <a:pt x="243" y="56"/>
                  </a:cubicBezTo>
                  <a:cubicBezTo>
                    <a:pt x="289" y="83"/>
                    <a:pt x="289" y="83"/>
                    <a:pt x="289" y="83"/>
                  </a:cubicBezTo>
                  <a:cubicBezTo>
                    <a:pt x="293" y="85"/>
                    <a:pt x="295" y="89"/>
                    <a:pt x="295" y="94"/>
                  </a:cubicBezTo>
                  <a:cubicBezTo>
                    <a:pt x="295" y="98"/>
                    <a:pt x="293" y="102"/>
                    <a:pt x="289" y="104"/>
                  </a:cubicBezTo>
                  <a:lnTo>
                    <a:pt x="36" y="250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8" name="Freeform 2398">
              <a:extLst>
                <a:ext uri="{FF2B5EF4-FFF2-40B4-BE49-F238E27FC236}">
                  <a16:creationId xmlns:a16="http://schemas.microsoft.com/office/drawing/2014/main" id="{D05AF41D-64A6-42B3-8F36-1DAB84BD5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" y="3509"/>
              <a:ext cx="130" cy="104"/>
            </a:xfrm>
            <a:custGeom>
              <a:avLst/>
              <a:gdLst>
                <a:gd name="T0" fmla="*/ 110 w 470"/>
                <a:gd name="T1" fmla="*/ 373 h 373"/>
                <a:gd name="T2" fmla="*/ 104 w 470"/>
                <a:gd name="T3" fmla="*/ 371 h 373"/>
                <a:gd name="T4" fmla="*/ 6 w 470"/>
                <a:gd name="T5" fmla="*/ 314 h 373"/>
                <a:gd name="T6" fmla="*/ 0 w 470"/>
                <a:gd name="T7" fmla="*/ 304 h 373"/>
                <a:gd name="T8" fmla="*/ 0 w 470"/>
                <a:gd name="T9" fmla="*/ 155 h 373"/>
                <a:gd name="T10" fmla="*/ 12 w 470"/>
                <a:gd name="T11" fmla="*/ 143 h 373"/>
                <a:gd name="T12" fmla="*/ 24 w 470"/>
                <a:gd name="T13" fmla="*/ 155 h 373"/>
                <a:gd name="T14" fmla="*/ 24 w 470"/>
                <a:gd name="T15" fmla="*/ 297 h 373"/>
                <a:gd name="T16" fmla="*/ 110 w 470"/>
                <a:gd name="T17" fmla="*/ 347 h 373"/>
                <a:gd name="T18" fmla="*/ 446 w 470"/>
                <a:gd name="T19" fmla="*/ 153 h 373"/>
                <a:gd name="T20" fmla="*/ 446 w 470"/>
                <a:gd name="T21" fmla="*/ 12 h 373"/>
                <a:gd name="T22" fmla="*/ 458 w 470"/>
                <a:gd name="T23" fmla="*/ 0 h 373"/>
                <a:gd name="T24" fmla="*/ 470 w 470"/>
                <a:gd name="T25" fmla="*/ 12 h 373"/>
                <a:gd name="T26" fmla="*/ 470 w 470"/>
                <a:gd name="T27" fmla="*/ 160 h 373"/>
                <a:gd name="T28" fmla="*/ 464 w 470"/>
                <a:gd name="T29" fmla="*/ 170 h 373"/>
                <a:gd name="T30" fmla="*/ 116 w 470"/>
                <a:gd name="T31" fmla="*/ 371 h 373"/>
                <a:gd name="T32" fmla="*/ 110 w 470"/>
                <a:gd name="T33" fmla="*/ 373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0" h="373">
                  <a:moveTo>
                    <a:pt x="110" y="373"/>
                  </a:moveTo>
                  <a:cubicBezTo>
                    <a:pt x="108" y="373"/>
                    <a:pt x="106" y="372"/>
                    <a:pt x="104" y="371"/>
                  </a:cubicBezTo>
                  <a:cubicBezTo>
                    <a:pt x="6" y="314"/>
                    <a:pt x="6" y="314"/>
                    <a:pt x="6" y="314"/>
                  </a:cubicBezTo>
                  <a:cubicBezTo>
                    <a:pt x="2" y="312"/>
                    <a:pt x="0" y="308"/>
                    <a:pt x="0" y="304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49"/>
                    <a:pt x="5" y="143"/>
                    <a:pt x="12" y="143"/>
                  </a:cubicBezTo>
                  <a:cubicBezTo>
                    <a:pt x="18" y="143"/>
                    <a:pt x="24" y="149"/>
                    <a:pt x="24" y="155"/>
                  </a:cubicBezTo>
                  <a:cubicBezTo>
                    <a:pt x="24" y="297"/>
                    <a:pt x="24" y="297"/>
                    <a:pt x="24" y="297"/>
                  </a:cubicBezTo>
                  <a:cubicBezTo>
                    <a:pt x="110" y="347"/>
                    <a:pt x="110" y="347"/>
                    <a:pt x="110" y="347"/>
                  </a:cubicBezTo>
                  <a:cubicBezTo>
                    <a:pt x="446" y="153"/>
                    <a:pt x="446" y="153"/>
                    <a:pt x="446" y="153"/>
                  </a:cubicBezTo>
                  <a:cubicBezTo>
                    <a:pt x="446" y="12"/>
                    <a:pt x="446" y="12"/>
                    <a:pt x="446" y="12"/>
                  </a:cubicBezTo>
                  <a:cubicBezTo>
                    <a:pt x="446" y="5"/>
                    <a:pt x="451" y="0"/>
                    <a:pt x="458" y="0"/>
                  </a:cubicBezTo>
                  <a:cubicBezTo>
                    <a:pt x="464" y="0"/>
                    <a:pt x="470" y="5"/>
                    <a:pt x="470" y="12"/>
                  </a:cubicBezTo>
                  <a:cubicBezTo>
                    <a:pt x="470" y="160"/>
                    <a:pt x="470" y="160"/>
                    <a:pt x="470" y="160"/>
                  </a:cubicBezTo>
                  <a:cubicBezTo>
                    <a:pt x="470" y="164"/>
                    <a:pt x="467" y="168"/>
                    <a:pt x="464" y="170"/>
                  </a:cubicBezTo>
                  <a:cubicBezTo>
                    <a:pt x="116" y="371"/>
                    <a:pt x="116" y="371"/>
                    <a:pt x="116" y="371"/>
                  </a:cubicBezTo>
                  <a:cubicBezTo>
                    <a:pt x="114" y="372"/>
                    <a:pt x="112" y="373"/>
                    <a:pt x="110" y="37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9" name="Freeform 2399">
              <a:extLst>
                <a:ext uri="{FF2B5EF4-FFF2-40B4-BE49-F238E27FC236}">
                  <a16:creationId xmlns:a16="http://schemas.microsoft.com/office/drawing/2014/main" id="{DC26F93F-6C27-44EE-BB1E-B6C796340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" y="3565"/>
              <a:ext cx="7" cy="48"/>
            </a:xfrm>
            <a:custGeom>
              <a:avLst/>
              <a:gdLst>
                <a:gd name="T0" fmla="*/ 12 w 24"/>
                <a:gd name="T1" fmla="*/ 173 h 173"/>
                <a:gd name="T2" fmla="*/ 0 w 24"/>
                <a:gd name="T3" fmla="*/ 161 h 173"/>
                <a:gd name="T4" fmla="*/ 0 w 24"/>
                <a:gd name="T5" fmla="*/ 12 h 173"/>
                <a:gd name="T6" fmla="*/ 12 w 24"/>
                <a:gd name="T7" fmla="*/ 0 h 173"/>
                <a:gd name="T8" fmla="*/ 24 w 24"/>
                <a:gd name="T9" fmla="*/ 12 h 173"/>
                <a:gd name="T10" fmla="*/ 24 w 24"/>
                <a:gd name="T11" fmla="*/ 161 h 173"/>
                <a:gd name="T12" fmla="*/ 12 w 24"/>
                <a:gd name="T13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73">
                  <a:moveTo>
                    <a:pt x="12" y="173"/>
                  </a:moveTo>
                  <a:cubicBezTo>
                    <a:pt x="5" y="173"/>
                    <a:pt x="0" y="167"/>
                    <a:pt x="0" y="16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6"/>
                    <a:pt x="24" y="12"/>
                  </a:cubicBezTo>
                  <a:cubicBezTo>
                    <a:pt x="24" y="161"/>
                    <a:pt x="24" y="161"/>
                    <a:pt x="24" y="161"/>
                  </a:cubicBezTo>
                  <a:cubicBezTo>
                    <a:pt x="24" y="167"/>
                    <a:pt x="19" y="173"/>
                    <a:pt x="12" y="17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0" name="Freeform 2400">
              <a:extLst>
                <a:ext uri="{FF2B5EF4-FFF2-40B4-BE49-F238E27FC236}">
                  <a16:creationId xmlns:a16="http://schemas.microsoft.com/office/drawing/2014/main" id="{B3A48F2A-453E-4EF5-A22E-F3DB1EB51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" y="3495"/>
              <a:ext cx="7" cy="28"/>
            </a:xfrm>
            <a:custGeom>
              <a:avLst/>
              <a:gdLst>
                <a:gd name="T0" fmla="*/ 12 w 24"/>
                <a:gd name="T1" fmla="*/ 99 h 99"/>
                <a:gd name="T2" fmla="*/ 0 w 24"/>
                <a:gd name="T3" fmla="*/ 87 h 99"/>
                <a:gd name="T4" fmla="*/ 0 w 24"/>
                <a:gd name="T5" fmla="*/ 12 h 99"/>
                <a:gd name="T6" fmla="*/ 12 w 24"/>
                <a:gd name="T7" fmla="*/ 0 h 99"/>
                <a:gd name="T8" fmla="*/ 24 w 24"/>
                <a:gd name="T9" fmla="*/ 12 h 99"/>
                <a:gd name="T10" fmla="*/ 24 w 24"/>
                <a:gd name="T11" fmla="*/ 87 h 99"/>
                <a:gd name="T12" fmla="*/ 12 w 24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99">
                  <a:moveTo>
                    <a:pt x="12" y="99"/>
                  </a:moveTo>
                  <a:cubicBezTo>
                    <a:pt x="5" y="99"/>
                    <a:pt x="0" y="94"/>
                    <a:pt x="0" y="87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8" y="0"/>
                    <a:pt x="24" y="6"/>
                    <a:pt x="24" y="12"/>
                  </a:cubicBezTo>
                  <a:cubicBezTo>
                    <a:pt x="24" y="87"/>
                    <a:pt x="24" y="87"/>
                    <a:pt x="24" y="87"/>
                  </a:cubicBezTo>
                  <a:cubicBezTo>
                    <a:pt x="24" y="94"/>
                    <a:pt x="18" y="99"/>
                    <a:pt x="12" y="9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1" name="Freeform 2401">
              <a:extLst>
                <a:ext uri="{FF2B5EF4-FFF2-40B4-BE49-F238E27FC236}">
                  <a16:creationId xmlns:a16="http://schemas.microsoft.com/office/drawing/2014/main" id="{FF41497A-7A80-44E7-BD82-6E46C0D34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" y="2813"/>
              <a:ext cx="92" cy="71"/>
            </a:xfrm>
            <a:custGeom>
              <a:avLst/>
              <a:gdLst>
                <a:gd name="T0" fmla="*/ 0 w 92"/>
                <a:gd name="T1" fmla="*/ 0 h 71"/>
                <a:gd name="T2" fmla="*/ 0 w 92"/>
                <a:gd name="T3" fmla="*/ 18 h 71"/>
                <a:gd name="T4" fmla="*/ 92 w 92"/>
                <a:gd name="T5" fmla="*/ 71 h 71"/>
                <a:gd name="T6" fmla="*/ 92 w 92"/>
                <a:gd name="T7" fmla="*/ 53 h 71"/>
                <a:gd name="T8" fmla="*/ 0 w 92"/>
                <a:gd name="T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71">
                  <a:moveTo>
                    <a:pt x="0" y="0"/>
                  </a:moveTo>
                  <a:lnTo>
                    <a:pt x="0" y="18"/>
                  </a:lnTo>
                  <a:lnTo>
                    <a:pt x="92" y="71"/>
                  </a:lnTo>
                  <a:lnTo>
                    <a:pt x="92" y="5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2" name="Freeform 2402">
              <a:extLst>
                <a:ext uri="{FF2B5EF4-FFF2-40B4-BE49-F238E27FC236}">
                  <a16:creationId xmlns:a16="http://schemas.microsoft.com/office/drawing/2014/main" id="{7B048D64-6E5B-4776-81A3-E6420F990E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" y="2795"/>
              <a:ext cx="92" cy="71"/>
            </a:xfrm>
            <a:custGeom>
              <a:avLst/>
              <a:gdLst>
                <a:gd name="T0" fmla="*/ 0 w 92"/>
                <a:gd name="T1" fmla="*/ 0 h 71"/>
                <a:gd name="T2" fmla="*/ 0 w 92"/>
                <a:gd name="T3" fmla="*/ 18 h 71"/>
                <a:gd name="T4" fmla="*/ 92 w 92"/>
                <a:gd name="T5" fmla="*/ 71 h 71"/>
                <a:gd name="T6" fmla="*/ 92 w 92"/>
                <a:gd name="T7" fmla="*/ 54 h 71"/>
                <a:gd name="T8" fmla="*/ 0 w 92"/>
                <a:gd name="T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71">
                  <a:moveTo>
                    <a:pt x="0" y="0"/>
                  </a:moveTo>
                  <a:lnTo>
                    <a:pt x="0" y="18"/>
                  </a:lnTo>
                  <a:lnTo>
                    <a:pt x="92" y="71"/>
                  </a:lnTo>
                  <a:lnTo>
                    <a:pt x="92" y="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3" name="Freeform 2403">
              <a:extLst>
                <a:ext uri="{FF2B5EF4-FFF2-40B4-BE49-F238E27FC236}">
                  <a16:creationId xmlns:a16="http://schemas.microsoft.com/office/drawing/2014/main" id="{6612EB10-4893-4306-AFFD-FAA002EAD9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" y="2778"/>
              <a:ext cx="92" cy="71"/>
            </a:xfrm>
            <a:custGeom>
              <a:avLst/>
              <a:gdLst>
                <a:gd name="T0" fmla="*/ 0 w 92"/>
                <a:gd name="T1" fmla="*/ 0 h 71"/>
                <a:gd name="T2" fmla="*/ 0 w 92"/>
                <a:gd name="T3" fmla="*/ 17 h 71"/>
                <a:gd name="T4" fmla="*/ 92 w 92"/>
                <a:gd name="T5" fmla="*/ 71 h 71"/>
                <a:gd name="T6" fmla="*/ 92 w 92"/>
                <a:gd name="T7" fmla="*/ 53 h 71"/>
                <a:gd name="T8" fmla="*/ 0 w 92"/>
                <a:gd name="T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71">
                  <a:moveTo>
                    <a:pt x="0" y="0"/>
                  </a:moveTo>
                  <a:lnTo>
                    <a:pt x="0" y="17"/>
                  </a:lnTo>
                  <a:lnTo>
                    <a:pt x="92" y="71"/>
                  </a:lnTo>
                  <a:lnTo>
                    <a:pt x="92" y="5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4" name="Freeform 2404">
              <a:extLst>
                <a:ext uri="{FF2B5EF4-FFF2-40B4-BE49-F238E27FC236}">
                  <a16:creationId xmlns:a16="http://schemas.microsoft.com/office/drawing/2014/main" id="{732E3E34-9CF2-4464-BF6D-17F46630EB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" y="2664"/>
              <a:ext cx="289" cy="167"/>
            </a:xfrm>
            <a:custGeom>
              <a:avLst/>
              <a:gdLst>
                <a:gd name="T0" fmla="*/ 0 w 1044"/>
                <a:gd name="T1" fmla="*/ 411 h 603"/>
                <a:gd name="T2" fmla="*/ 333 w 1044"/>
                <a:gd name="T3" fmla="*/ 603 h 603"/>
                <a:gd name="T4" fmla="*/ 1044 w 1044"/>
                <a:gd name="T5" fmla="*/ 193 h 603"/>
                <a:gd name="T6" fmla="*/ 710 w 1044"/>
                <a:gd name="T7" fmla="*/ 0 h 603"/>
                <a:gd name="T8" fmla="*/ 0 w 1044"/>
                <a:gd name="T9" fmla="*/ 411 h 603"/>
                <a:gd name="T10" fmla="*/ 442 w 1044"/>
                <a:gd name="T11" fmla="*/ 348 h 603"/>
                <a:gd name="T12" fmla="*/ 442 w 1044"/>
                <a:gd name="T13" fmla="*/ 256 h 603"/>
                <a:gd name="T14" fmla="*/ 601 w 1044"/>
                <a:gd name="T15" fmla="*/ 256 h 603"/>
                <a:gd name="T16" fmla="*/ 601 w 1044"/>
                <a:gd name="T17" fmla="*/ 348 h 603"/>
                <a:gd name="T18" fmla="*/ 442 w 1044"/>
                <a:gd name="T19" fmla="*/ 348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4" h="603">
                  <a:moveTo>
                    <a:pt x="0" y="411"/>
                  </a:moveTo>
                  <a:cubicBezTo>
                    <a:pt x="333" y="603"/>
                    <a:pt x="333" y="603"/>
                    <a:pt x="333" y="603"/>
                  </a:cubicBezTo>
                  <a:cubicBezTo>
                    <a:pt x="1044" y="193"/>
                    <a:pt x="1044" y="193"/>
                    <a:pt x="1044" y="193"/>
                  </a:cubicBezTo>
                  <a:cubicBezTo>
                    <a:pt x="710" y="0"/>
                    <a:pt x="710" y="0"/>
                    <a:pt x="710" y="0"/>
                  </a:cubicBezTo>
                  <a:lnTo>
                    <a:pt x="0" y="411"/>
                  </a:lnTo>
                  <a:close/>
                  <a:moveTo>
                    <a:pt x="442" y="348"/>
                  </a:moveTo>
                  <a:cubicBezTo>
                    <a:pt x="398" y="322"/>
                    <a:pt x="398" y="281"/>
                    <a:pt x="442" y="256"/>
                  </a:cubicBezTo>
                  <a:cubicBezTo>
                    <a:pt x="486" y="230"/>
                    <a:pt x="557" y="230"/>
                    <a:pt x="601" y="256"/>
                  </a:cubicBezTo>
                  <a:cubicBezTo>
                    <a:pt x="645" y="281"/>
                    <a:pt x="645" y="322"/>
                    <a:pt x="601" y="348"/>
                  </a:cubicBezTo>
                  <a:cubicBezTo>
                    <a:pt x="557" y="373"/>
                    <a:pt x="486" y="373"/>
                    <a:pt x="442" y="3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5" name="Freeform 2405">
              <a:extLst>
                <a:ext uri="{FF2B5EF4-FFF2-40B4-BE49-F238E27FC236}">
                  <a16:creationId xmlns:a16="http://schemas.microsoft.com/office/drawing/2014/main" id="{01E336EA-260D-441F-A4CF-A6C97BC07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" y="2753"/>
              <a:ext cx="197" cy="131"/>
            </a:xfrm>
            <a:custGeom>
              <a:avLst/>
              <a:gdLst>
                <a:gd name="T0" fmla="*/ 0 w 197"/>
                <a:gd name="T1" fmla="*/ 113 h 131"/>
                <a:gd name="T2" fmla="*/ 0 w 197"/>
                <a:gd name="T3" fmla="*/ 131 h 131"/>
                <a:gd name="T4" fmla="*/ 197 w 197"/>
                <a:gd name="T5" fmla="*/ 18 h 131"/>
                <a:gd name="T6" fmla="*/ 197 w 197"/>
                <a:gd name="T7" fmla="*/ 0 h 131"/>
                <a:gd name="T8" fmla="*/ 0 w 197"/>
                <a:gd name="T9" fmla="*/ 11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31">
                  <a:moveTo>
                    <a:pt x="0" y="113"/>
                  </a:moveTo>
                  <a:lnTo>
                    <a:pt x="0" y="131"/>
                  </a:lnTo>
                  <a:lnTo>
                    <a:pt x="197" y="18"/>
                  </a:lnTo>
                  <a:lnTo>
                    <a:pt x="197" y="0"/>
                  </a:lnTo>
                  <a:lnTo>
                    <a:pt x="0" y="113"/>
                  </a:ln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6" name="Freeform 2406">
              <a:extLst>
                <a:ext uri="{FF2B5EF4-FFF2-40B4-BE49-F238E27FC236}">
                  <a16:creationId xmlns:a16="http://schemas.microsoft.com/office/drawing/2014/main" id="{32F8CAD1-8D90-4CAF-96C7-AC8F802FF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" y="2735"/>
              <a:ext cx="197" cy="131"/>
            </a:xfrm>
            <a:custGeom>
              <a:avLst/>
              <a:gdLst>
                <a:gd name="T0" fmla="*/ 0 w 197"/>
                <a:gd name="T1" fmla="*/ 114 h 131"/>
                <a:gd name="T2" fmla="*/ 0 w 197"/>
                <a:gd name="T3" fmla="*/ 131 h 131"/>
                <a:gd name="T4" fmla="*/ 197 w 197"/>
                <a:gd name="T5" fmla="*/ 18 h 131"/>
                <a:gd name="T6" fmla="*/ 197 w 197"/>
                <a:gd name="T7" fmla="*/ 0 h 131"/>
                <a:gd name="T8" fmla="*/ 0 w 197"/>
                <a:gd name="T9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31">
                  <a:moveTo>
                    <a:pt x="0" y="114"/>
                  </a:moveTo>
                  <a:lnTo>
                    <a:pt x="0" y="131"/>
                  </a:lnTo>
                  <a:lnTo>
                    <a:pt x="197" y="18"/>
                  </a:lnTo>
                  <a:lnTo>
                    <a:pt x="197" y="0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7" name="Freeform 2407">
              <a:extLst>
                <a:ext uri="{FF2B5EF4-FFF2-40B4-BE49-F238E27FC236}">
                  <a16:creationId xmlns:a16="http://schemas.microsoft.com/office/drawing/2014/main" id="{31E5E825-70A6-4931-BCEB-EB41C1F71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" y="2718"/>
              <a:ext cx="197" cy="131"/>
            </a:xfrm>
            <a:custGeom>
              <a:avLst/>
              <a:gdLst>
                <a:gd name="T0" fmla="*/ 0 w 197"/>
                <a:gd name="T1" fmla="*/ 113 h 131"/>
                <a:gd name="T2" fmla="*/ 0 w 197"/>
                <a:gd name="T3" fmla="*/ 131 h 131"/>
                <a:gd name="T4" fmla="*/ 197 w 197"/>
                <a:gd name="T5" fmla="*/ 17 h 131"/>
                <a:gd name="T6" fmla="*/ 197 w 197"/>
                <a:gd name="T7" fmla="*/ 0 h 131"/>
                <a:gd name="T8" fmla="*/ 0 w 197"/>
                <a:gd name="T9" fmla="*/ 11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31">
                  <a:moveTo>
                    <a:pt x="0" y="113"/>
                  </a:moveTo>
                  <a:lnTo>
                    <a:pt x="0" y="131"/>
                  </a:lnTo>
                  <a:lnTo>
                    <a:pt x="197" y="17"/>
                  </a:lnTo>
                  <a:lnTo>
                    <a:pt x="197" y="0"/>
                  </a:lnTo>
                  <a:lnTo>
                    <a:pt x="0" y="113"/>
                  </a:ln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8" name="Freeform 2408">
              <a:extLst>
                <a:ext uri="{FF2B5EF4-FFF2-40B4-BE49-F238E27FC236}">
                  <a16:creationId xmlns:a16="http://schemas.microsoft.com/office/drawing/2014/main" id="{5212E7F4-8D24-4DC5-886A-4C5D4B5AF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4" y="2728"/>
              <a:ext cx="69" cy="39"/>
            </a:xfrm>
            <a:custGeom>
              <a:avLst/>
              <a:gdLst>
                <a:gd name="T0" fmla="*/ 44 w 247"/>
                <a:gd name="T1" fmla="*/ 26 h 143"/>
                <a:gd name="T2" fmla="*/ 44 w 247"/>
                <a:gd name="T3" fmla="*/ 118 h 143"/>
                <a:gd name="T4" fmla="*/ 203 w 247"/>
                <a:gd name="T5" fmla="*/ 118 h 143"/>
                <a:gd name="T6" fmla="*/ 203 w 247"/>
                <a:gd name="T7" fmla="*/ 26 h 143"/>
                <a:gd name="T8" fmla="*/ 44 w 247"/>
                <a:gd name="T9" fmla="*/ 26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143">
                  <a:moveTo>
                    <a:pt x="44" y="26"/>
                  </a:moveTo>
                  <a:cubicBezTo>
                    <a:pt x="0" y="51"/>
                    <a:pt x="0" y="92"/>
                    <a:pt x="44" y="118"/>
                  </a:cubicBezTo>
                  <a:cubicBezTo>
                    <a:pt x="88" y="143"/>
                    <a:pt x="159" y="143"/>
                    <a:pt x="203" y="118"/>
                  </a:cubicBezTo>
                  <a:cubicBezTo>
                    <a:pt x="247" y="92"/>
                    <a:pt x="247" y="51"/>
                    <a:pt x="203" y="26"/>
                  </a:cubicBezTo>
                  <a:cubicBezTo>
                    <a:pt x="159" y="0"/>
                    <a:pt x="88" y="0"/>
                    <a:pt x="44" y="26"/>
                  </a:cubicBezTo>
                  <a:close/>
                </a:path>
              </a:pathLst>
            </a:custGeom>
            <a:solidFill>
              <a:srgbClr val="DAE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9" name="Freeform 2409">
              <a:extLst>
                <a:ext uri="{FF2B5EF4-FFF2-40B4-BE49-F238E27FC236}">
                  <a16:creationId xmlns:a16="http://schemas.microsoft.com/office/drawing/2014/main" id="{8B4207D5-9499-4C12-B0A4-721A95B21F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" y="2678"/>
              <a:ext cx="47" cy="19"/>
            </a:xfrm>
            <a:custGeom>
              <a:avLst/>
              <a:gdLst>
                <a:gd name="T0" fmla="*/ 14 w 170"/>
                <a:gd name="T1" fmla="*/ 66 h 67"/>
                <a:gd name="T2" fmla="*/ 4 w 170"/>
                <a:gd name="T3" fmla="*/ 60 h 67"/>
                <a:gd name="T4" fmla="*/ 8 w 170"/>
                <a:gd name="T5" fmla="*/ 44 h 67"/>
                <a:gd name="T6" fmla="*/ 80 w 170"/>
                <a:gd name="T7" fmla="*/ 2 h 67"/>
                <a:gd name="T8" fmla="*/ 92 w 170"/>
                <a:gd name="T9" fmla="*/ 2 h 67"/>
                <a:gd name="T10" fmla="*/ 163 w 170"/>
                <a:gd name="T11" fmla="*/ 43 h 67"/>
                <a:gd name="T12" fmla="*/ 167 w 170"/>
                <a:gd name="T13" fmla="*/ 59 h 67"/>
                <a:gd name="T14" fmla="*/ 150 w 170"/>
                <a:gd name="T15" fmla="*/ 64 h 67"/>
                <a:gd name="T16" fmla="*/ 86 w 170"/>
                <a:gd name="T17" fmla="*/ 26 h 67"/>
                <a:gd name="T18" fmla="*/ 20 w 170"/>
                <a:gd name="T19" fmla="*/ 64 h 67"/>
                <a:gd name="T20" fmla="*/ 14 w 170"/>
                <a:gd name="T21" fmla="*/ 6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0" h="67">
                  <a:moveTo>
                    <a:pt x="14" y="66"/>
                  </a:moveTo>
                  <a:cubicBezTo>
                    <a:pt x="10" y="66"/>
                    <a:pt x="6" y="64"/>
                    <a:pt x="4" y="60"/>
                  </a:cubicBezTo>
                  <a:cubicBezTo>
                    <a:pt x="0" y="54"/>
                    <a:pt x="2" y="47"/>
                    <a:pt x="8" y="44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4" y="0"/>
                    <a:pt x="88" y="0"/>
                    <a:pt x="92" y="2"/>
                  </a:cubicBezTo>
                  <a:cubicBezTo>
                    <a:pt x="163" y="43"/>
                    <a:pt x="163" y="43"/>
                    <a:pt x="163" y="43"/>
                  </a:cubicBezTo>
                  <a:cubicBezTo>
                    <a:pt x="168" y="46"/>
                    <a:pt x="170" y="54"/>
                    <a:pt x="167" y="59"/>
                  </a:cubicBezTo>
                  <a:cubicBezTo>
                    <a:pt x="164" y="65"/>
                    <a:pt x="156" y="67"/>
                    <a:pt x="150" y="64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18" y="65"/>
                    <a:pt x="16" y="66"/>
                    <a:pt x="14" y="6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0" name="Freeform 2410">
              <a:extLst>
                <a:ext uri="{FF2B5EF4-FFF2-40B4-BE49-F238E27FC236}">
                  <a16:creationId xmlns:a16="http://schemas.microsoft.com/office/drawing/2014/main" id="{E57F3521-5E1F-4E30-96BF-0F51FF144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9" y="2703"/>
              <a:ext cx="27" cy="29"/>
            </a:xfrm>
            <a:custGeom>
              <a:avLst/>
              <a:gdLst>
                <a:gd name="T0" fmla="*/ 13 w 97"/>
                <a:gd name="T1" fmla="*/ 108 h 108"/>
                <a:gd name="T2" fmla="*/ 3 w 97"/>
                <a:gd name="T3" fmla="*/ 102 h 108"/>
                <a:gd name="T4" fmla="*/ 7 w 97"/>
                <a:gd name="T5" fmla="*/ 85 h 108"/>
                <a:gd name="T6" fmla="*/ 61 w 97"/>
                <a:gd name="T7" fmla="*/ 54 h 108"/>
                <a:gd name="T8" fmla="*/ 9 w 97"/>
                <a:gd name="T9" fmla="*/ 24 h 108"/>
                <a:gd name="T10" fmla="*/ 4 w 97"/>
                <a:gd name="T11" fmla="*/ 7 h 108"/>
                <a:gd name="T12" fmla="*/ 21 w 97"/>
                <a:gd name="T13" fmla="*/ 3 h 108"/>
                <a:gd name="T14" fmla="*/ 91 w 97"/>
                <a:gd name="T15" fmla="*/ 44 h 108"/>
                <a:gd name="T16" fmla="*/ 97 w 97"/>
                <a:gd name="T17" fmla="*/ 54 h 108"/>
                <a:gd name="T18" fmla="*/ 91 w 97"/>
                <a:gd name="T19" fmla="*/ 65 h 108"/>
                <a:gd name="T20" fmla="*/ 19 w 97"/>
                <a:gd name="T21" fmla="*/ 106 h 108"/>
                <a:gd name="T22" fmla="*/ 13 w 97"/>
                <a:gd name="T2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7" h="108">
                  <a:moveTo>
                    <a:pt x="13" y="108"/>
                  </a:moveTo>
                  <a:cubicBezTo>
                    <a:pt x="9" y="108"/>
                    <a:pt x="5" y="105"/>
                    <a:pt x="3" y="102"/>
                  </a:cubicBezTo>
                  <a:cubicBezTo>
                    <a:pt x="0" y="96"/>
                    <a:pt x="2" y="89"/>
                    <a:pt x="7" y="85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3" y="20"/>
                    <a:pt x="1" y="13"/>
                    <a:pt x="4" y="7"/>
                  </a:cubicBezTo>
                  <a:cubicBezTo>
                    <a:pt x="8" y="2"/>
                    <a:pt x="15" y="0"/>
                    <a:pt x="21" y="3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95" y="46"/>
                    <a:pt x="97" y="50"/>
                    <a:pt x="97" y="54"/>
                  </a:cubicBezTo>
                  <a:cubicBezTo>
                    <a:pt x="97" y="58"/>
                    <a:pt x="95" y="62"/>
                    <a:pt x="91" y="65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17" y="107"/>
                    <a:pt x="15" y="108"/>
                    <a:pt x="13" y="108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1" name="Freeform 2411">
              <a:extLst>
                <a:ext uri="{FF2B5EF4-FFF2-40B4-BE49-F238E27FC236}">
                  <a16:creationId xmlns:a16="http://schemas.microsoft.com/office/drawing/2014/main" id="{CD7BADAE-08FA-486F-BB49-29668F3A1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1" y="2763"/>
              <a:ext cx="26" cy="29"/>
            </a:xfrm>
            <a:custGeom>
              <a:avLst/>
              <a:gdLst>
                <a:gd name="T0" fmla="*/ 82 w 97"/>
                <a:gd name="T1" fmla="*/ 107 h 107"/>
                <a:gd name="T2" fmla="*/ 76 w 97"/>
                <a:gd name="T3" fmla="*/ 106 h 107"/>
                <a:gd name="T4" fmla="*/ 6 w 97"/>
                <a:gd name="T5" fmla="*/ 65 h 107"/>
                <a:gd name="T6" fmla="*/ 0 w 97"/>
                <a:gd name="T7" fmla="*/ 55 h 107"/>
                <a:gd name="T8" fmla="*/ 6 w 97"/>
                <a:gd name="T9" fmla="*/ 44 h 107"/>
                <a:gd name="T10" fmla="*/ 77 w 97"/>
                <a:gd name="T11" fmla="*/ 3 h 107"/>
                <a:gd name="T12" fmla="*/ 94 w 97"/>
                <a:gd name="T13" fmla="*/ 7 h 107"/>
                <a:gd name="T14" fmla="*/ 89 w 97"/>
                <a:gd name="T15" fmla="*/ 24 h 107"/>
                <a:gd name="T16" fmla="*/ 36 w 97"/>
                <a:gd name="T17" fmla="*/ 55 h 107"/>
                <a:gd name="T18" fmla="*/ 88 w 97"/>
                <a:gd name="T19" fmla="*/ 85 h 107"/>
                <a:gd name="T20" fmla="*/ 93 w 97"/>
                <a:gd name="T21" fmla="*/ 101 h 107"/>
                <a:gd name="T22" fmla="*/ 82 w 97"/>
                <a:gd name="T23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7" h="107">
                  <a:moveTo>
                    <a:pt x="82" y="107"/>
                  </a:moveTo>
                  <a:cubicBezTo>
                    <a:pt x="80" y="107"/>
                    <a:pt x="78" y="107"/>
                    <a:pt x="76" y="106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2" y="63"/>
                    <a:pt x="0" y="59"/>
                    <a:pt x="0" y="55"/>
                  </a:cubicBezTo>
                  <a:cubicBezTo>
                    <a:pt x="0" y="50"/>
                    <a:pt x="2" y="46"/>
                    <a:pt x="6" y="44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83" y="0"/>
                    <a:pt x="91" y="2"/>
                    <a:pt x="94" y="7"/>
                  </a:cubicBezTo>
                  <a:cubicBezTo>
                    <a:pt x="97" y="13"/>
                    <a:pt x="95" y="20"/>
                    <a:pt x="89" y="24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88" y="85"/>
                    <a:pt x="88" y="85"/>
                    <a:pt x="88" y="85"/>
                  </a:cubicBezTo>
                  <a:cubicBezTo>
                    <a:pt x="94" y="88"/>
                    <a:pt x="96" y="96"/>
                    <a:pt x="93" y="101"/>
                  </a:cubicBezTo>
                  <a:cubicBezTo>
                    <a:pt x="91" y="105"/>
                    <a:pt x="87" y="107"/>
                    <a:pt x="82" y="107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2" name="Freeform 2412">
              <a:extLst>
                <a:ext uri="{FF2B5EF4-FFF2-40B4-BE49-F238E27FC236}">
                  <a16:creationId xmlns:a16="http://schemas.microsoft.com/office/drawing/2014/main" id="{BE889FE3-DAA9-4D29-A1F5-C3CAD77D3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3" y="2798"/>
              <a:ext cx="47" cy="19"/>
            </a:xfrm>
            <a:custGeom>
              <a:avLst/>
              <a:gdLst>
                <a:gd name="T0" fmla="*/ 84 w 170"/>
                <a:gd name="T1" fmla="*/ 67 h 67"/>
                <a:gd name="T2" fmla="*/ 78 w 170"/>
                <a:gd name="T3" fmla="*/ 66 h 67"/>
                <a:gd name="T4" fmla="*/ 8 w 170"/>
                <a:gd name="T5" fmla="*/ 25 h 67"/>
                <a:gd name="T6" fmla="*/ 3 w 170"/>
                <a:gd name="T7" fmla="*/ 8 h 67"/>
                <a:gd name="T8" fmla="*/ 20 w 170"/>
                <a:gd name="T9" fmla="*/ 4 h 67"/>
                <a:gd name="T10" fmla="*/ 84 w 170"/>
                <a:gd name="T11" fmla="*/ 41 h 67"/>
                <a:gd name="T12" fmla="*/ 150 w 170"/>
                <a:gd name="T13" fmla="*/ 4 h 67"/>
                <a:gd name="T14" fmla="*/ 166 w 170"/>
                <a:gd name="T15" fmla="*/ 8 h 67"/>
                <a:gd name="T16" fmla="*/ 162 w 170"/>
                <a:gd name="T17" fmla="*/ 24 h 67"/>
                <a:gd name="T18" fmla="*/ 90 w 170"/>
                <a:gd name="T19" fmla="*/ 66 h 67"/>
                <a:gd name="T20" fmla="*/ 84 w 170"/>
                <a:gd name="T21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0" h="67">
                  <a:moveTo>
                    <a:pt x="84" y="67"/>
                  </a:moveTo>
                  <a:cubicBezTo>
                    <a:pt x="82" y="67"/>
                    <a:pt x="80" y="67"/>
                    <a:pt x="78" y="66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2" y="22"/>
                    <a:pt x="0" y="14"/>
                    <a:pt x="3" y="8"/>
                  </a:cubicBezTo>
                  <a:cubicBezTo>
                    <a:pt x="6" y="3"/>
                    <a:pt x="14" y="1"/>
                    <a:pt x="20" y="4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56" y="0"/>
                    <a:pt x="163" y="2"/>
                    <a:pt x="166" y="8"/>
                  </a:cubicBezTo>
                  <a:cubicBezTo>
                    <a:pt x="170" y="14"/>
                    <a:pt x="168" y="21"/>
                    <a:pt x="162" y="24"/>
                  </a:cubicBezTo>
                  <a:cubicBezTo>
                    <a:pt x="90" y="66"/>
                    <a:pt x="90" y="66"/>
                    <a:pt x="90" y="66"/>
                  </a:cubicBezTo>
                  <a:cubicBezTo>
                    <a:pt x="88" y="67"/>
                    <a:pt x="86" y="67"/>
                    <a:pt x="84" y="67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3" name="Freeform 2413">
              <a:extLst>
                <a:ext uri="{FF2B5EF4-FFF2-40B4-BE49-F238E27FC236}">
                  <a16:creationId xmlns:a16="http://schemas.microsoft.com/office/drawing/2014/main" id="{7DB70B31-83F6-49D4-A836-DD1FEF6FE7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4" y="2724"/>
              <a:ext cx="69" cy="45"/>
            </a:xfrm>
            <a:custGeom>
              <a:avLst/>
              <a:gdLst>
                <a:gd name="T0" fmla="*/ 125 w 249"/>
                <a:gd name="T1" fmla="*/ 161 h 161"/>
                <a:gd name="T2" fmla="*/ 39 w 249"/>
                <a:gd name="T3" fmla="*/ 140 h 161"/>
                <a:gd name="T4" fmla="*/ 0 w 249"/>
                <a:gd name="T5" fmla="*/ 84 h 161"/>
                <a:gd name="T6" fmla="*/ 39 w 249"/>
                <a:gd name="T7" fmla="*/ 27 h 161"/>
                <a:gd name="T8" fmla="*/ 210 w 249"/>
                <a:gd name="T9" fmla="*/ 27 h 161"/>
                <a:gd name="T10" fmla="*/ 249 w 249"/>
                <a:gd name="T11" fmla="*/ 84 h 161"/>
                <a:gd name="T12" fmla="*/ 210 w 249"/>
                <a:gd name="T13" fmla="*/ 140 h 161"/>
                <a:gd name="T14" fmla="*/ 125 w 249"/>
                <a:gd name="T15" fmla="*/ 161 h 161"/>
                <a:gd name="T16" fmla="*/ 125 w 249"/>
                <a:gd name="T17" fmla="*/ 31 h 161"/>
                <a:gd name="T18" fmla="*/ 51 w 249"/>
                <a:gd name="T19" fmla="*/ 48 h 161"/>
                <a:gd name="T20" fmla="*/ 24 w 249"/>
                <a:gd name="T21" fmla="*/ 84 h 161"/>
                <a:gd name="T22" fmla="*/ 51 w 249"/>
                <a:gd name="T23" fmla="*/ 119 h 161"/>
                <a:gd name="T24" fmla="*/ 51 w 249"/>
                <a:gd name="T25" fmla="*/ 119 h 161"/>
                <a:gd name="T26" fmla="*/ 198 w 249"/>
                <a:gd name="T27" fmla="*/ 119 h 161"/>
                <a:gd name="T28" fmla="*/ 225 w 249"/>
                <a:gd name="T29" fmla="*/ 84 h 161"/>
                <a:gd name="T30" fmla="*/ 198 w 249"/>
                <a:gd name="T31" fmla="*/ 48 h 161"/>
                <a:gd name="T32" fmla="*/ 125 w 249"/>
                <a:gd name="T33" fmla="*/ 3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161">
                  <a:moveTo>
                    <a:pt x="125" y="161"/>
                  </a:moveTo>
                  <a:cubicBezTo>
                    <a:pt x="94" y="161"/>
                    <a:pt x="63" y="154"/>
                    <a:pt x="39" y="140"/>
                  </a:cubicBezTo>
                  <a:cubicBezTo>
                    <a:pt x="14" y="126"/>
                    <a:pt x="0" y="106"/>
                    <a:pt x="0" y="84"/>
                  </a:cubicBezTo>
                  <a:cubicBezTo>
                    <a:pt x="0" y="62"/>
                    <a:pt x="14" y="42"/>
                    <a:pt x="39" y="27"/>
                  </a:cubicBezTo>
                  <a:cubicBezTo>
                    <a:pt x="87" y="0"/>
                    <a:pt x="162" y="0"/>
                    <a:pt x="210" y="27"/>
                  </a:cubicBezTo>
                  <a:cubicBezTo>
                    <a:pt x="235" y="42"/>
                    <a:pt x="249" y="62"/>
                    <a:pt x="249" y="84"/>
                  </a:cubicBezTo>
                  <a:cubicBezTo>
                    <a:pt x="249" y="106"/>
                    <a:pt x="235" y="126"/>
                    <a:pt x="210" y="140"/>
                  </a:cubicBezTo>
                  <a:cubicBezTo>
                    <a:pt x="186" y="154"/>
                    <a:pt x="155" y="161"/>
                    <a:pt x="125" y="161"/>
                  </a:cubicBezTo>
                  <a:close/>
                  <a:moveTo>
                    <a:pt x="125" y="31"/>
                  </a:moveTo>
                  <a:cubicBezTo>
                    <a:pt x="98" y="31"/>
                    <a:pt x="71" y="37"/>
                    <a:pt x="51" y="48"/>
                  </a:cubicBezTo>
                  <a:cubicBezTo>
                    <a:pt x="34" y="58"/>
                    <a:pt x="24" y="71"/>
                    <a:pt x="24" y="84"/>
                  </a:cubicBezTo>
                  <a:cubicBezTo>
                    <a:pt x="24" y="97"/>
                    <a:pt x="34" y="109"/>
                    <a:pt x="51" y="119"/>
                  </a:cubicBezTo>
                  <a:cubicBezTo>
                    <a:pt x="51" y="119"/>
                    <a:pt x="51" y="119"/>
                    <a:pt x="51" y="119"/>
                  </a:cubicBezTo>
                  <a:cubicBezTo>
                    <a:pt x="92" y="143"/>
                    <a:pt x="158" y="143"/>
                    <a:pt x="198" y="119"/>
                  </a:cubicBezTo>
                  <a:cubicBezTo>
                    <a:pt x="216" y="109"/>
                    <a:pt x="225" y="97"/>
                    <a:pt x="225" y="84"/>
                  </a:cubicBezTo>
                  <a:cubicBezTo>
                    <a:pt x="225" y="71"/>
                    <a:pt x="216" y="58"/>
                    <a:pt x="198" y="48"/>
                  </a:cubicBezTo>
                  <a:cubicBezTo>
                    <a:pt x="178" y="37"/>
                    <a:pt x="151" y="31"/>
                    <a:pt x="125" y="3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4" name="Freeform 2414">
              <a:extLst>
                <a:ext uri="{FF2B5EF4-FFF2-40B4-BE49-F238E27FC236}">
                  <a16:creationId xmlns:a16="http://schemas.microsoft.com/office/drawing/2014/main" id="{C4FFF0C2-54E2-470F-9CF9-8CDD6B38C3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1" y="2661"/>
              <a:ext cx="295" cy="173"/>
            </a:xfrm>
            <a:custGeom>
              <a:avLst/>
              <a:gdLst>
                <a:gd name="T0" fmla="*/ 345 w 1068"/>
                <a:gd name="T1" fmla="*/ 627 h 627"/>
                <a:gd name="T2" fmla="*/ 339 w 1068"/>
                <a:gd name="T3" fmla="*/ 626 h 627"/>
                <a:gd name="T4" fmla="*/ 6 w 1068"/>
                <a:gd name="T5" fmla="*/ 433 h 627"/>
                <a:gd name="T6" fmla="*/ 0 w 1068"/>
                <a:gd name="T7" fmla="*/ 423 h 627"/>
                <a:gd name="T8" fmla="*/ 6 w 1068"/>
                <a:gd name="T9" fmla="*/ 412 h 627"/>
                <a:gd name="T10" fmla="*/ 716 w 1068"/>
                <a:gd name="T11" fmla="*/ 2 h 627"/>
                <a:gd name="T12" fmla="*/ 728 w 1068"/>
                <a:gd name="T13" fmla="*/ 2 h 627"/>
                <a:gd name="T14" fmla="*/ 1062 w 1068"/>
                <a:gd name="T15" fmla="*/ 195 h 627"/>
                <a:gd name="T16" fmla="*/ 1068 w 1068"/>
                <a:gd name="T17" fmla="*/ 205 h 627"/>
                <a:gd name="T18" fmla="*/ 1062 w 1068"/>
                <a:gd name="T19" fmla="*/ 216 h 627"/>
                <a:gd name="T20" fmla="*/ 351 w 1068"/>
                <a:gd name="T21" fmla="*/ 626 h 627"/>
                <a:gd name="T22" fmla="*/ 345 w 1068"/>
                <a:gd name="T23" fmla="*/ 627 h 627"/>
                <a:gd name="T24" fmla="*/ 36 w 1068"/>
                <a:gd name="T25" fmla="*/ 423 h 627"/>
                <a:gd name="T26" fmla="*/ 345 w 1068"/>
                <a:gd name="T27" fmla="*/ 601 h 627"/>
                <a:gd name="T28" fmla="*/ 1032 w 1068"/>
                <a:gd name="T29" fmla="*/ 205 h 627"/>
                <a:gd name="T30" fmla="*/ 722 w 1068"/>
                <a:gd name="T31" fmla="*/ 26 h 627"/>
                <a:gd name="T32" fmla="*/ 36 w 1068"/>
                <a:gd name="T33" fmla="*/ 423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68" h="627">
                  <a:moveTo>
                    <a:pt x="345" y="627"/>
                  </a:moveTo>
                  <a:cubicBezTo>
                    <a:pt x="343" y="627"/>
                    <a:pt x="341" y="627"/>
                    <a:pt x="339" y="626"/>
                  </a:cubicBezTo>
                  <a:cubicBezTo>
                    <a:pt x="6" y="433"/>
                    <a:pt x="6" y="433"/>
                    <a:pt x="6" y="433"/>
                  </a:cubicBezTo>
                  <a:cubicBezTo>
                    <a:pt x="2" y="431"/>
                    <a:pt x="0" y="427"/>
                    <a:pt x="0" y="423"/>
                  </a:cubicBezTo>
                  <a:cubicBezTo>
                    <a:pt x="0" y="418"/>
                    <a:pt x="2" y="414"/>
                    <a:pt x="6" y="412"/>
                  </a:cubicBezTo>
                  <a:cubicBezTo>
                    <a:pt x="716" y="2"/>
                    <a:pt x="716" y="2"/>
                    <a:pt x="716" y="2"/>
                  </a:cubicBezTo>
                  <a:cubicBezTo>
                    <a:pt x="720" y="0"/>
                    <a:pt x="724" y="0"/>
                    <a:pt x="728" y="2"/>
                  </a:cubicBezTo>
                  <a:cubicBezTo>
                    <a:pt x="1062" y="195"/>
                    <a:pt x="1062" y="195"/>
                    <a:pt x="1062" y="195"/>
                  </a:cubicBezTo>
                  <a:cubicBezTo>
                    <a:pt x="1065" y="197"/>
                    <a:pt x="1068" y="201"/>
                    <a:pt x="1068" y="205"/>
                  </a:cubicBezTo>
                  <a:cubicBezTo>
                    <a:pt x="1068" y="209"/>
                    <a:pt x="1065" y="213"/>
                    <a:pt x="1062" y="216"/>
                  </a:cubicBezTo>
                  <a:cubicBezTo>
                    <a:pt x="351" y="626"/>
                    <a:pt x="351" y="626"/>
                    <a:pt x="351" y="626"/>
                  </a:cubicBezTo>
                  <a:cubicBezTo>
                    <a:pt x="349" y="627"/>
                    <a:pt x="347" y="627"/>
                    <a:pt x="345" y="627"/>
                  </a:cubicBezTo>
                  <a:close/>
                  <a:moveTo>
                    <a:pt x="36" y="423"/>
                  </a:moveTo>
                  <a:cubicBezTo>
                    <a:pt x="345" y="601"/>
                    <a:pt x="345" y="601"/>
                    <a:pt x="345" y="601"/>
                  </a:cubicBezTo>
                  <a:cubicBezTo>
                    <a:pt x="1032" y="205"/>
                    <a:pt x="1032" y="205"/>
                    <a:pt x="1032" y="205"/>
                  </a:cubicBezTo>
                  <a:cubicBezTo>
                    <a:pt x="722" y="26"/>
                    <a:pt x="722" y="26"/>
                    <a:pt x="722" y="26"/>
                  </a:cubicBezTo>
                  <a:lnTo>
                    <a:pt x="36" y="423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5" name="Freeform 2415">
              <a:extLst>
                <a:ext uri="{FF2B5EF4-FFF2-40B4-BE49-F238E27FC236}">
                  <a16:creationId xmlns:a16="http://schemas.microsoft.com/office/drawing/2014/main" id="{986F7567-BA78-46B9-A79D-DEF516DBD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" y="2714"/>
              <a:ext cx="295" cy="173"/>
            </a:xfrm>
            <a:custGeom>
              <a:avLst/>
              <a:gdLst>
                <a:gd name="T0" fmla="*/ 345 w 1068"/>
                <a:gd name="T1" fmla="*/ 626 h 626"/>
                <a:gd name="T2" fmla="*/ 339 w 1068"/>
                <a:gd name="T3" fmla="*/ 624 h 626"/>
                <a:gd name="T4" fmla="*/ 6 w 1068"/>
                <a:gd name="T5" fmla="*/ 432 h 626"/>
                <a:gd name="T6" fmla="*/ 0 w 1068"/>
                <a:gd name="T7" fmla="*/ 421 h 626"/>
                <a:gd name="T8" fmla="*/ 0 w 1068"/>
                <a:gd name="T9" fmla="*/ 230 h 626"/>
                <a:gd name="T10" fmla="*/ 12 w 1068"/>
                <a:gd name="T11" fmla="*/ 218 h 626"/>
                <a:gd name="T12" fmla="*/ 24 w 1068"/>
                <a:gd name="T13" fmla="*/ 230 h 626"/>
                <a:gd name="T14" fmla="*/ 24 w 1068"/>
                <a:gd name="T15" fmla="*/ 414 h 626"/>
                <a:gd name="T16" fmla="*/ 345 w 1068"/>
                <a:gd name="T17" fmla="*/ 600 h 626"/>
                <a:gd name="T18" fmla="*/ 1044 w 1068"/>
                <a:gd name="T19" fmla="*/ 197 h 626"/>
                <a:gd name="T20" fmla="*/ 1044 w 1068"/>
                <a:gd name="T21" fmla="*/ 12 h 626"/>
                <a:gd name="T22" fmla="*/ 1056 w 1068"/>
                <a:gd name="T23" fmla="*/ 0 h 626"/>
                <a:gd name="T24" fmla="*/ 1068 w 1068"/>
                <a:gd name="T25" fmla="*/ 12 h 626"/>
                <a:gd name="T26" fmla="*/ 1068 w 1068"/>
                <a:gd name="T27" fmla="*/ 204 h 626"/>
                <a:gd name="T28" fmla="*/ 1062 w 1068"/>
                <a:gd name="T29" fmla="*/ 214 h 626"/>
                <a:gd name="T30" fmla="*/ 351 w 1068"/>
                <a:gd name="T31" fmla="*/ 624 h 626"/>
                <a:gd name="T32" fmla="*/ 345 w 1068"/>
                <a:gd name="T33" fmla="*/ 626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68" h="626">
                  <a:moveTo>
                    <a:pt x="345" y="626"/>
                  </a:moveTo>
                  <a:cubicBezTo>
                    <a:pt x="343" y="626"/>
                    <a:pt x="341" y="625"/>
                    <a:pt x="339" y="624"/>
                  </a:cubicBezTo>
                  <a:cubicBezTo>
                    <a:pt x="6" y="432"/>
                    <a:pt x="6" y="432"/>
                    <a:pt x="6" y="432"/>
                  </a:cubicBezTo>
                  <a:cubicBezTo>
                    <a:pt x="2" y="430"/>
                    <a:pt x="0" y="426"/>
                    <a:pt x="0" y="421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223"/>
                    <a:pt x="5" y="218"/>
                    <a:pt x="12" y="218"/>
                  </a:cubicBezTo>
                  <a:cubicBezTo>
                    <a:pt x="18" y="218"/>
                    <a:pt x="24" y="223"/>
                    <a:pt x="24" y="230"/>
                  </a:cubicBezTo>
                  <a:cubicBezTo>
                    <a:pt x="24" y="414"/>
                    <a:pt x="24" y="414"/>
                    <a:pt x="24" y="414"/>
                  </a:cubicBezTo>
                  <a:cubicBezTo>
                    <a:pt x="345" y="600"/>
                    <a:pt x="345" y="600"/>
                    <a:pt x="345" y="600"/>
                  </a:cubicBezTo>
                  <a:cubicBezTo>
                    <a:pt x="1044" y="197"/>
                    <a:pt x="1044" y="197"/>
                    <a:pt x="1044" y="197"/>
                  </a:cubicBezTo>
                  <a:cubicBezTo>
                    <a:pt x="1044" y="12"/>
                    <a:pt x="1044" y="12"/>
                    <a:pt x="1044" y="12"/>
                  </a:cubicBezTo>
                  <a:cubicBezTo>
                    <a:pt x="1044" y="6"/>
                    <a:pt x="1049" y="0"/>
                    <a:pt x="1056" y="0"/>
                  </a:cubicBezTo>
                  <a:cubicBezTo>
                    <a:pt x="1062" y="0"/>
                    <a:pt x="1068" y="6"/>
                    <a:pt x="1068" y="12"/>
                  </a:cubicBezTo>
                  <a:cubicBezTo>
                    <a:pt x="1068" y="204"/>
                    <a:pt x="1068" y="204"/>
                    <a:pt x="1068" y="204"/>
                  </a:cubicBezTo>
                  <a:cubicBezTo>
                    <a:pt x="1068" y="208"/>
                    <a:pt x="1065" y="212"/>
                    <a:pt x="1062" y="214"/>
                  </a:cubicBezTo>
                  <a:cubicBezTo>
                    <a:pt x="351" y="624"/>
                    <a:pt x="351" y="624"/>
                    <a:pt x="351" y="624"/>
                  </a:cubicBezTo>
                  <a:cubicBezTo>
                    <a:pt x="349" y="625"/>
                    <a:pt x="347" y="626"/>
                    <a:pt x="345" y="62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56" name="Group 355">
            <a:extLst>
              <a:ext uri="{FF2B5EF4-FFF2-40B4-BE49-F238E27FC236}">
                <a16:creationId xmlns:a16="http://schemas.microsoft.com/office/drawing/2014/main" id="{39A8F0AE-0D75-4E98-BBD5-0BB6A308E0EE}"/>
              </a:ext>
            </a:extLst>
          </p:cNvPr>
          <p:cNvGrpSpPr/>
          <p:nvPr/>
        </p:nvGrpSpPr>
        <p:grpSpPr>
          <a:xfrm>
            <a:off x="438150" y="1182125"/>
            <a:ext cx="11353800" cy="558284"/>
            <a:chOff x="431998" y="1497505"/>
            <a:chExt cx="7042690" cy="573992"/>
          </a:xfrm>
        </p:grpSpPr>
        <p:sp>
          <p:nvSpPr>
            <p:cNvPr id="357" name="Rectangle: Rounded Corners 356">
              <a:extLst>
                <a:ext uri="{FF2B5EF4-FFF2-40B4-BE49-F238E27FC236}">
                  <a16:creationId xmlns:a16="http://schemas.microsoft.com/office/drawing/2014/main" id="{0965B1A7-D44A-4AF9-A521-BA60B5B2CAE2}"/>
                </a:ext>
              </a:extLst>
            </p:cNvPr>
            <p:cNvSpPr/>
            <p:nvPr/>
          </p:nvSpPr>
          <p:spPr>
            <a:xfrm>
              <a:off x="552610" y="1549937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358" name="Rectangle: Rounded Corners 357">
              <a:extLst>
                <a:ext uri="{FF2B5EF4-FFF2-40B4-BE49-F238E27FC236}">
                  <a16:creationId xmlns:a16="http://schemas.microsoft.com/office/drawing/2014/main" id="{D4F20C47-114D-4263-977B-5DFC91958478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Ушбу схема коррупцияга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арш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урашишнинг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самарал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изими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намойи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этад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. Бунда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унинг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арч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аркибий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элементлар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ир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бутун механизм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сифатид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ишлайд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ррупциявий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хавф-хатарлар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минималлаштиради</a:t>
              </a:r>
              <a:endParaRPr lang="ru-RU" sz="14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56" name="Isosceles Triangle 55">
            <a:extLst>
              <a:ext uri="{FF2B5EF4-FFF2-40B4-BE49-F238E27FC236}">
                <a16:creationId xmlns:a16="http://schemas.microsoft.com/office/drawing/2014/main" id="{DC65CD42-1565-4A2D-8F05-E40FF904C877}"/>
              </a:ext>
            </a:extLst>
          </p:cNvPr>
          <p:cNvSpPr/>
          <p:nvPr/>
        </p:nvSpPr>
        <p:spPr>
          <a:xfrm rot="13371320">
            <a:off x="6874851" y="2411988"/>
            <a:ext cx="184907" cy="467940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767944E-F0A5-41B3-9C27-35F4AF17D0B2}"/>
              </a:ext>
            </a:extLst>
          </p:cNvPr>
          <p:cNvGrpSpPr/>
          <p:nvPr/>
        </p:nvGrpSpPr>
        <p:grpSpPr>
          <a:xfrm>
            <a:off x="6996114" y="1897671"/>
            <a:ext cx="4752974" cy="726853"/>
            <a:chOff x="5853113" y="1291174"/>
            <a:chExt cx="4752974" cy="726853"/>
          </a:xfrm>
          <a:solidFill>
            <a:schemeClr val="bg1">
              <a:lumMod val="95000"/>
            </a:schemeClr>
          </a:solidFill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FB5535A9-5829-4539-947D-23151A04D8B2}"/>
                </a:ext>
              </a:extLst>
            </p:cNvPr>
            <p:cNvSpPr/>
            <p:nvPr/>
          </p:nvSpPr>
          <p:spPr>
            <a:xfrm>
              <a:off x="5853113" y="1291174"/>
              <a:ext cx="4752974" cy="726853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92000" tIns="54000" rIns="0" bIns="54000" rtlCol="0" anchor="ctr"/>
            <a:lstStyle/>
            <a:p>
              <a:r>
                <a:rPr lang="ru-RU" sz="1400" dirty="0">
                  <a:solidFill>
                    <a:schemeClr val="tx2"/>
                  </a:solidFill>
                </a:rPr>
                <a:t>Коррупцияга </a:t>
              </a:r>
              <a:r>
                <a:rPr lang="ru-RU" sz="1400" dirty="0" err="1">
                  <a:solidFill>
                    <a:schemeClr val="tx2"/>
                  </a:solidFill>
                </a:rPr>
                <a:t>қарш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курашиш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бўйич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асосий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ҳужжатлар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мавжудлиги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0F83B0E0-B36C-4E11-B375-219336A9541B}"/>
                </a:ext>
              </a:extLst>
            </p:cNvPr>
            <p:cNvSpPr/>
            <p:nvPr/>
          </p:nvSpPr>
          <p:spPr>
            <a:xfrm>
              <a:off x="5944344" y="1341975"/>
              <a:ext cx="625250" cy="625250"/>
            </a:xfrm>
            <a:prstGeom prst="ellipse">
              <a:avLst/>
            </a:prstGeom>
            <a:grp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spcAft>
                  <a:spcPts val="1200"/>
                </a:spcAft>
              </a:pPr>
              <a:endParaRPr lang="en-US" sz="14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87832717-CC14-4751-80BE-60FE2A1858D0}"/>
              </a:ext>
            </a:extLst>
          </p:cNvPr>
          <p:cNvGrpSpPr/>
          <p:nvPr/>
        </p:nvGrpSpPr>
        <p:grpSpPr>
          <a:xfrm>
            <a:off x="7208932" y="2041970"/>
            <a:ext cx="381787" cy="416245"/>
            <a:chOff x="462719" y="4887354"/>
            <a:chExt cx="721286" cy="786385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BE6AD542-214B-41D7-A94C-44B476501BA5}"/>
                </a:ext>
              </a:extLst>
            </p:cNvPr>
            <p:cNvSpPr/>
            <p:nvPr/>
          </p:nvSpPr>
          <p:spPr>
            <a:xfrm>
              <a:off x="527097" y="5024192"/>
              <a:ext cx="606244" cy="649547"/>
            </a:xfrm>
            <a:custGeom>
              <a:avLst/>
              <a:gdLst>
                <a:gd name="connsiteX0" fmla="*/ 595604 w 606243"/>
                <a:gd name="connsiteY0" fmla="*/ 10867 h 649546"/>
                <a:gd name="connsiteX1" fmla="*/ 595604 w 606243"/>
                <a:gd name="connsiteY1" fmla="*/ 648578 h 649546"/>
                <a:gd name="connsiteX2" fmla="*/ 10867 w 606243"/>
                <a:gd name="connsiteY2" fmla="*/ 648578 h 649546"/>
                <a:gd name="connsiteX3" fmla="*/ 10867 w 606243"/>
                <a:gd name="connsiteY3" fmla="*/ 10867 h 649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6243" h="649546">
                  <a:moveTo>
                    <a:pt x="595604" y="10867"/>
                  </a:moveTo>
                  <a:lnTo>
                    <a:pt x="595604" y="648578"/>
                  </a:lnTo>
                  <a:lnTo>
                    <a:pt x="10867" y="648578"/>
                  </a:lnTo>
                  <a:lnTo>
                    <a:pt x="10867" y="10867"/>
                  </a:lnTo>
                </a:path>
              </a:pathLst>
            </a:custGeom>
            <a:noFill/>
            <a:ln w="9561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E4674006-6014-40D3-AFC8-2E0A8E457AAF}"/>
                </a:ext>
              </a:extLst>
            </p:cNvPr>
            <p:cNvSpPr/>
            <p:nvPr/>
          </p:nvSpPr>
          <p:spPr>
            <a:xfrm>
              <a:off x="597103" y="5520878"/>
              <a:ext cx="461900" cy="14434"/>
            </a:xfrm>
            <a:custGeom>
              <a:avLst/>
              <a:gdLst>
                <a:gd name="connsiteX0" fmla="*/ 10867 w 461899"/>
                <a:gd name="connsiteY0" fmla="*/ 10867 h 14434"/>
                <a:gd name="connsiteX1" fmla="*/ 455590 w 461899"/>
                <a:gd name="connsiteY1" fmla="*/ 10867 h 1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1899" h="14434">
                  <a:moveTo>
                    <a:pt x="10867" y="10867"/>
                  </a:moveTo>
                  <a:lnTo>
                    <a:pt x="455590" y="10867"/>
                  </a:lnTo>
                </a:path>
              </a:pathLst>
            </a:custGeom>
            <a:ln w="9561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D628BD0D-927B-4364-BCEC-CC649E9BBB6F}"/>
                </a:ext>
              </a:extLst>
            </p:cNvPr>
            <p:cNvSpPr/>
            <p:nvPr/>
          </p:nvSpPr>
          <p:spPr>
            <a:xfrm>
              <a:off x="597103" y="5590596"/>
              <a:ext cx="158778" cy="14434"/>
            </a:xfrm>
            <a:custGeom>
              <a:avLst/>
              <a:gdLst>
                <a:gd name="connsiteX0" fmla="*/ 10867 w 158778"/>
                <a:gd name="connsiteY0" fmla="*/ 10867 h 14434"/>
                <a:gd name="connsiteX1" fmla="*/ 152324 w 158778"/>
                <a:gd name="connsiteY1" fmla="*/ 10867 h 1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78" h="14434">
                  <a:moveTo>
                    <a:pt x="10867" y="10867"/>
                  </a:moveTo>
                  <a:lnTo>
                    <a:pt x="152324" y="10867"/>
                  </a:lnTo>
                </a:path>
              </a:pathLst>
            </a:custGeom>
            <a:ln w="9561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9F1B7989-9EF1-4B04-8C06-6F016B49C8A7}"/>
                </a:ext>
              </a:extLst>
            </p:cNvPr>
            <p:cNvSpPr/>
            <p:nvPr/>
          </p:nvSpPr>
          <p:spPr>
            <a:xfrm>
              <a:off x="748809" y="5209096"/>
              <a:ext cx="144344" cy="144344"/>
            </a:xfrm>
            <a:custGeom>
              <a:avLst/>
              <a:gdLst>
                <a:gd name="connsiteX0" fmla="*/ 147128 w 144343"/>
                <a:gd name="connsiteY0" fmla="*/ 78997 h 144343"/>
                <a:gd name="connsiteX1" fmla="*/ 78997 w 144343"/>
                <a:gd name="connsiteY1" fmla="*/ 147128 h 144343"/>
                <a:gd name="connsiteX2" fmla="*/ 10867 w 144343"/>
                <a:gd name="connsiteY2" fmla="*/ 78997 h 144343"/>
                <a:gd name="connsiteX3" fmla="*/ 78997 w 144343"/>
                <a:gd name="connsiteY3" fmla="*/ 10867 h 144343"/>
                <a:gd name="connsiteX4" fmla="*/ 147128 w 144343"/>
                <a:gd name="connsiteY4" fmla="*/ 78997 h 14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343" h="144343">
                  <a:moveTo>
                    <a:pt x="147128" y="78997"/>
                  </a:moveTo>
                  <a:cubicBezTo>
                    <a:pt x="147128" y="116625"/>
                    <a:pt x="116625" y="147128"/>
                    <a:pt x="78997" y="147128"/>
                  </a:cubicBezTo>
                  <a:cubicBezTo>
                    <a:pt x="41370" y="147128"/>
                    <a:pt x="10867" y="116625"/>
                    <a:pt x="10867" y="78997"/>
                  </a:cubicBezTo>
                  <a:cubicBezTo>
                    <a:pt x="10867" y="41370"/>
                    <a:pt x="41370" y="10867"/>
                    <a:pt x="78997" y="10867"/>
                  </a:cubicBezTo>
                  <a:cubicBezTo>
                    <a:pt x="116625" y="10867"/>
                    <a:pt x="147128" y="41370"/>
                    <a:pt x="147128" y="78997"/>
                  </a:cubicBezTo>
                  <a:close/>
                </a:path>
              </a:pathLst>
            </a:custGeom>
            <a:noFill/>
            <a:ln w="9561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620494AC-44E0-4703-8A94-14B31A050C57}"/>
                </a:ext>
              </a:extLst>
            </p:cNvPr>
            <p:cNvSpPr/>
            <p:nvPr/>
          </p:nvSpPr>
          <p:spPr>
            <a:xfrm>
              <a:off x="644159" y="5103148"/>
              <a:ext cx="360859" cy="360859"/>
            </a:xfrm>
            <a:custGeom>
              <a:avLst/>
              <a:gdLst>
                <a:gd name="connsiteX0" fmla="*/ 108299 w 360859"/>
                <a:gd name="connsiteY0" fmla="*/ 303596 h 360859"/>
                <a:gd name="connsiteX1" fmla="*/ 154922 w 360859"/>
                <a:gd name="connsiteY1" fmla="*/ 322938 h 360859"/>
                <a:gd name="connsiteX2" fmla="*/ 154922 w 360859"/>
                <a:gd name="connsiteY2" fmla="*/ 358736 h 360859"/>
                <a:gd name="connsiteX3" fmla="*/ 214681 w 360859"/>
                <a:gd name="connsiteY3" fmla="*/ 358736 h 360859"/>
                <a:gd name="connsiteX4" fmla="*/ 214681 w 360859"/>
                <a:gd name="connsiteY4" fmla="*/ 322938 h 360859"/>
                <a:gd name="connsiteX5" fmla="*/ 261304 w 360859"/>
                <a:gd name="connsiteY5" fmla="*/ 303596 h 360859"/>
                <a:gd name="connsiteX6" fmla="*/ 286708 w 360859"/>
                <a:gd name="connsiteY6" fmla="*/ 329001 h 360859"/>
                <a:gd name="connsiteX7" fmla="*/ 329001 w 360859"/>
                <a:gd name="connsiteY7" fmla="*/ 286708 h 360859"/>
                <a:gd name="connsiteX8" fmla="*/ 303596 w 360859"/>
                <a:gd name="connsiteY8" fmla="*/ 261304 h 360859"/>
                <a:gd name="connsiteX9" fmla="*/ 322938 w 360859"/>
                <a:gd name="connsiteY9" fmla="*/ 214680 h 360859"/>
                <a:gd name="connsiteX10" fmla="*/ 358736 w 360859"/>
                <a:gd name="connsiteY10" fmla="*/ 214680 h 360859"/>
                <a:gd name="connsiteX11" fmla="*/ 358736 w 360859"/>
                <a:gd name="connsiteY11" fmla="*/ 154922 h 360859"/>
                <a:gd name="connsiteX12" fmla="*/ 322938 w 360859"/>
                <a:gd name="connsiteY12" fmla="*/ 154922 h 360859"/>
                <a:gd name="connsiteX13" fmla="*/ 303596 w 360859"/>
                <a:gd name="connsiteY13" fmla="*/ 108299 h 360859"/>
                <a:gd name="connsiteX14" fmla="*/ 329001 w 360859"/>
                <a:gd name="connsiteY14" fmla="*/ 82895 h 360859"/>
                <a:gd name="connsiteX15" fmla="*/ 286708 w 360859"/>
                <a:gd name="connsiteY15" fmla="*/ 40602 h 360859"/>
                <a:gd name="connsiteX16" fmla="*/ 261304 w 360859"/>
                <a:gd name="connsiteY16" fmla="*/ 66007 h 360859"/>
                <a:gd name="connsiteX17" fmla="*/ 214681 w 360859"/>
                <a:gd name="connsiteY17" fmla="*/ 46665 h 360859"/>
                <a:gd name="connsiteX18" fmla="*/ 214681 w 360859"/>
                <a:gd name="connsiteY18" fmla="*/ 10867 h 360859"/>
                <a:gd name="connsiteX19" fmla="*/ 154922 w 360859"/>
                <a:gd name="connsiteY19" fmla="*/ 10867 h 360859"/>
                <a:gd name="connsiteX20" fmla="*/ 154922 w 360859"/>
                <a:gd name="connsiteY20" fmla="*/ 46665 h 360859"/>
                <a:gd name="connsiteX21" fmla="*/ 108299 w 360859"/>
                <a:gd name="connsiteY21" fmla="*/ 66007 h 360859"/>
                <a:gd name="connsiteX22" fmla="*/ 82895 w 360859"/>
                <a:gd name="connsiteY22" fmla="*/ 40602 h 360859"/>
                <a:gd name="connsiteX23" fmla="*/ 40602 w 360859"/>
                <a:gd name="connsiteY23" fmla="*/ 82895 h 360859"/>
                <a:gd name="connsiteX24" fmla="*/ 66007 w 360859"/>
                <a:gd name="connsiteY24" fmla="*/ 108299 h 360859"/>
                <a:gd name="connsiteX25" fmla="*/ 46664 w 360859"/>
                <a:gd name="connsiteY25" fmla="*/ 154922 h 360859"/>
                <a:gd name="connsiteX26" fmla="*/ 10867 w 360859"/>
                <a:gd name="connsiteY26" fmla="*/ 154922 h 360859"/>
                <a:gd name="connsiteX27" fmla="*/ 10867 w 360859"/>
                <a:gd name="connsiteY27" fmla="*/ 214680 h 360859"/>
                <a:gd name="connsiteX28" fmla="*/ 46664 w 360859"/>
                <a:gd name="connsiteY28" fmla="*/ 214680 h 360859"/>
                <a:gd name="connsiteX29" fmla="*/ 66007 w 360859"/>
                <a:gd name="connsiteY29" fmla="*/ 261304 h 360859"/>
                <a:gd name="connsiteX30" fmla="*/ 40602 w 360859"/>
                <a:gd name="connsiteY30" fmla="*/ 286708 h 360859"/>
                <a:gd name="connsiteX31" fmla="*/ 82895 w 360859"/>
                <a:gd name="connsiteY31" fmla="*/ 329001 h 360859"/>
                <a:gd name="connsiteX32" fmla="*/ 108299 w 360859"/>
                <a:gd name="connsiteY32" fmla="*/ 303596 h 360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60859" h="360859">
                  <a:moveTo>
                    <a:pt x="108299" y="303596"/>
                  </a:moveTo>
                  <a:cubicBezTo>
                    <a:pt x="122301" y="312690"/>
                    <a:pt x="138034" y="319330"/>
                    <a:pt x="154922" y="322938"/>
                  </a:cubicBezTo>
                  <a:lnTo>
                    <a:pt x="154922" y="358736"/>
                  </a:lnTo>
                  <a:lnTo>
                    <a:pt x="214681" y="358736"/>
                  </a:lnTo>
                  <a:lnTo>
                    <a:pt x="214681" y="322938"/>
                  </a:lnTo>
                  <a:cubicBezTo>
                    <a:pt x="231569" y="319330"/>
                    <a:pt x="247158" y="312690"/>
                    <a:pt x="261304" y="303596"/>
                  </a:cubicBezTo>
                  <a:lnTo>
                    <a:pt x="286708" y="329001"/>
                  </a:lnTo>
                  <a:lnTo>
                    <a:pt x="329001" y="286708"/>
                  </a:lnTo>
                  <a:lnTo>
                    <a:pt x="303596" y="261304"/>
                  </a:lnTo>
                  <a:cubicBezTo>
                    <a:pt x="312690" y="247302"/>
                    <a:pt x="319330" y="231569"/>
                    <a:pt x="322938" y="214680"/>
                  </a:cubicBezTo>
                  <a:lnTo>
                    <a:pt x="358736" y="214680"/>
                  </a:lnTo>
                  <a:lnTo>
                    <a:pt x="358736" y="154922"/>
                  </a:lnTo>
                  <a:lnTo>
                    <a:pt x="322938" y="154922"/>
                  </a:lnTo>
                  <a:cubicBezTo>
                    <a:pt x="319330" y="138034"/>
                    <a:pt x="312690" y="122445"/>
                    <a:pt x="303596" y="108299"/>
                  </a:cubicBezTo>
                  <a:lnTo>
                    <a:pt x="329001" y="82895"/>
                  </a:lnTo>
                  <a:lnTo>
                    <a:pt x="286708" y="40602"/>
                  </a:lnTo>
                  <a:lnTo>
                    <a:pt x="261304" y="66007"/>
                  </a:lnTo>
                  <a:cubicBezTo>
                    <a:pt x="247302" y="56913"/>
                    <a:pt x="231569" y="50273"/>
                    <a:pt x="214681" y="46665"/>
                  </a:cubicBezTo>
                  <a:lnTo>
                    <a:pt x="214681" y="10867"/>
                  </a:lnTo>
                  <a:lnTo>
                    <a:pt x="154922" y="10867"/>
                  </a:lnTo>
                  <a:lnTo>
                    <a:pt x="154922" y="46665"/>
                  </a:lnTo>
                  <a:cubicBezTo>
                    <a:pt x="138034" y="50273"/>
                    <a:pt x="122445" y="56913"/>
                    <a:pt x="108299" y="66007"/>
                  </a:cubicBezTo>
                  <a:lnTo>
                    <a:pt x="82895" y="40602"/>
                  </a:lnTo>
                  <a:lnTo>
                    <a:pt x="40602" y="82895"/>
                  </a:lnTo>
                  <a:lnTo>
                    <a:pt x="66007" y="108299"/>
                  </a:lnTo>
                  <a:cubicBezTo>
                    <a:pt x="56913" y="122301"/>
                    <a:pt x="50273" y="138034"/>
                    <a:pt x="46664" y="154922"/>
                  </a:cubicBezTo>
                  <a:lnTo>
                    <a:pt x="10867" y="154922"/>
                  </a:lnTo>
                  <a:lnTo>
                    <a:pt x="10867" y="214680"/>
                  </a:lnTo>
                  <a:lnTo>
                    <a:pt x="46664" y="214680"/>
                  </a:lnTo>
                  <a:cubicBezTo>
                    <a:pt x="50273" y="231569"/>
                    <a:pt x="56913" y="247158"/>
                    <a:pt x="66007" y="261304"/>
                  </a:cubicBezTo>
                  <a:lnTo>
                    <a:pt x="40602" y="286708"/>
                  </a:lnTo>
                  <a:lnTo>
                    <a:pt x="82895" y="329001"/>
                  </a:lnTo>
                  <a:lnTo>
                    <a:pt x="108299" y="303596"/>
                  </a:lnTo>
                  <a:close/>
                </a:path>
              </a:pathLst>
            </a:custGeom>
            <a:noFill/>
            <a:ln w="9561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C0BAB0C6-FC83-4C79-8537-C1945EFC7B15}"/>
                </a:ext>
              </a:extLst>
            </p:cNvPr>
            <p:cNvSpPr/>
            <p:nvPr/>
          </p:nvSpPr>
          <p:spPr>
            <a:xfrm>
              <a:off x="462719" y="4887354"/>
              <a:ext cx="144344" cy="635112"/>
            </a:xfrm>
            <a:custGeom>
              <a:avLst/>
              <a:gdLst>
                <a:gd name="connsiteX0" fmla="*/ 75245 w 144343"/>
                <a:gd name="connsiteY0" fmla="*/ 147705 h 635112"/>
                <a:gd name="connsiteX1" fmla="*/ 139622 w 144343"/>
                <a:gd name="connsiteY1" fmla="*/ 79286 h 635112"/>
                <a:gd name="connsiteX2" fmla="*/ 75245 w 144343"/>
                <a:gd name="connsiteY2" fmla="*/ 10867 h 635112"/>
                <a:gd name="connsiteX3" fmla="*/ 10867 w 144343"/>
                <a:gd name="connsiteY3" fmla="*/ 79286 h 635112"/>
                <a:gd name="connsiteX4" fmla="*/ 10867 w 144343"/>
                <a:gd name="connsiteY4" fmla="*/ 637175 h 635112"/>
                <a:gd name="connsiteX5" fmla="*/ 69759 w 144343"/>
                <a:gd name="connsiteY5" fmla="*/ 637175 h 635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4343" h="635112">
                  <a:moveTo>
                    <a:pt x="75245" y="147705"/>
                  </a:moveTo>
                  <a:cubicBezTo>
                    <a:pt x="110897" y="147705"/>
                    <a:pt x="139622" y="117104"/>
                    <a:pt x="139622" y="79286"/>
                  </a:cubicBezTo>
                  <a:cubicBezTo>
                    <a:pt x="139622" y="41468"/>
                    <a:pt x="110753" y="10867"/>
                    <a:pt x="75245" y="10867"/>
                  </a:cubicBezTo>
                  <a:cubicBezTo>
                    <a:pt x="39736" y="10867"/>
                    <a:pt x="10867" y="41468"/>
                    <a:pt x="10867" y="79286"/>
                  </a:cubicBezTo>
                  <a:lnTo>
                    <a:pt x="10867" y="637175"/>
                  </a:lnTo>
                  <a:lnTo>
                    <a:pt x="69759" y="637175"/>
                  </a:lnTo>
                </a:path>
              </a:pathLst>
            </a:custGeom>
            <a:noFill/>
            <a:ln w="9561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5C0228E7-B280-4BEA-AC6A-8F19D13F7B6E}"/>
                </a:ext>
              </a:extLst>
            </p:cNvPr>
            <p:cNvSpPr/>
            <p:nvPr/>
          </p:nvSpPr>
          <p:spPr>
            <a:xfrm>
              <a:off x="1111833" y="4887354"/>
              <a:ext cx="72172" cy="144344"/>
            </a:xfrm>
            <a:custGeom>
              <a:avLst/>
              <a:gdLst>
                <a:gd name="connsiteX0" fmla="*/ 10867 w 72171"/>
                <a:gd name="connsiteY0" fmla="*/ 10867 h 144343"/>
                <a:gd name="connsiteX1" fmla="*/ 75245 w 72171"/>
                <a:gd name="connsiteY1" fmla="*/ 79286 h 144343"/>
                <a:gd name="connsiteX2" fmla="*/ 10867 w 72171"/>
                <a:gd name="connsiteY2" fmla="*/ 147705 h 14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171" h="144343">
                  <a:moveTo>
                    <a:pt x="10867" y="10867"/>
                  </a:moveTo>
                  <a:cubicBezTo>
                    <a:pt x="46520" y="10867"/>
                    <a:pt x="75245" y="41468"/>
                    <a:pt x="75245" y="79286"/>
                  </a:cubicBezTo>
                  <a:cubicBezTo>
                    <a:pt x="75245" y="117104"/>
                    <a:pt x="46376" y="147705"/>
                    <a:pt x="10867" y="147705"/>
                  </a:cubicBezTo>
                </a:path>
              </a:pathLst>
            </a:custGeom>
            <a:noFill/>
            <a:ln w="9561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B2E7CAF5-A188-47CC-984A-2064DB6BEAC7}"/>
                </a:ext>
              </a:extLst>
            </p:cNvPr>
            <p:cNvSpPr/>
            <p:nvPr/>
          </p:nvSpPr>
          <p:spPr>
            <a:xfrm>
              <a:off x="527097" y="4887354"/>
              <a:ext cx="606244" cy="14434"/>
            </a:xfrm>
            <a:custGeom>
              <a:avLst/>
              <a:gdLst>
                <a:gd name="connsiteX0" fmla="*/ 10867 w 606243"/>
                <a:gd name="connsiteY0" fmla="*/ 10867 h 14434"/>
                <a:gd name="connsiteX1" fmla="*/ 595604 w 606243"/>
                <a:gd name="connsiteY1" fmla="*/ 10867 h 1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6243" h="14434">
                  <a:moveTo>
                    <a:pt x="10867" y="10867"/>
                  </a:moveTo>
                  <a:lnTo>
                    <a:pt x="595604" y="10867"/>
                  </a:lnTo>
                </a:path>
              </a:pathLst>
            </a:custGeom>
            <a:ln w="9561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14F51F7D-07BD-42E6-87E6-078098DDFA80}"/>
                </a:ext>
              </a:extLst>
            </p:cNvPr>
            <p:cNvSpPr/>
            <p:nvPr/>
          </p:nvSpPr>
          <p:spPr>
            <a:xfrm>
              <a:off x="527097" y="5024192"/>
              <a:ext cx="606244" cy="14434"/>
            </a:xfrm>
            <a:custGeom>
              <a:avLst/>
              <a:gdLst>
                <a:gd name="connsiteX0" fmla="*/ 10867 w 606243"/>
                <a:gd name="connsiteY0" fmla="*/ 10867 h 14434"/>
                <a:gd name="connsiteX1" fmla="*/ 595604 w 606243"/>
                <a:gd name="connsiteY1" fmla="*/ 10867 h 1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6243" h="14434">
                  <a:moveTo>
                    <a:pt x="10867" y="10867"/>
                  </a:moveTo>
                  <a:lnTo>
                    <a:pt x="595604" y="10867"/>
                  </a:lnTo>
                </a:path>
              </a:pathLst>
            </a:custGeom>
            <a:ln w="9561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99096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1F459-B6B7-423B-8544-6CE44A568E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1"/>
            <a:ext cx="11317089" cy="384810"/>
          </a:xfrm>
        </p:spPr>
        <p:txBody>
          <a:bodyPr/>
          <a:lstStyle/>
          <a:p>
            <a:r>
              <a:rPr lang="ru-RU" dirty="0"/>
              <a:t>Коррупциявий </a:t>
            </a:r>
            <a:r>
              <a:rPr lang="ru-RU" dirty="0" err="1"/>
              <a:t>хавф-хатарларни</a:t>
            </a:r>
            <a:r>
              <a:rPr lang="ru-RU" dirty="0"/>
              <a:t> </a:t>
            </a:r>
            <a:r>
              <a:rPr lang="ru-RU" dirty="0" err="1"/>
              <a:t>баҳолаш</a:t>
            </a:r>
            <a:r>
              <a:rPr lang="ru-RU" dirty="0"/>
              <a:t> </a:t>
            </a:r>
            <a:r>
              <a:rPr lang="ru-RU" dirty="0" err="1"/>
              <a:t>соҳасидаги</a:t>
            </a:r>
            <a:r>
              <a:rPr lang="ru-RU" dirty="0"/>
              <a:t> </a:t>
            </a:r>
            <a:r>
              <a:rPr lang="ru-RU" dirty="0" err="1"/>
              <a:t>қонунчилик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халқаро </a:t>
            </a:r>
            <a:r>
              <a:rPr lang="ru-RU" dirty="0" err="1"/>
              <a:t>стандартлар</a:t>
            </a:r>
            <a:r>
              <a:rPr lang="ru-RU" dirty="0"/>
              <a:t> </a:t>
            </a:r>
            <a:endParaRPr lang="en-US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FB39284E-F371-426D-958B-ED722E60A491}"/>
              </a:ext>
            </a:extLst>
          </p:cNvPr>
          <p:cNvGrpSpPr/>
          <p:nvPr/>
        </p:nvGrpSpPr>
        <p:grpSpPr>
          <a:xfrm>
            <a:off x="3316265" y="1477367"/>
            <a:ext cx="2690090" cy="3424242"/>
            <a:chOff x="3253466" y="1477367"/>
            <a:chExt cx="2690090" cy="3424242"/>
          </a:xfrm>
        </p:grpSpPr>
        <p:sp>
          <p:nvSpPr>
            <p:cNvPr id="15" name="Rectangle 3">
              <a:extLst>
                <a:ext uri="{FF2B5EF4-FFF2-40B4-BE49-F238E27FC236}">
                  <a16:creationId xmlns:a16="http://schemas.microsoft.com/office/drawing/2014/main" id="{3FF954B0-78FD-4035-98DA-8B2675E923B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53466" y="1962135"/>
              <a:ext cx="2690090" cy="2939474"/>
            </a:xfrm>
            <a:prstGeom prst="roundRect">
              <a:avLst>
                <a:gd name="adj" fmla="val 5740"/>
              </a:avLst>
            </a:prstGeom>
            <a:noFill/>
            <a:ln w="9525">
              <a:solidFill>
                <a:srgbClr val="130A65"/>
              </a:solidFill>
              <a:round/>
              <a:headEnd/>
              <a:tailEnd/>
            </a:ln>
          </p:spPr>
          <p:txBody>
            <a:bodyPr lIns="36000" tIns="612000" rIns="36000" bIns="36000" anchor="t"/>
            <a:lstStyle/>
            <a:p>
              <a:pPr algn="ctr">
                <a:spcAft>
                  <a:spcPts val="277"/>
                </a:spcAft>
                <a:buClr>
                  <a:srgbClr val="00338D"/>
                </a:buClr>
              </a:pP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Ўзбекистон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Республикаси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Президентининг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«Коррупцияга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қарши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курашиш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ишларининг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самарадорлигини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рейтинг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баҳолаш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тизимини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жорий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этиш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чора-тадбирлари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тўғрисида»ги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2022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йил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12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январдаги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ПҚ-81-сон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қарори</a:t>
              </a:r>
              <a:endParaRPr lang="ru-RU" sz="1400" dirty="0">
                <a:solidFill>
                  <a:schemeClr val="tx2"/>
                </a:solidFill>
                <a:cs typeface="Arial" pitchFamily="34" charset="0"/>
              </a:endParaRPr>
            </a:p>
          </p:txBody>
        </p:sp>
        <p:pic>
          <p:nvPicPr>
            <p:cNvPr id="16" name="Picture 2" descr="https://w7.pngwing.com/pngs/564/452/png-transparent-flag-of-uzbekistan-emoji-flag-of-albania-emoji-flag-text-logo.png">
              <a:extLst>
                <a:ext uri="{FF2B5EF4-FFF2-40B4-BE49-F238E27FC236}">
                  <a16:creationId xmlns:a16="http://schemas.microsoft.com/office/drawing/2014/main" id="{02DA4E76-ED1A-4E76-BBE8-1F8C9573F59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593" t="2618" r="24782" b="2590"/>
            <a:stretch/>
          </p:blipFill>
          <p:spPr bwMode="auto">
            <a:xfrm>
              <a:off x="4105453" y="1477367"/>
              <a:ext cx="981538" cy="1022820"/>
            </a:xfrm>
            <a:prstGeom prst="flowChartConnector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46DAA42-E6AC-4750-996C-1A078093BB33}"/>
              </a:ext>
            </a:extLst>
          </p:cNvPr>
          <p:cNvGrpSpPr/>
          <p:nvPr/>
        </p:nvGrpSpPr>
        <p:grpSpPr>
          <a:xfrm>
            <a:off x="6185644" y="1477367"/>
            <a:ext cx="2690090" cy="3424242"/>
            <a:chOff x="6235920" y="1477367"/>
            <a:chExt cx="2690090" cy="3424242"/>
          </a:xfrm>
        </p:grpSpPr>
        <p:sp>
          <p:nvSpPr>
            <p:cNvPr id="17" name="Rectangle 3">
              <a:extLst>
                <a:ext uri="{FF2B5EF4-FFF2-40B4-BE49-F238E27FC236}">
                  <a16:creationId xmlns:a16="http://schemas.microsoft.com/office/drawing/2014/main" id="{839C8489-966C-42CD-8ADB-13B8DA29344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235920" y="1962135"/>
              <a:ext cx="2690090" cy="2939474"/>
            </a:xfrm>
            <a:prstGeom prst="roundRect">
              <a:avLst>
                <a:gd name="adj" fmla="val 7165"/>
              </a:avLst>
            </a:prstGeom>
            <a:noFill/>
            <a:ln w="9525">
              <a:solidFill>
                <a:srgbClr val="130A65"/>
              </a:solidFill>
              <a:round/>
              <a:headEnd/>
              <a:tailEnd/>
            </a:ln>
          </p:spPr>
          <p:txBody>
            <a:bodyPr lIns="36000" tIns="612000" rIns="36000" bIns="36000" anchor="t"/>
            <a:lstStyle/>
            <a:p>
              <a:pPr algn="ctr">
                <a:spcAft>
                  <a:spcPts val="277"/>
                </a:spcAft>
                <a:buClr>
                  <a:srgbClr val="00338D"/>
                </a:buClr>
              </a:pP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Коррупцияга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қарши</a:t>
              </a: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курашиш</a:t>
              </a: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агентлигининг</a:t>
              </a: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давлат</a:t>
              </a: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органлари</a:t>
              </a: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ва</a:t>
              </a: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ташкилотлари</a:t>
              </a: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,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уларнинг</a:t>
              </a: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ҳудудий</a:t>
              </a: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ва</a:t>
              </a: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таркибий</a:t>
              </a: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бўлинмаларида</a:t>
              </a: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 коррупцияга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қарши</a:t>
              </a: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курашиш</a:t>
              </a: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тартиб-таомиллари</a:t>
              </a: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самарадорлигини</a:t>
              </a: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 мониторинг</a:t>
              </a:r>
              <a:r>
                <a:rPr lang="en-US" sz="13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қилиш</a:t>
              </a: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ва</a:t>
              </a: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назорат</a:t>
              </a: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қилиш</a:t>
              </a: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методологиясига</a:t>
              </a: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оид</a:t>
              </a:r>
              <a:r>
                <a:rPr lang="ru-RU" sz="13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cs typeface="Arial" pitchFamily="34" charset="0"/>
                </a:rPr>
                <a:t>тавсиялари</a:t>
              </a:r>
              <a:endParaRPr lang="ru-RU" sz="1300" dirty="0">
                <a:solidFill>
                  <a:schemeClr val="tx2"/>
                </a:solidFill>
                <a:cs typeface="Arial" pitchFamily="34" charset="0"/>
              </a:endParaRPr>
            </a:p>
          </p:txBody>
        </p:sp>
        <p:pic>
          <p:nvPicPr>
            <p:cNvPr id="21" name="Picture 2" descr="https://w7.pngwing.com/pngs/564/452/png-transparent-flag-of-uzbekistan-emoji-flag-of-albania-emoji-flag-text-logo.png">
              <a:extLst>
                <a:ext uri="{FF2B5EF4-FFF2-40B4-BE49-F238E27FC236}">
                  <a16:creationId xmlns:a16="http://schemas.microsoft.com/office/drawing/2014/main" id="{316FEBBE-8C59-4F6A-A0E2-058986F8EFC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593" t="2618" r="24782" b="2590"/>
            <a:stretch/>
          </p:blipFill>
          <p:spPr bwMode="auto">
            <a:xfrm>
              <a:off x="7087907" y="1477367"/>
              <a:ext cx="981538" cy="1022820"/>
            </a:xfrm>
            <a:prstGeom prst="flowChartConnector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04CB0DC-F3AF-47E8-BDC4-6C5CB47DFA78}"/>
              </a:ext>
            </a:extLst>
          </p:cNvPr>
          <p:cNvGrpSpPr/>
          <p:nvPr/>
        </p:nvGrpSpPr>
        <p:grpSpPr>
          <a:xfrm>
            <a:off x="446886" y="1477367"/>
            <a:ext cx="2690090" cy="3424241"/>
            <a:chOff x="271012" y="1477367"/>
            <a:chExt cx="2690090" cy="3424241"/>
          </a:xfrm>
        </p:grpSpPr>
        <p:sp>
          <p:nvSpPr>
            <p:cNvPr id="14" name="Rectangle 3">
              <a:extLst>
                <a:ext uri="{FF2B5EF4-FFF2-40B4-BE49-F238E27FC236}">
                  <a16:creationId xmlns:a16="http://schemas.microsoft.com/office/drawing/2014/main" id="{3AFF1694-5281-4F90-85A4-C4C2EB66407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1012" y="1962134"/>
              <a:ext cx="2690090" cy="2939474"/>
            </a:xfrm>
            <a:prstGeom prst="roundRect">
              <a:avLst>
                <a:gd name="adj" fmla="val 5740"/>
              </a:avLst>
            </a:prstGeom>
            <a:solidFill>
              <a:schemeClr val="bg1"/>
            </a:solidFill>
            <a:ln w="9525">
              <a:solidFill>
                <a:srgbClr val="130A65"/>
              </a:solidFill>
              <a:round/>
              <a:headEnd/>
              <a:tailEnd/>
            </a:ln>
          </p:spPr>
          <p:txBody>
            <a:bodyPr lIns="36000" tIns="612000" rIns="36000" bIns="36000" anchor="t"/>
            <a:lstStyle/>
            <a:p>
              <a:pPr algn="ctr">
                <a:spcAft>
                  <a:spcPts val="277"/>
                </a:spcAft>
                <a:buClr>
                  <a:srgbClr val="00338D"/>
                </a:buClr>
              </a:pP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Ўзбекистон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Республикаси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Президентининг</a:t>
              </a:r>
              <a:endParaRPr lang="ru-RU" sz="1400" dirty="0">
                <a:solidFill>
                  <a:schemeClr val="tx2"/>
                </a:solidFill>
                <a:cs typeface="Arial" pitchFamily="34" charset="0"/>
              </a:endParaRPr>
            </a:p>
            <a:p>
              <a:pPr algn="ctr">
                <a:spcAft>
                  <a:spcPts val="277"/>
                </a:spcAft>
                <a:buClr>
                  <a:srgbClr val="00338D"/>
                </a:buClr>
              </a:pP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«Ўзбекистон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Республикасида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коррупцияга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қарши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курашиш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тизимини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янада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такомиллаштириш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чора-тадбирлари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тўғрисида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»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ги</a:t>
              </a:r>
              <a:endParaRPr lang="ru-RU" sz="1400" dirty="0">
                <a:solidFill>
                  <a:schemeClr val="tx2"/>
                </a:solidFill>
                <a:cs typeface="Arial" pitchFamily="34" charset="0"/>
              </a:endParaRPr>
            </a:p>
            <a:p>
              <a:pPr algn="ctr">
                <a:spcAft>
                  <a:spcPts val="277"/>
                </a:spcAft>
                <a:buClr>
                  <a:srgbClr val="00338D"/>
                </a:buClr>
              </a:pP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27.05.2019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йилдаги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ПФ-5729-сон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Фармони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</a:p>
          </p:txBody>
        </p:sp>
        <p:pic>
          <p:nvPicPr>
            <p:cNvPr id="22" name="Picture 2" descr="https://w7.pngwing.com/pngs/564/452/png-transparent-flag-of-uzbekistan-emoji-flag-of-albania-emoji-flag-text-logo.png">
              <a:extLst>
                <a:ext uri="{FF2B5EF4-FFF2-40B4-BE49-F238E27FC236}">
                  <a16:creationId xmlns:a16="http://schemas.microsoft.com/office/drawing/2014/main" id="{0C8FB05F-2BD1-44BD-B539-5275A9BD846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593" t="2618" r="24782" b="2590"/>
            <a:stretch/>
          </p:blipFill>
          <p:spPr bwMode="auto">
            <a:xfrm>
              <a:off x="1142157" y="1477367"/>
              <a:ext cx="981538" cy="1022820"/>
            </a:xfrm>
            <a:prstGeom prst="flowChartConnector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4282316-3E35-48FF-B250-1370473297A1}"/>
              </a:ext>
            </a:extLst>
          </p:cNvPr>
          <p:cNvGrpSpPr/>
          <p:nvPr/>
        </p:nvGrpSpPr>
        <p:grpSpPr>
          <a:xfrm>
            <a:off x="9055024" y="1459796"/>
            <a:ext cx="2690090" cy="3441813"/>
            <a:chOff x="9218375" y="1459796"/>
            <a:chExt cx="2690090" cy="3441813"/>
          </a:xfrm>
        </p:grpSpPr>
        <p:sp>
          <p:nvSpPr>
            <p:cNvPr id="33" name="Rectangle 3">
              <a:extLst>
                <a:ext uri="{FF2B5EF4-FFF2-40B4-BE49-F238E27FC236}">
                  <a16:creationId xmlns:a16="http://schemas.microsoft.com/office/drawing/2014/main" id="{A08E98CB-A836-418B-8F31-CD66BFB4287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18375" y="1962135"/>
              <a:ext cx="2690090" cy="2939474"/>
            </a:xfrm>
            <a:prstGeom prst="roundRect">
              <a:avLst>
                <a:gd name="adj" fmla="val 7165"/>
              </a:avLst>
            </a:prstGeom>
            <a:noFill/>
            <a:ln w="9525">
              <a:solidFill>
                <a:srgbClr val="130A65"/>
              </a:solidFill>
              <a:round/>
              <a:headEnd/>
              <a:tailEnd/>
            </a:ln>
          </p:spPr>
          <p:txBody>
            <a:bodyPr lIns="36000" tIns="612000" rIns="36000" bIns="36000" anchor="t"/>
            <a:lstStyle/>
            <a:p>
              <a:pPr algn="ctr">
                <a:spcAft>
                  <a:spcPts val="277"/>
                </a:spcAft>
                <a:buClr>
                  <a:srgbClr val="00338D"/>
                </a:buClr>
              </a:pPr>
              <a:r>
                <a:rPr lang="en-US" sz="1400" dirty="0">
                  <a:solidFill>
                    <a:schemeClr val="tx2"/>
                  </a:solidFill>
                  <a:cs typeface="Arial" pitchFamily="34" charset="0"/>
                </a:rPr>
                <a:t>ISO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37001: 2016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порахўрликка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қарши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бошқарув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тизимлари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халқаро </a:t>
              </a:r>
              <a:r>
                <a:rPr lang="ru-RU" sz="1400" dirty="0" err="1">
                  <a:solidFill>
                    <a:schemeClr val="tx2"/>
                  </a:solidFill>
                  <a:cs typeface="Arial" pitchFamily="34" charset="0"/>
                </a:rPr>
                <a:t>стандарти</a:t>
              </a:r>
              <a:r>
                <a:rPr lang="ru-RU" sz="1400" dirty="0">
                  <a:solidFill>
                    <a:schemeClr val="tx2"/>
                  </a:solidFill>
                  <a:cs typeface="Arial" pitchFamily="34" charset="0"/>
                </a:rPr>
                <a:t> 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314BD313-E0E9-4F99-9999-D27D50CDC914}"/>
                </a:ext>
              </a:extLst>
            </p:cNvPr>
            <p:cNvSpPr/>
            <p:nvPr/>
          </p:nvSpPr>
          <p:spPr>
            <a:xfrm>
              <a:off x="10006400" y="1459796"/>
              <a:ext cx="1114040" cy="1114034"/>
            </a:xfrm>
            <a:prstGeom prst="ellipse">
              <a:avLst/>
            </a:prstGeom>
            <a:blipFill rotWithShape="1">
              <a:blip r:embed="rId3"/>
              <a:stretch>
                <a:fillRect/>
              </a:stretch>
            </a:blip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3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2771967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08BBD5B-BA87-4BE3-9AC7-6E44B5DA5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0524957" cy="434975"/>
          </a:xfrm>
        </p:spPr>
        <p:txBody>
          <a:bodyPr/>
          <a:lstStyle/>
          <a:p>
            <a:r>
              <a:rPr lang="ru-RU" sz="2000" dirty="0"/>
              <a:t>Коррупцияга </a:t>
            </a:r>
            <a:r>
              <a:rPr lang="ru-RU" sz="2000" dirty="0" err="1"/>
              <a:t>қарши</a:t>
            </a:r>
            <a:r>
              <a:rPr lang="ru-RU" sz="2000" dirty="0"/>
              <a:t> </a:t>
            </a:r>
            <a:r>
              <a:rPr lang="ru-RU" sz="2000" dirty="0" err="1"/>
              <a:t>курашиш</a:t>
            </a:r>
            <a:r>
              <a:rPr lang="ru-RU" sz="2000" dirty="0"/>
              <a:t> </a:t>
            </a:r>
            <a:r>
              <a:rPr lang="ru-RU" sz="2000" dirty="0" err="1"/>
              <a:t>тизимини</a:t>
            </a:r>
            <a:r>
              <a:rPr lang="ru-RU" sz="2000" dirty="0"/>
              <a:t> </a:t>
            </a:r>
            <a:r>
              <a:rPr lang="uz-Cyrl-UZ" sz="2000" dirty="0"/>
              <a:t>мониторинг</a:t>
            </a:r>
            <a:r>
              <a:rPr lang="en-US" sz="2000" dirty="0"/>
              <a:t> </a:t>
            </a:r>
            <a:r>
              <a:rPr lang="ru-RU" sz="2000" dirty="0" err="1"/>
              <a:t>қилиш</a:t>
            </a:r>
            <a:r>
              <a:rPr lang="ru-RU" sz="2000" dirty="0"/>
              <a:t> </a:t>
            </a:r>
            <a:r>
              <a:rPr lang="ru-RU" sz="2000" dirty="0" err="1"/>
              <a:t>ва</a:t>
            </a:r>
            <a:r>
              <a:rPr lang="ru-RU" sz="2000" dirty="0"/>
              <a:t> </a:t>
            </a:r>
            <a:r>
              <a:rPr lang="ru-RU" sz="2000" dirty="0" err="1"/>
              <a:t>назорат</a:t>
            </a:r>
            <a:r>
              <a:rPr lang="ru-RU" sz="2000" dirty="0"/>
              <a:t> </a:t>
            </a:r>
            <a:r>
              <a:rPr lang="ru-RU" sz="2000" dirty="0" err="1"/>
              <a:t>қилиш</a:t>
            </a:r>
            <a:r>
              <a:rPr lang="ru-RU" sz="2000" dirty="0"/>
              <a:t> </a:t>
            </a:r>
            <a:r>
              <a:rPr lang="ru-RU" sz="2000" dirty="0" err="1"/>
              <a:t>соҳасидаги</a:t>
            </a:r>
            <a:r>
              <a:rPr lang="ru-RU" sz="2000" dirty="0"/>
              <a:t> </a:t>
            </a:r>
            <a:r>
              <a:rPr lang="ru-RU" sz="2000" dirty="0" err="1"/>
              <a:t>талабларни</a:t>
            </a:r>
            <a:r>
              <a:rPr lang="ru-RU" sz="2000" dirty="0"/>
              <a:t> </a:t>
            </a:r>
            <a:r>
              <a:rPr lang="ru-RU" sz="2000" dirty="0" err="1"/>
              <a:t>белгиловчи</a:t>
            </a:r>
            <a:r>
              <a:rPr lang="ru-RU" sz="2000" dirty="0"/>
              <a:t> Ўзбекистон </a:t>
            </a:r>
            <a:r>
              <a:rPr lang="ru-RU" sz="2000" dirty="0" err="1"/>
              <a:t>Республикаси</a:t>
            </a:r>
            <a:r>
              <a:rPr lang="ru-RU" sz="2000" dirty="0"/>
              <a:t> </a:t>
            </a:r>
            <a:r>
              <a:rPr lang="ru-RU" sz="2000" dirty="0" err="1"/>
              <a:t>қонунчилиги</a:t>
            </a:r>
            <a:endParaRPr lang="en-US" sz="2000" dirty="0"/>
          </a:p>
        </p:txBody>
      </p:sp>
      <p:sp>
        <p:nvSpPr>
          <p:cNvPr id="7" name="object 12">
            <a:extLst>
              <a:ext uri="{FF2B5EF4-FFF2-40B4-BE49-F238E27FC236}">
                <a16:creationId xmlns:a16="http://schemas.microsoft.com/office/drawing/2014/main" id="{4322FBFE-13D0-4488-B6BE-57F01016B908}"/>
              </a:ext>
            </a:extLst>
          </p:cNvPr>
          <p:cNvSpPr/>
          <p:nvPr/>
        </p:nvSpPr>
        <p:spPr>
          <a:xfrm>
            <a:off x="443225" y="1279607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20">
            <a:extLst>
              <a:ext uri="{FF2B5EF4-FFF2-40B4-BE49-F238E27FC236}">
                <a16:creationId xmlns:a16="http://schemas.microsoft.com/office/drawing/2014/main" id="{FE57EA77-41BF-4675-9E27-D895208D3E1E}"/>
              </a:ext>
            </a:extLst>
          </p:cNvPr>
          <p:cNvSpPr txBox="1"/>
          <p:nvPr/>
        </p:nvSpPr>
        <p:spPr>
          <a:xfrm>
            <a:off x="1223818" y="1282700"/>
            <a:ext cx="10524957" cy="147412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300"/>
              </a:spcAft>
            </a:pP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Ўзбекистон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Республикаси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Президентининг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«Ўзбекистон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Республикасида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коррупцияга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қарши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курашиш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тизимини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янада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такомиллаштириш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чора-тадбирлари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тўғрисида»ги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 27.05.2019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йилдаги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ПФ-5729-сон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Фармони</a:t>
            </a:r>
            <a:endParaRPr lang="ru-RU" sz="1600" b="1" spc="-20" dirty="0">
              <a:solidFill>
                <a:schemeClr val="bg2">
                  <a:lumMod val="25000"/>
                </a:schemeClr>
              </a:solidFill>
              <a:cs typeface="Arial"/>
            </a:endParaRPr>
          </a:p>
          <a:p>
            <a:pPr marL="184150" indent="-171450">
              <a:lnSpc>
                <a:spcPct val="100000"/>
              </a:lnSpc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spc="-20" dirty="0">
                <a:solidFill>
                  <a:schemeClr val="tx2"/>
                </a:solidFill>
                <a:cs typeface="Arial"/>
              </a:rPr>
              <a:t>Коррупцияга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«комплаенс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назорат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илиш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"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тизим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самарадорлиги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uz-Cyrl-UZ" sz="1400" spc="-20" dirty="0">
                <a:solidFill>
                  <a:schemeClr val="tx2"/>
                </a:solidFill>
                <a:cs typeface="Arial"/>
              </a:rPr>
              <a:t>мониторинг</a:t>
            </a:r>
            <a:r>
              <a:rPr lang="en-US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илиш</a:t>
            </a:r>
            <a:endParaRPr lang="ru-RU" sz="1400" spc="-20" dirty="0">
              <a:solidFill>
                <a:schemeClr val="tx2"/>
              </a:solidFill>
              <a:cs typeface="Arial"/>
            </a:endParaRPr>
          </a:p>
          <a:p>
            <a:pPr marL="184150" indent="-171450">
              <a:lnSpc>
                <a:spcPct val="100000"/>
              </a:lnSpc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spc="-20" dirty="0">
                <a:solidFill>
                  <a:schemeClr val="tx2"/>
                </a:solidFill>
                <a:cs typeface="Arial"/>
              </a:rPr>
              <a:t>Коррупцияга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кураш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дастурларининг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бажарилиш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устидан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ҳар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чоракд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uz-Cyrl-UZ" sz="1400" spc="-20" dirty="0">
                <a:solidFill>
                  <a:schemeClr val="tx2"/>
                </a:solidFill>
                <a:cs typeface="Arial"/>
              </a:rPr>
              <a:t>мониторинг</a:t>
            </a:r>
            <a:r>
              <a:rPr lang="en-US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олиб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бориш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коррупция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хавфи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минималлаштириш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чора-тадбирлари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ишлаб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чиқиш</a:t>
            </a:r>
            <a:endParaRPr lang="ru-RU" sz="1400" spc="-20" dirty="0">
              <a:solidFill>
                <a:schemeClr val="tx2"/>
              </a:solidFill>
              <a:cs typeface="Arial"/>
            </a:endParaRPr>
          </a:p>
        </p:txBody>
      </p:sp>
      <p:sp>
        <p:nvSpPr>
          <p:cNvPr id="9" name="object 12">
            <a:extLst>
              <a:ext uri="{FF2B5EF4-FFF2-40B4-BE49-F238E27FC236}">
                <a16:creationId xmlns:a16="http://schemas.microsoft.com/office/drawing/2014/main" id="{829B7788-4341-4115-9D33-318733E4C8F2}"/>
              </a:ext>
            </a:extLst>
          </p:cNvPr>
          <p:cNvSpPr/>
          <p:nvPr/>
        </p:nvSpPr>
        <p:spPr>
          <a:xfrm>
            <a:off x="443225" y="2745997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20">
            <a:extLst>
              <a:ext uri="{FF2B5EF4-FFF2-40B4-BE49-F238E27FC236}">
                <a16:creationId xmlns:a16="http://schemas.microsoft.com/office/drawing/2014/main" id="{484B8E45-E7E5-422E-AC41-C3E84C69C6F6}"/>
              </a:ext>
            </a:extLst>
          </p:cNvPr>
          <p:cNvSpPr txBox="1"/>
          <p:nvPr/>
        </p:nvSpPr>
        <p:spPr>
          <a:xfrm>
            <a:off x="1223818" y="2749090"/>
            <a:ext cx="10524957" cy="215892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300"/>
              </a:spcAft>
            </a:pP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Ўзбекистон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Республикаси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Президентининг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«Коррупцияга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қарши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курашиш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ишларининг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самарадорлигини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рейтинг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баҳолаш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тизимини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жорий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этиш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чора-тадбирлари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тўғрисида»ги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2022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йил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12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январдаги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ПҚ-81-сон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қарори</a:t>
            </a:r>
            <a:endParaRPr lang="ru-RU" sz="1600" b="1" spc="-20" dirty="0">
              <a:solidFill>
                <a:schemeClr val="bg2">
                  <a:lumMod val="25000"/>
                </a:schemeClr>
              </a:solidFill>
              <a:cs typeface="Arial"/>
            </a:endParaRPr>
          </a:p>
          <a:p>
            <a:pPr marL="184150" indent="-171450">
              <a:lnSpc>
                <a:spcPct val="100000"/>
              </a:lnSpc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uz-Cyrl-UZ" sz="1400" spc="-20" dirty="0">
                <a:solidFill>
                  <a:schemeClr val="tx2"/>
                </a:solidFill>
                <a:cs typeface="Arial"/>
              </a:rPr>
              <a:t>Ў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збекистон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Республикас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Коррупцияга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курашиш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агентлиг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томонидан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давлат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органларининг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, шу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жумладан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уйидаг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масалалар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бўйич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рейтинг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баҳолаш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ўтказиш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:</a:t>
            </a:r>
          </a:p>
          <a:p>
            <a:pPr marL="184150" indent="-171450">
              <a:lnSpc>
                <a:spcPct val="100000"/>
              </a:lnSpc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spc="-20" dirty="0">
                <a:solidFill>
                  <a:schemeClr val="tx2"/>
                </a:solidFill>
                <a:cs typeface="Arial"/>
              </a:rPr>
              <a:t>коррупцияга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курашиш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тартиб-таомиллар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самарадорлиги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монитринг</a:t>
            </a:r>
            <a:r>
              <a:rPr lang="en-US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илиш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назорат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илиш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режас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фаолияти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амалг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ошириш</a:t>
            </a:r>
            <a:endParaRPr lang="ru-RU" sz="1400" spc="-20" dirty="0">
              <a:solidFill>
                <a:schemeClr val="tx2"/>
              </a:solidFill>
              <a:cs typeface="Arial"/>
            </a:endParaRPr>
          </a:p>
          <a:p>
            <a:pPr marL="184150" indent="-171450">
              <a:lnSpc>
                <a:spcPct val="100000"/>
              </a:lnSpc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spc="-20" dirty="0">
                <a:solidFill>
                  <a:schemeClr val="tx2"/>
                </a:solidFill>
                <a:cs typeface="Arial"/>
              </a:rPr>
              <a:t>коррупцияга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назорат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илишнинг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тасдиқланган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нормалар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тартиб-таомиллар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бузилганлиг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фактлари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аниқлаш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(ички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идоравий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ҳужжатлар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кесимид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),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коррупциявий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ҳаракатлар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содир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этиш</a:t>
            </a:r>
            <a:endParaRPr lang="ru-RU" sz="1400" spc="-20" dirty="0">
              <a:solidFill>
                <a:schemeClr val="tx2"/>
              </a:solidFill>
              <a:cs typeface="Arial"/>
            </a:endParaRPr>
          </a:p>
        </p:txBody>
      </p:sp>
      <p:sp>
        <p:nvSpPr>
          <p:cNvPr id="12" name="object 20">
            <a:extLst>
              <a:ext uri="{FF2B5EF4-FFF2-40B4-BE49-F238E27FC236}">
                <a16:creationId xmlns:a16="http://schemas.microsoft.com/office/drawing/2014/main" id="{9EF96789-78A3-4241-95FE-433EDA6E40EF}"/>
              </a:ext>
            </a:extLst>
          </p:cNvPr>
          <p:cNvSpPr txBox="1"/>
          <p:nvPr/>
        </p:nvSpPr>
        <p:spPr>
          <a:xfrm>
            <a:off x="1269308" y="5008576"/>
            <a:ext cx="10524957" cy="143564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300"/>
              </a:spcAft>
            </a:pP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Коррупцияга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қарши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курашиш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агентлигининг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давлат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органлари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ва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ташкилотлари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,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уларнинг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ҳудудий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ва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таркибий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бўлинмаларида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коррупцияга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қарши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курашиш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тартиб-таомиллари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самарадорлигини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мониторинг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қилиш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ва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назорат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қилиш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методологиясига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оид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тавсиялари</a:t>
            </a:r>
            <a:r>
              <a:rPr lang="ru-RU" sz="16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.</a:t>
            </a:r>
          </a:p>
          <a:p>
            <a:pPr marL="184150" indent="-171450">
              <a:lnSpc>
                <a:spcPct val="100000"/>
              </a:lnSpc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spc="-20" dirty="0">
                <a:solidFill>
                  <a:schemeClr val="tx2"/>
                </a:solidFill>
                <a:cs typeface="Arial"/>
              </a:rPr>
              <a:t>Давлат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органлар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ташкилотларид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уларнинг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ҳудудий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таркибий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бўлинмаларид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коррупцияга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курашиш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тартиб-таомилларининг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самарадорлиги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uz-Cyrl-UZ" sz="1400" spc="-20" dirty="0">
                <a:solidFill>
                  <a:schemeClr val="tx2"/>
                </a:solidFill>
                <a:cs typeface="Arial"/>
              </a:rPr>
              <a:t>мониторинг</a:t>
            </a:r>
            <a:r>
              <a:rPr lang="en-US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илиш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назорат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илиш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тартиби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тартибг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солувч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ички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ҳужжат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жорий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этиш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.</a:t>
            </a:r>
          </a:p>
        </p:txBody>
      </p:sp>
      <p:grpSp>
        <p:nvGrpSpPr>
          <p:cNvPr id="13" name="Group 180">
            <a:extLst>
              <a:ext uri="{FF2B5EF4-FFF2-40B4-BE49-F238E27FC236}">
                <a16:creationId xmlns:a16="http://schemas.microsoft.com/office/drawing/2014/main" id="{8DD587FD-F1D7-4AED-BF09-87169E162E4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1831" y="1343813"/>
            <a:ext cx="441366" cy="546863"/>
            <a:chOff x="2296" y="232"/>
            <a:chExt cx="3100" cy="3841"/>
          </a:xfrm>
          <a:solidFill>
            <a:schemeClr val="bg2">
              <a:lumMod val="25000"/>
            </a:schemeClr>
          </a:solidFill>
        </p:grpSpPr>
        <p:sp>
          <p:nvSpPr>
            <p:cNvPr id="14" name="Freeform 181">
              <a:extLst>
                <a:ext uri="{FF2B5EF4-FFF2-40B4-BE49-F238E27FC236}">
                  <a16:creationId xmlns:a16="http://schemas.microsoft.com/office/drawing/2014/main" id="{C8C363E9-0595-4064-8979-1BDE30AD5E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6" y="232"/>
              <a:ext cx="2689" cy="3841"/>
            </a:xfrm>
            <a:custGeom>
              <a:avLst/>
              <a:gdLst>
                <a:gd name="T0" fmla="*/ 5333 w 5600"/>
                <a:gd name="T1" fmla="*/ 7733 h 8000"/>
                <a:gd name="T2" fmla="*/ 267 w 5600"/>
                <a:gd name="T3" fmla="*/ 7733 h 8000"/>
                <a:gd name="T4" fmla="*/ 267 w 5600"/>
                <a:gd name="T5" fmla="*/ 1600 h 8000"/>
                <a:gd name="T6" fmla="*/ 1600 w 5600"/>
                <a:gd name="T7" fmla="*/ 1600 h 8000"/>
                <a:gd name="T8" fmla="*/ 1600 w 5600"/>
                <a:gd name="T9" fmla="*/ 267 h 8000"/>
                <a:gd name="T10" fmla="*/ 5333 w 5600"/>
                <a:gd name="T11" fmla="*/ 267 h 8000"/>
                <a:gd name="T12" fmla="*/ 5333 w 5600"/>
                <a:gd name="T13" fmla="*/ 1600 h 8000"/>
                <a:gd name="T14" fmla="*/ 5600 w 5600"/>
                <a:gd name="T15" fmla="*/ 1600 h 8000"/>
                <a:gd name="T16" fmla="*/ 5600 w 5600"/>
                <a:gd name="T17" fmla="*/ 0 h 8000"/>
                <a:gd name="T18" fmla="*/ 1411 w 5600"/>
                <a:gd name="T19" fmla="*/ 0 h 8000"/>
                <a:gd name="T20" fmla="*/ 0 w 5600"/>
                <a:gd name="T21" fmla="*/ 1411 h 8000"/>
                <a:gd name="T22" fmla="*/ 0 w 5600"/>
                <a:gd name="T23" fmla="*/ 8000 h 8000"/>
                <a:gd name="T24" fmla="*/ 5600 w 5600"/>
                <a:gd name="T25" fmla="*/ 8000 h 8000"/>
                <a:gd name="T26" fmla="*/ 5600 w 5600"/>
                <a:gd name="T27" fmla="*/ 4133 h 8000"/>
                <a:gd name="T28" fmla="*/ 5333 w 5600"/>
                <a:gd name="T29" fmla="*/ 4133 h 8000"/>
                <a:gd name="T30" fmla="*/ 5333 w 5600"/>
                <a:gd name="T31" fmla="*/ 7733 h 8000"/>
                <a:gd name="T32" fmla="*/ 455 w 5600"/>
                <a:gd name="T33" fmla="*/ 1333 h 8000"/>
                <a:gd name="T34" fmla="*/ 1333 w 5600"/>
                <a:gd name="T35" fmla="*/ 455 h 8000"/>
                <a:gd name="T36" fmla="*/ 1333 w 5600"/>
                <a:gd name="T37" fmla="*/ 1333 h 8000"/>
                <a:gd name="T38" fmla="*/ 455 w 5600"/>
                <a:gd name="T39" fmla="*/ 1333 h 8000"/>
                <a:gd name="T40" fmla="*/ 455 w 5600"/>
                <a:gd name="T41" fmla="*/ 1333 h 8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600" h="8000">
                  <a:moveTo>
                    <a:pt x="5333" y="7733"/>
                  </a:moveTo>
                  <a:lnTo>
                    <a:pt x="267" y="7733"/>
                  </a:lnTo>
                  <a:lnTo>
                    <a:pt x="267" y="1600"/>
                  </a:lnTo>
                  <a:lnTo>
                    <a:pt x="1600" y="1600"/>
                  </a:lnTo>
                  <a:lnTo>
                    <a:pt x="1600" y="267"/>
                  </a:lnTo>
                  <a:lnTo>
                    <a:pt x="5333" y="267"/>
                  </a:lnTo>
                  <a:lnTo>
                    <a:pt x="5333" y="1600"/>
                  </a:lnTo>
                  <a:lnTo>
                    <a:pt x="5600" y="1600"/>
                  </a:lnTo>
                  <a:lnTo>
                    <a:pt x="5600" y="0"/>
                  </a:lnTo>
                  <a:lnTo>
                    <a:pt x="1411" y="0"/>
                  </a:lnTo>
                  <a:lnTo>
                    <a:pt x="0" y="1411"/>
                  </a:lnTo>
                  <a:lnTo>
                    <a:pt x="0" y="8000"/>
                  </a:lnTo>
                  <a:lnTo>
                    <a:pt x="5600" y="8000"/>
                  </a:lnTo>
                  <a:lnTo>
                    <a:pt x="5600" y="4133"/>
                  </a:lnTo>
                  <a:lnTo>
                    <a:pt x="5333" y="4133"/>
                  </a:lnTo>
                  <a:lnTo>
                    <a:pt x="5333" y="7733"/>
                  </a:lnTo>
                  <a:close/>
                  <a:moveTo>
                    <a:pt x="455" y="1333"/>
                  </a:moveTo>
                  <a:lnTo>
                    <a:pt x="1333" y="455"/>
                  </a:lnTo>
                  <a:lnTo>
                    <a:pt x="1333" y="1333"/>
                  </a:lnTo>
                  <a:lnTo>
                    <a:pt x="455" y="1333"/>
                  </a:lnTo>
                  <a:close/>
                  <a:moveTo>
                    <a:pt x="455" y="1333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82">
              <a:extLst>
                <a:ext uri="{FF2B5EF4-FFF2-40B4-BE49-F238E27FC236}">
                  <a16:creationId xmlns:a16="http://schemas.microsoft.com/office/drawing/2014/main" id="{EBB8AF4D-FCF8-4AD1-B936-01C0B13B7F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7" y="969"/>
              <a:ext cx="1619" cy="2560"/>
            </a:xfrm>
            <a:custGeom>
              <a:avLst/>
              <a:gdLst>
                <a:gd name="T0" fmla="*/ 3115 w 3372"/>
                <a:gd name="T1" fmla="*/ 68 h 5331"/>
                <a:gd name="T2" fmla="*/ 2811 w 3372"/>
                <a:gd name="T3" fmla="*/ 28 h 5331"/>
                <a:gd name="T4" fmla="*/ 2568 w 3372"/>
                <a:gd name="T5" fmla="*/ 215 h 5331"/>
                <a:gd name="T6" fmla="*/ 2177 w 3372"/>
                <a:gd name="T7" fmla="*/ 892 h 5331"/>
                <a:gd name="T8" fmla="*/ 1888 w 3372"/>
                <a:gd name="T9" fmla="*/ 725 h 5331"/>
                <a:gd name="T10" fmla="*/ 1355 w 3372"/>
                <a:gd name="T11" fmla="*/ 1649 h 5331"/>
                <a:gd name="T12" fmla="*/ 1586 w 3372"/>
                <a:gd name="T13" fmla="*/ 1782 h 5331"/>
                <a:gd name="T14" fmla="*/ 1986 w 3372"/>
                <a:gd name="T15" fmla="*/ 1089 h 5331"/>
                <a:gd name="T16" fmla="*/ 2044 w 3372"/>
                <a:gd name="T17" fmla="*/ 1122 h 5331"/>
                <a:gd name="T18" fmla="*/ 168 w 3372"/>
                <a:gd name="T19" fmla="*/ 4371 h 5331"/>
                <a:gd name="T20" fmla="*/ 212 w 3372"/>
                <a:gd name="T21" fmla="*/ 4829 h 5331"/>
                <a:gd name="T22" fmla="*/ 0 w 3372"/>
                <a:gd name="T23" fmla="*/ 5197 h 5331"/>
                <a:gd name="T24" fmla="*/ 230 w 3372"/>
                <a:gd name="T25" fmla="*/ 5331 h 5331"/>
                <a:gd name="T26" fmla="*/ 444 w 3372"/>
                <a:gd name="T27" fmla="*/ 4962 h 5331"/>
                <a:gd name="T28" fmla="*/ 515 w 3372"/>
                <a:gd name="T29" fmla="*/ 4971 h 5331"/>
                <a:gd name="T30" fmla="*/ 861 w 3372"/>
                <a:gd name="T31" fmla="*/ 4771 h 5331"/>
                <a:gd name="T32" fmla="*/ 3261 w 3372"/>
                <a:gd name="T33" fmla="*/ 614 h 5331"/>
                <a:gd name="T34" fmla="*/ 3115 w 3372"/>
                <a:gd name="T35" fmla="*/ 68 h 5331"/>
                <a:gd name="T36" fmla="*/ 2733 w 3372"/>
                <a:gd name="T37" fmla="*/ 463 h 5331"/>
                <a:gd name="T38" fmla="*/ 2800 w 3372"/>
                <a:gd name="T39" fmla="*/ 348 h 5331"/>
                <a:gd name="T40" fmla="*/ 2981 w 3372"/>
                <a:gd name="T41" fmla="*/ 300 h 5331"/>
                <a:gd name="T42" fmla="*/ 3030 w 3372"/>
                <a:gd name="T43" fmla="*/ 481 h 5331"/>
                <a:gd name="T44" fmla="*/ 2964 w 3372"/>
                <a:gd name="T45" fmla="*/ 596 h 5331"/>
                <a:gd name="T46" fmla="*/ 2733 w 3372"/>
                <a:gd name="T47" fmla="*/ 463 h 5331"/>
                <a:gd name="T48" fmla="*/ 2830 w 3372"/>
                <a:gd name="T49" fmla="*/ 827 h 5331"/>
                <a:gd name="T50" fmla="*/ 630 w 3372"/>
                <a:gd name="T51" fmla="*/ 4637 h 5331"/>
                <a:gd name="T52" fmla="*/ 449 w 3372"/>
                <a:gd name="T53" fmla="*/ 4685 h 5331"/>
                <a:gd name="T54" fmla="*/ 400 w 3372"/>
                <a:gd name="T55" fmla="*/ 4504 h 5331"/>
                <a:gd name="T56" fmla="*/ 2600 w 3372"/>
                <a:gd name="T57" fmla="*/ 693 h 5331"/>
                <a:gd name="T58" fmla="*/ 2830 w 3372"/>
                <a:gd name="T59" fmla="*/ 827 h 5331"/>
                <a:gd name="T60" fmla="*/ 2830 w 3372"/>
                <a:gd name="T61" fmla="*/ 827 h 5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372" h="5331">
                  <a:moveTo>
                    <a:pt x="3115" y="68"/>
                  </a:moveTo>
                  <a:cubicBezTo>
                    <a:pt x="3023" y="15"/>
                    <a:pt x="2914" y="0"/>
                    <a:pt x="2811" y="28"/>
                  </a:cubicBezTo>
                  <a:cubicBezTo>
                    <a:pt x="2709" y="55"/>
                    <a:pt x="2621" y="123"/>
                    <a:pt x="2568" y="215"/>
                  </a:cubicBezTo>
                  <a:lnTo>
                    <a:pt x="2177" y="892"/>
                  </a:lnTo>
                  <a:lnTo>
                    <a:pt x="1888" y="725"/>
                  </a:lnTo>
                  <a:lnTo>
                    <a:pt x="1355" y="1649"/>
                  </a:lnTo>
                  <a:lnTo>
                    <a:pt x="1586" y="1782"/>
                  </a:lnTo>
                  <a:lnTo>
                    <a:pt x="1986" y="1089"/>
                  </a:lnTo>
                  <a:lnTo>
                    <a:pt x="2044" y="1122"/>
                  </a:lnTo>
                  <a:lnTo>
                    <a:pt x="168" y="4371"/>
                  </a:lnTo>
                  <a:cubicBezTo>
                    <a:pt x="85" y="4517"/>
                    <a:pt x="102" y="4701"/>
                    <a:pt x="212" y="4829"/>
                  </a:cubicBezTo>
                  <a:lnTo>
                    <a:pt x="0" y="5197"/>
                  </a:lnTo>
                  <a:lnTo>
                    <a:pt x="230" y="5331"/>
                  </a:lnTo>
                  <a:lnTo>
                    <a:pt x="444" y="4962"/>
                  </a:lnTo>
                  <a:cubicBezTo>
                    <a:pt x="467" y="4967"/>
                    <a:pt x="491" y="4970"/>
                    <a:pt x="515" y="4971"/>
                  </a:cubicBezTo>
                  <a:cubicBezTo>
                    <a:pt x="658" y="4971"/>
                    <a:pt x="790" y="4895"/>
                    <a:pt x="861" y="4771"/>
                  </a:cubicBezTo>
                  <a:lnTo>
                    <a:pt x="3261" y="614"/>
                  </a:lnTo>
                  <a:cubicBezTo>
                    <a:pt x="3372" y="423"/>
                    <a:pt x="3306" y="178"/>
                    <a:pt x="3115" y="68"/>
                  </a:cubicBezTo>
                  <a:close/>
                  <a:moveTo>
                    <a:pt x="2733" y="463"/>
                  </a:moveTo>
                  <a:lnTo>
                    <a:pt x="2800" y="348"/>
                  </a:lnTo>
                  <a:cubicBezTo>
                    <a:pt x="2837" y="284"/>
                    <a:pt x="2918" y="263"/>
                    <a:pt x="2981" y="300"/>
                  </a:cubicBezTo>
                  <a:cubicBezTo>
                    <a:pt x="3045" y="336"/>
                    <a:pt x="3067" y="417"/>
                    <a:pt x="3030" y="481"/>
                  </a:cubicBezTo>
                  <a:lnTo>
                    <a:pt x="2964" y="596"/>
                  </a:lnTo>
                  <a:lnTo>
                    <a:pt x="2733" y="463"/>
                  </a:lnTo>
                  <a:close/>
                  <a:moveTo>
                    <a:pt x="2830" y="827"/>
                  </a:moveTo>
                  <a:lnTo>
                    <a:pt x="630" y="4637"/>
                  </a:lnTo>
                  <a:cubicBezTo>
                    <a:pt x="593" y="4701"/>
                    <a:pt x="512" y="4722"/>
                    <a:pt x="449" y="4685"/>
                  </a:cubicBezTo>
                  <a:cubicBezTo>
                    <a:pt x="385" y="4649"/>
                    <a:pt x="363" y="4568"/>
                    <a:pt x="400" y="4504"/>
                  </a:cubicBezTo>
                  <a:lnTo>
                    <a:pt x="2600" y="693"/>
                  </a:lnTo>
                  <a:lnTo>
                    <a:pt x="2830" y="827"/>
                  </a:lnTo>
                  <a:close/>
                  <a:moveTo>
                    <a:pt x="2830" y="827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83">
              <a:extLst>
                <a:ext uri="{FF2B5EF4-FFF2-40B4-BE49-F238E27FC236}">
                  <a16:creationId xmlns:a16="http://schemas.microsoft.com/office/drawing/2014/main" id="{EE34E17B-454B-4177-98DC-583FBCE830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8" y="3433"/>
              <a:ext cx="896" cy="128"/>
            </a:xfrm>
            <a:custGeom>
              <a:avLst/>
              <a:gdLst>
                <a:gd name="T0" fmla="*/ 0 w 1866"/>
                <a:gd name="T1" fmla="*/ 0 h 266"/>
                <a:gd name="T2" fmla="*/ 1866 w 1866"/>
                <a:gd name="T3" fmla="*/ 0 h 266"/>
                <a:gd name="T4" fmla="*/ 1866 w 1866"/>
                <a:gd name="T5" fmla="*/ 266 h 266"/>
                <a:gd name="T6" fmla="*/ 0 w 1866"/>
                <a:gd name="T7" fmla="*/ 266 h 266"/>
                <a:gd name="T8" fmla="*/ 0 w 1866"/>
                <a:gd name="T9" fmla="*/ 0 h 266"/>
                <a:gd name="T10" fmla="*/ 0 w 1866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66" h="266">
                  <a:moveTo>
                    <a:pt x="0" y="0"/>
                  </a:moveTo>
                  <a:lnTo>
                    <a:pt x="1866" y="0"/>
                  </a:lnTo>
                  <a:lnTo>
                    <a:pt x="1866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84">
              <a:extLst>
                <a:ext uri="{FF2B5EF4-FFF2-40B4-BE49-F238E27FC236}">
                  <a16:creationId xmlns:a16="http://schemas.microsoft.com/office/drawing/2014/main" id="{3C15B1C0-5C66-4E72-A9CF-55D2B9571C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8" y="2921"/>
              <a:ext cx="961" cy="128"/>
            </a:xfrm>
            <a:custGeom>
              <a:avLst/>
              <a:gdLst>
                <a:gd name="T0" fmla="*/ 0 w 2000"/>
                <a:gd name="T1" fmla="*/ 0 h 267"/>
                <a:gd name="T2" fmla="*/ 2000 w 2000"/>
                <a:gd name="T3" fmla="*/ 0 h 267"/>
                <a:gd name="T4" fmla="*/ 2000 w 2000"/>
                <a:gd name="T5" fmla="*/ 267 h 267"/>
                <a:gd name="T6" fmla="*/ 0 w 2000"/>
                <a:gd name="T7" fmla="*/ 267 h 267"/>
                <a:gd name="T8" fmla="*/ 0 w 2000"/>
                <a:gd name="T9" fmla="*/ 0 h 267"/>
                <a:gd name="T10" fmla="*/ 0 w 2000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00" h="267">
                  <a:moveTo>
                    <a:pt x="0" y="0"/>
                  </a:moveTo>
                  <a:lnTo>
                    <a:pt x="2000" y="0"/>
                  </a:lnTo>
                  <a:lnTo>
                    <a:pt x="2000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85">
              <a:extLst>
                <a:ext uri="{FF2B5EF4-FFF2-40B4-BE49-F238E27FC236}">
                  <a16:creationId xmlns:a16="http://schemas.microsoft.com/office/drawing/2014/main" id="{3D864768-5860-4545-B317-9BBE995D79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8" y="2345"/>
              <a:ext cx="1280" cy="128"/>
            </a:xfrm>
            <a:custGeom>
              <a:avLst/>
              <a:gdLst>
                <a:gd name="T0" fmla="*/ 0 w 2666"/>
                <a:gd name="T1" fmla="*/ 0 h 267"/>
                <a:gd name="T2" fmla="*/ 2666 w 2666"/>
                <a:gd name="T3" fmla="*/ 0 h 267"/>
                <a:gd name="T4" fmla="*/ 2666 w 2666"/>
                <a:gd name="T5" fmla="*/ 267 h 267"/>
                <a:gd name="T6" fmla="*/ 0 w 2666"/>
                <a:gd name="T7" fmla="*/ 267 h 267"/>
                <a:gd name="T8" fmla="*/ 0 w 2666"/>
                <a:gd name="T9" fmla="*/ 0 h 267"/>
                <a:gd name="T10" fmla="*/ 0 w 2666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6" h="267">
                  <a:moveTo>
                    <a:pt x="0" y="0"/>
                  </a:moveTo>
                  <a:lnTo>
                    <a:pt x="2666" y="0"/>
                  </a:lnTo>
                  <a:lnTo>
                    <a:pt x="2666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6">
              <a:extLst>
                <a:ext uri="{FF2B5EF4-FFF2-40B4-BE49-F238E27FC236}">
                  <a16:creationId xmlns:a16="http://schemas.microsoft.com/office/drawing/2014/main" id="{DF54C33A-AC3B-48F4-873A-FE121D7538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8" y="1832"/>
              <a:ext cx="1537" cy="129"/>
            </a:xfrm>
            <a:custGeom>
              <a:avLst/>
              <a:gdLst>
                <a:gd name="T0" fmla="*/ 0 w 3200"/>
                <a:gd name="T1" fmla="*/ 0 h 267"/>
                <a:gd name="T2" fmla="*/ 3200 w 3200"/>
                <a:gd name="T3" fmla="*/ 0 h 267"/>
                <a:gd name="T4" fmla="*/ 3200 w 3200"/>
                <a:gd name="T5" fmla="*/ 267 h 267"/>
                <a:gd name="T6" fmla="*/ 0 w 3200"/>
                <a:gd name="T7" fmla="*/ 267 h 267"/>
                <a:gd name="T8" fmla="*/ 0 w 3200"/>
                <a:gd name="T9" fmla="*/ 0 h 267"/>
                <a:gd name="T10" fmla="*/ 0 w 3200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00" h="267">
                  <a:moveTo>
                    <a:pt x="0" y="0"/>
                  </a:moveTo>
                  <a:lnTo>
                    <a:pt x="3200" y="0"/>
                  </a:lnTo>
                  <a:lnTo>
                    <a:pt x="3200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87">
              <a:extLst>
                <a:ext uri="{FF2B5EF4-FFF2-40B4-BE49-F238E27FC236}">
                  <a16:creationId xmlns:a16="http://schemas.microsoft.com/office/drawing/2014/main" id="{18B4D524-B47E-4610-82E2-4FB1939FDB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8" y="1384"/>
              <a:ext cx="1665" cy="129"/>
            </a:xfrm>
            <a:custGeom>
              <a:avLst/>
              <a:gdLst>
                <a:gd name="T0" fmla="*/ 0 w 3466"/>
                <a:gd name="T1" fmla="*/ 0 h 267"/>
                <a:gd name="T2" fmla="*/ 3466 w 3466"/>
                <a:gd name="T3" fmla="*/ 0 h 267"/>
                <a:gd name="T4" fmla="*/ 3466 w 3466"/>
                <a:gd name="T5" fmla="*/ 267 h 267"/>
                <a:gd name="T6" fmla="*/ 0 w 3466"/>
                <a:gd name="T7" fmla="*/ 267 h 267"/>
                <a:gd name="T8" fmla="*/ 0 w 3466"/>
                <a:gd name="T9" fmla="*/ 0 h 267"/>
                <a:gd name="T10" fmla="*/ 0 w 3466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66" h="267">
                  <a:moveTo>
                    <a:pt x="0" y="0"/>
                  </a:moveTo>
                  <a:lnTo>
                    <a:pt x="3466" y="0"/>
                  </a:lnTo>
                  <a:lnTo>
                    <a:pt x="3466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" name="Group 180">
            <a:extLst>
              <a:ext uri="{FF2B5EF4-FFF2-40B4-BE49-F238E27FC236}">
                <a16:creationId xmlns:a16="http://schemas.microsoft.com/office/drawing/2014/main" id="{92F5541E-8498-431C-A966-64CE0924BDD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1831" y="2815478"/>
            <a:ext cx="441366" cy="546863"/>
            <a:chOff x="2296" y="232"/>
            <a:chExt cx="3100" cy="3841"/>
          </a:xfrm>
          <a:solidFill>
            <a:schemeClr val="bg2">
              <a:lumMod val="25000"/>
            </a:schemeClr>
          </a:solidFill>
        </p:grpSpPr>
        <p:sp>
          <p:nvSpPr>
            <p:cNvPr id="22" name="Freeform 181">
              <a:extLst>
                <a:ext uri="{FF2B5EF4-FFF2-40B4-BE49-F238E27FC236}">
                  <a16:creationId xmlns:a16="http://schemas.microsoft.com/office/drawing/2014/main" id="{49A1FD9F-3B45-4E95-9D20-F041CB49A4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6" y="232"/>
              <a:ext cx="2689" cy="3841"/>
            </a:xfrm>
            <a:custGeom>
              <a:avLst/>
              <a:gdLst>
                <a:gd name="T0" fmla="*/ 5333 w 5600"/>
                <a:gd name="T1" fmla="*/ 7733 h 8000"/>
                <a:gd name="T2" fmla="*/ 267 w 5600"/>
                <a:gd name="T3" fmla="*/ 7733 h 8000"/>
                <a:gd name="T4" fmla="*/ 267 w 5600"/>
                <a:gd name="T5" fmla="*/ 1600 h 8000"/>
                <a:gd name="T6" fmla="*/ 1600 w 5600"/>
                <a:gd name="T7" fmla="*/ 1600 h 8000"/>
                <a:gd name="T8" fmla="*/ 1600 w 5600"/>
                <a:gd name="T9" fmla="*/ 267 h 8000"/>
                <a:gd name="T10" fmla="*/ 5333 w 5600"/>
                <a:gd name="T11" fmla="*/ 267 h 8000"/>
                <a:gd name="T12" fmla="*/ 5333 w 5600"/>
                <a:gd name="T13" fmla="*/ 1600 h 8000"/>
                <a:gd name="T14" fmla="*/ 5600 w 5600"/>
                <a:gd name="T15" fmla="*/ 1600 h 8000"/>
                <a:gd name="T16" fmla="*/ 5600 w 5600"/>
                <a:gd name="T17" fmla="*/ 0 h 8000"/>
                <a:gd name="T18" fmla="*/ 1411 w 5600"/>
                <a:gd name="T19" fmla="*/ 0 h 8000"/>
                <a:gd name="T20" fmla="*/ 0 w 5600"/>
                <a:gd name="T21" fmla="*/ 1411 h 8000"/>
                <a:gd name="T22" fmla="*/ 0 w 5600"/>
                <a:gd name="T23" fmla="*/ 8000 h 8000"/>
                <a:gd name="T24" fmla="*/ 5600 w 5600"/>
                <a:gd name="T25" fmla="*/ 8000 h 8000"/>
                <a:gd name="T26" fmla="*/ 5600 w 5600"/>
                <a:gd name="T27" fmla="*/ 4133 h 8000"/>
                <a:gd name="T28" fmla="*/ 5333 w 5600"/>
                <a:gd name="T29" fmla="*/ 4133 h 8000"/>
                <a:gd name="T30" fmla="*/ 5333 w 5600"/>
                <a:gd name="T31" fmla="*/ 7733 h 8000"/>
                <a:gd name="T32" fmla="*/ 455 w 5600"/>
                <a:gd name="T33" fmla="*/ 1333 h 8000"/>
                <a:gd name="T34" fmla="*/ 1333 w 5600"/>
                <a:gd name="T35" fmla="*/ 455 h 8000"/>
                <a:gd name="T36" fmla="*/ 1333 w 5600"/>
                <a:gd name="T37" fmla="*/ 1333 h 8000"/>
                <a:gd name="T38" fmla="*/ 455 w 5600"/>
                <a:gd name="T39" fmla="*/ 1333 h 8000"/>
                <a:gd name="T40" fmla="*/ 455 w 5600"/>
                <a:gd name="T41" fmla="*/ 1333 h 8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600" h="8000">
                  <a:moveTo>
                    <a:pt x="5333" y="7733"/>
                  </a:moveTo>
                  <a:lnTo>
                    <a:pt x="267" y="7733"/>
                  </a:lnTo>
                  <a:lnTo>
                    <a:pt x="267" y="1600"/>
                  </a:lnTo>
                  <a:lnTo>
                    <a:pt x="1600" y="1600"/>
                  </a:lnTo>
                  <a:lnTo>
                    <a:pt x="1600" y="267"/>
                  </a:lnTo>
                  <a:lnTo>
                    <a:pt x="5333" y="267"/>
                  </a:lnTo>
                  <a:lnTo>
                    <a:pt x="5333" y="1600"/>
                  </a:lnTo>
                  <a:lnTo>
                    <a:pt x="5600" y="1600"/>
                  </a:lnTo>
                  <a:lnTo>
                    <a:pt x="5600" y="0"/>
                  </a:lnTo>
                  <a:lnTo>
                    <a:pt x="1411" y="0"/>
                  </a:lnTo>
                  <a:lnTo>
                    <a:pt x="0" y="1411"/>
                  </a:lnTo>
                  <a:lnTo>
                    <a:pt x="0" y="8000"/>
                  </a:lnTo>
                  <a:lnTo>
                    <a:pt x="5600" y="8000"/>
                  </a:lnTo>
                  <a:lnTo>
                    <a:pt x="5600" y="4133"/>
                  </a:lnTo>
                  <a:lnTo>
                    <a:pt x="5333" y="4133"/>
                  </a:lnTo>
                  <a:lnTo>
                    <a:pt x="5333" y="7733"/>
                  </a:lnTo>
                  <a:close/>
                  <a:moveTo>
                    <a:pt x="455" y="1333"/>
                  </a:moveTo>
                  <a:lnTo>
                    <a:pt x="1333" y="455"/>
                  </a:lnTo>
                  <a:lnTo>
                    <a:pt x="1333" y="1333"/>
                  </a:lnTo>
                  <a:lnTo>
                    <a:pt x="455" y="1333"/>
                  </a:lnTo>
                  <a:close/>
                  <a:moveTo>
                    <a:pt x="455" y="1333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82">
              <a:extLst>
                <a:ext uri="{FF2B5EF4-FFF2-40B4-BE49-F238E27FC236}">
                  <a16:creationId xmlns:a16="http://schemas.microsoft.com/office/drawing/2014/main" id="{7AD8FEF2-0C61-4E3F-9A4D-A796475B45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7" y="969"/>
              <a:ext cx="1619" cy="2560"/>
            </a:xfrm>
            <a:custGeom>
              <a:avLst/>
              <a:gdLst>
                <a:gd name="T0" fmla="*/ 3115 w 3372"/>
                <a:gd name="T1" fmla="*/ 68 h 5331"/>
                <a:gd name="T2" fmla="*/ 2811 w 3372"/>
                <a:gd name="T3" fmla="*/ 28 h 5331"/>
                <a:gd name="T4" fmla="*/ 2568 w 3372"/>
                <a:gd name="T5" fmla="*/ 215 h 5331"/>
                <a:gd name="T6" fmla="*/ 2177 w 3372"/>
                <a:gd name="T7" fmla="*/ 892 h 5331"/>
                <a:gd name="T8" fmla="*/ 1888 w 3372"/>
                <a:gd name="T9" fmla="*/ 725 h 5331"/>
                <a:gd name="T10" fmla="*/ 1355 w 3372"/>
                <a:gd name="T11" fmla="*/ 1649 h 5331"/>
                <a:gd name="T12" fmla="*/ 1586 w 3372"/>
                <a:gd name="T13" fmla="*/ 1782 h 5331"/>
                <a:gd name="T14" fmla="*/ 1986 w 3372"/>
                <a:gd name="T15" fmla="*/ 1089 h 5331"/>
                <a:gd name="T16" fmla="*/ 2044 w 3372"/>
                <a:gd name="T17" fmla="*/ 1122 h 5331"/>
                <a:gd name="T18" fmla="*/ 168 w 3372"/>
                <a:gd name="T19" fmla="*/ 4371 h 5331"/>
                <a:gd name="T20" fmla="*/ 212 w 3372"/>
                <a:gd name="T21" fmla="*/ 4829 h 5331"/>
                <a:gd name="T22" fmla="*/ 0 w 3372"/>
                <a:gd name="T23" fmla="*/ 5197 h 5331"/>
                <a:gd name="T24" fmla="*/ 230 w 3372"/>
                <a:gd name="T25" fmla="*/ 5331 h 5331"/>
                <a:gd name="T26" fmla="*/ 444 w 3372"/>
                <a:gd name="T27" fmla="*/ 4962 h 5331"/>
                <a:gd name="T28" fmla="*/ 515 w 3372"/>
                <a:gd name="T29" fmla="*/ 4971 h 5331"/>
                <a:gd name="T30" fmla="*/ 861 w 3372"/>
                <a:gd name="T31" fmla="*/ 4771 h 5331"/>
                <a:gd name="T32" fmla="*/ 3261 w 3372"/>
                <a:gd name="T33" fmla="*/ 614 h 5331"/>
                <a:gd name="T34" fmla="*/ 3115 w 3372"/>
                <a:gd name="T35" fmla="*/ 68 h 5331"/>
                <a:gd name="T36" fmla="*/ 2733 w 3372"/>
                <a:gd name="T37" fmla="*/ 463 h 5331"/>
                <a:gd name="T38" fmla="*/ 2800 w 3372"/>
                <a:gd name="T39" fmla="*/ 348 h 5331"/>
                <a:gd name="T40" fmla="*/ 2981 w 3372"/>
                <a:gd name="T41" fmla="*/ 300 h 5331"/>
                <a:gd name="T42" fmla="*/ 3030 w 3372"/>
                <a:gd name="T43" fmla="*/ 481 h 5331"/>
                <a:gd name="T44" fmla="*/ 2964 w 3372"/>
                <a:gd name="T45" fmla="*/ 596 h 5331"/>
                <a:gd name="T46" fmla="*/ 2733 w 3372"/>
                <a:gd name="T47" fmla="*/ 463 h 5331"/>
                <a:gd name="T48" fmla="*/ 2830 w 3372"/>
                <a:gd name="T49" fmla="*/ 827 h 5331"/>
                <a:gd name="T50" fmla="*/ 630 w 3372"/>
                <a:gd name="T51" fmla="*/ 4637 h 5331"/>
                <a:gd name="T52" fmla="*/ 449 w 3372"/>
                <a:gd name="T53" fmla="*/ 4685 h 5331"/>
                <a:gd name="T54" fmla="*/ 400 w 3372"/>
                <a:gd name="T55" fmla="*/ 4504 h 5331"/>
                <a:gd name="T56" fmla="*/ 2600 w 3372"/>
                <a:gd name="T57" fmla="*/ 693 h 5331"/>
                <a:gd name="T58" fmla="*/ 2830 w 3372"/>
                <a:gd name="T59" fmla="*/ 827 h 5331"/>
                <a:gd name="T60" fmla="*/ 2830 w 3372"/>
                <a:gd name="T61" fmla="*/ 827 h 5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372" h="5331">
                  <a:moveTo>
                    <a:pt x="3115" y="68"/>
                  </a:moveTo>
                  <a:cubicBezTo>
                    <a:pt x="3023" y="15"/>
                    <a:pt x="2914" y="0"/>
                    <a:pt x="2811" y="28"/>
                  </a:cubicBezTo>
                  <a:cubicBezTo>
                    <a:pt x="2709" y="55"/>
                    <a:pt x="2621" y="123"/>
                    <a:pt x="2568" y="215"/>
                  </a:cubicBezTo>
                  <a:lnTo>
                    <a:pt x="2177" y="892"/>
                  </a:lnTo>
                  <a:lnTo>
                    <a:pt x="1888" y="725"/>
                  </a:lnTo>
                  <a:lnTo>
                    <a:pt x="1355" y="1649"/>
                  </a:lnTo>
                  <a:lnTo>
                    <a:pt x="1586" y="1782"/>
                  </a:lnTo>
                  <a:lnTo>
                    <a:pt x="1986" y="1089"/>
                  </a:lnTo>
                  <a:lnTo>
                    <a:pt x="2044" y="1122"/>
                  </a:lnTo>
                  <a:lnTo>
                    <a:pt x="168" y="4371"/>
                  </a:lnTo>
                  <a:cubicBezTo>
                    <a:pt x="85" y="4517"/>
                    <a:pt x="102" y="4701"/>
                    <a:pt x="212" y="4829"/>
                  </a:cubicBezTo>
                  <a:lnTo>
                    <a:pt x="0" y="5197"/>
                  </a:lnTo>
                  <a:lnTo>
                    <a:pt x="230" y="5331"/>
                  </a:lnTo>
                  <a:lnTo>
                    <a:pt x="444" y="4962"/>
                  </a:lnTo>
                  <a:cubicBezTo>
                    <a:pt x="467" y="4967"/>
                    <a:pt x="491" y="4970"/>
                    <a:pt x="515" y="4971"/>
                  </a:cubicBezTo>
                  <a:cubicBezTo>
                    <a:pt x="658" y="4971"/>
                    <a:pt x="790" y="4895"/>
                    <a:pt x="861" y="4771"/>
                  </a:cubicBezTo>
                  <a:lnTo>
                    <a:pt x="3261" y="614"/>
                  </a:lnTo>
                  <a:cubicBezTo>
                    <a:pt x="3372" y="423"/>
                    <a:pt x="3306" y="178"/>
                    <a:pt x="3115" y="68"/>
                  </a:cubicBezTo>
                  <a:close/>
                  <a:moveTo>
                    <a:pt x="2733" y="463"/>
                  </a:moveTo>
                  <a:lnTo>
                    <a:pt x="2800" y="348"/>
                  </a:lnTo>
                  <a:cubicBezTo>
                    <a:pt x="2837" y="284"/>
                    <a:pt x="2918" y="263"/>
                    <a:pt x="2981" y="300"/>
                  </a:cubicBezTo>
                  <a:cubicBezTo>
                    <a:pt x="3045" y="336"/>
                    <a:pt x="3067" y="417"/>
                    <a:pt x="3030" y="481"/>
                  </a:cubicBezTo>
                  <a:lnTo>
                    <a:pt x="2964" y="596"/>
                  </a:lnTo>
                  <a:lnTo>
                    <a:pt x="2733" y="463"/>
                  </a:lnTo>
                  <a:close/>
                  <a:moveTo>
                    <a:pt x="2830" y="827"/>
                  </a:moveTo>
                  <a:lnTo>
                    <a:pt x="630" y="4637"/>
                  </a:lnTo>
                  <a:cubicBezTo>
                    <a:pt x="593" y="4701"/>
                    <a:pt x="512" y="4722"/>
                    <a:pt x="449" y="4685"/>
                  </a:cubicBezTo>
                  <a:cubicBezTo>
                    <a:pt x="385" y="4649"/>
                    <a:pt x="363" y="4568"/>
                    <a:pt x="400" y="4504"/>
                  </a:cubicBezTo>
                  <a:lnTo>
                    <a:pt x="2600" y="693"/>
                  </a:lnTo>
                  <a:lnTo>
                    <a:pt x="2830" y="827"/>
                  </a:lnTo>
                  <a:close/>
                  <a:moveTo>
                    <a:pt x="2830" y="827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83">
              <a:extLst>
                <a:ext uri="{FF2B5EF4-FFF2-40B4-BE49-F238E27FC236}">
                  <a16:creationId xmlns:a16="http://schemas.microsoft.com/office/drawing/2014/main" id="{0D6CEDA2-BF3E-4595-A06F-9BBA1FD89E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8" y="3433"/>
              <a:ext cx="896" cy="128"/>
            </a:xfrm>
            <a:custGeom>
              <a:avLst/>
              <a:gdLst>
                <a:gd name="T0" fmla="*/ 0 w 1866"/>
                <a:gd name="T1" fmla="*/ 0 h 266"/>
                <a:gd name="T2" fmla="*/ 1866 w 1866"/>
                <a:gd name="T3" fmla="*/ 0 h 266"/>
                <a:gd name="T4" fmla="*/ 1866 w 1866"/>
                <a:gd name="T5" fmla="*/ 266 h 266"/>
                <a:gd name="T6" fmla="*/ 0 w 1866"/>
                <a:gd name="T7" fmla="*/ 266 h 266"/>
                <a:gd name="T8" fmla="*/ 0 w 1866"/>
                <a:gd name="T9" fmla="*/ 0 h 266"/>
                <a:gd name="T10" fmla="*/ 0 w 1866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66" h="266">
                  <a:moveTo>
                    <a:pt x="0" y="0"/>
                  </a:moveTo>
                  <a:lnTo>
                    <a:pt x="1866" y="0"/>
                  </a:lnTo>
                  <a:lnTo>
                    <a:pt x="1866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84">
              <a:extLst>
                <a:ext uri="{FF2B5EF4-FFF2-40B4-BE49-F238E27FC236}">
                  <a16:creationId xmlns:a16="http://schemas.microsoft.com/office/drawing/2014/main" id="{47BF8AAF-41D0-4A06-9CFA-CA6BD58DC5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8" y="2921"/>
              <a:ext cx="961" cy="128"/>
            </a:xfrm>
            <a:custGeom>
              <a:avLst/>
              <a:gdLst>
                <a:gd name="T0" fmla="*/ 0 w 2000"/>
                <a:gd name="T1" fmla="*/ 0 h 267"/>
                <a:gd name="T2" fmla="*/ 2000 w 2000"/>
                <a:gd name="T3" fmla="*/ 0 h 267"/>
                <a:gd name="T4" fmla="*/ 2000 w 2000"/>
                <a:gd name="T5" fmla="*/ 267 h 267"/>
                <a:gd name="T6" fmla="*/ 0 w 2000"/>
                <a:gd name="T7" fmla="*/ 267 h 267"/>
                <a:gd name="T8" fmla="*/ 0 w 2000"/>
                <a:gd name="T9" fmla="*/ 0 h 267"/>
                <a:gd name="T10" fmla="*/ 0 w 2000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00" h="267">
                  <a:moveTo>
                    <a:pt x="0" y="0"/>
                  </a:moveTo>
                  <a:lnTo>
                    <a:pt x="2000" y="0"/>
                  </a:lnTo>
                  <a:lnTo>
                    <a:pt x="2000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5">
              <a:extLst>
                <a:ext uri="{FF2B5EF4-FFF2-40B4-BE49-F238E27FC236}">
                  <a16:creationId xmlns:a16="http://schemas.microsoft.com/office/drawing/2014/main" id="{A677DA92-29D7-4F0E-B488-F8C4A7D7F2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8" y="2345"/>
              <a:ext cx="1280" cy="128"/>
            </a:xfrm>
            <a:custGeom>
              <a:avLst/>
              <a:gdLst>
                <a:gd name="T0" fmla="*/ 0 w 2666"/>
                <a:gd name="T1" fmla="*/ 0 h 267"/>
                <a:gd name="T2" fmla="*/ 2666 w 2666"/>
                <a:gd name="T3" fmla="*/ 0 h 267"/>
                <a:gd name="T4" fmla="*/ 2666 w 2666"/>
                <a:gd name="T5" fmla="*/ 267 h 267"/>
                <a:gd name="T6" fmla="*/ 0 w 2666"/>
                <a:gd name="T7" fmla="*/ 267 h 267"/>
                <a:gd name="T8" fmla="*/ 0 w 2666"/>
                <a:gd name="T9" fmla="*/ 0 h 267"/>
                <a:gd name="T10" fmla="*/ 0 w 2666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6" h="267">
                  <a:moveTo>
                    <a:pt x="0" y="0"/>
                  </a:moveTo>
                  <a:lnTo>
                    <a:pt x="2666" y="0"/>
                  </a:lnTo>
                  <a:lnTo>
                    <a:pt x="2666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86">
              <a:extLst>
                <a:ext uri="{FF2B5EF4-FFF2-40B4-BE49-F238E27FC236}">
                  <a16:creationId xmlns:a16="http://schemas.microsoft.com/office/drawing/2014/main" id="{74F3B926-AAFA-4665-A3C3-66CCCBD4FD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8" y="1832"/>
              <a:ext cx="1537" cy="129"/>
            </a:xfrm>
            <a:custGeom>
              <a:avLst/>
              <a:gdLst>
                <a:gd name="T0" fmla="*/ 0 w 3200"/>
                <a:gd name="T1" fmla="*/ 0 h 267"/>
                <a:gd name="T2" fmla="*/ 3200 w 3200"/>
                <a:gd name="T3" fmla="*/ 0 h 267"/>
                <a:gd name="T4" fmla="*/ 3200 w 3200"/>
                <a:gd name="T5" fmla="*/ 267 h 267"/>
                <a:gd name="T6" fmla="*/ 0 w 3200"/>
                <a:gd name="T7" fmla="*/ 267 h 267"/>
                <a:gd name="T8" fmla="*/ 0 w 3200"/>
                <a:gd name="T9" fmla="*/ 0 h 267"/>
                <a:gd name="T10" fmla="*/ 0 w 3200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00" h="267">
                  <a:moveTo>
                    <a:pt x="0" y="0"/>
                  </a:moveTo>
                  <a:lnTo>
                    <a:pt x="3200" y="0"/>
                  </a:lnTo>
                  <a:lnTo>
                    <a:pt x="3200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87">
              <a:extLst>
                <a:ext uri="{FF2B5EF4-FFF2-40B4-BE49-F238E27FC236}">
                  <a16:creationId xmlns:a16="http://schemas.microsoft.com/office/drawing/2014/main" id="{1540A2C2-9812-498F-9959-67209C3D6B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8" y="1384"/>
              <a:ext cx="1665" cy="129"/>
            </a:xfrm>
            <a:custGeom>
              <a:avLst/>
              <a:gdLst>
                <a:gd name="T0" fmla="*/ 0 w 3466"/>
                <a:gd name="T1" fmla="*/ 0 h 267"/>
                <a:gd name="T2" fmla="*/ 3466 w 3466"/>
                <a:gd name="T3" fmla="*/ 0 h 267"/>
                <a:gd name="T4" fmla="*/ 3466 w 3466"/>
                <a:gd name="T5" fmla="*/ 267 h 267"/>
                <a:gd name="T6" fmla="*/ 0 w 3466"/>
                <a:gd name="T7" fmla="*/ 267 h 267"/>
                <a:gd name="T8" fmla="*/ 0 w 3466"/>
                <a:gd name="T9" fmla="*/ 0 h 267"/>
                <a:gd name="T10" fmla="*/ 0 w 3466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66" h="267">
                  <a:moveTo>
                    <a:pt x="0" y="0"/>
                  </a:moveTo>
                  <a:lnTo>
                    <a:pt x="3466" y="0"/>
                  </a:lnTo>
                  <a:lnTo>
                    <a:pt x="3466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" name="object 12">
            <a:extLst>
              <a:ext uri="{FF2B5EF4-FFF2-40B4-BE49-F238E27FC236}">
                <a16:creationId xmlns:a16="http://schemas.microsoft.com/office/drawing/2014/main" id="{973EE20D-28B8-4154-95CD-681FC5751153}"/>
              </a:ext>
            </a:extLst>
          </p:cNvPr>
          <p:cNvSpPr/>
          <p:nvPr/>
        </p:nvSpPr>
        <p:spPr>
          <a:xfrm>
            <a:off x="431999" y="485947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1" name="Group 180">
            <a:extLst>
              <a:ext uri="{FF2B5EF4-FFF2-40B4-BE49-F238E27FC236}">
                <a16:creationId xmlns:a16="http://schemas.microsoft.com/office/drawing/2014/main" id="{CC140D6E-299E-4990-9DB5-E359FED8B72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1831" y="4809549"/>
            <a:ext cx="441366" cy="546863"/>
            <a:chOff x="2296" y="232"/>
            <a:chExt cx="3100" cy="3841"/>
          </a:xfrm>
          <a:solidFill>
            <a:schemeClr val="bg2">
              <a:lumMod val="25000"/>
            </a:schemeClr>
          </a:solidFill>
        </p:grpSpPr>
        <p:sp>
          <p:nvSpPr>
            <p:cNvPr id="32" name="Freeform 181">
              <a:extLst>
                <a:ext uri="{FF2B5EF4-FFF2-40B4-BE49-F238E27FC236}">
                  <a16:creationId xmlns:a16="http://schemas.microsoft.com/office/drawing/2014/main" id="{7075CB59-EF20-4083-9EB6-326C77C364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6" y="232"/>
              <a:ext cx="2689" cy="3841"/>
            </a:xfrm>
            <a:custGeom>
              <a:avLst/>
              <a:gdLst>
                <a:gd name="T0" fmla="*/ 5333 w 5600"/>
                <a:gd name="T1" fmla="*/ 7733 h 8000"/>
                <a:gd name="T2" fmla="*/ 267 w 5600"/>
                <a:gd name="T3" fmla="*/ 7733 h 8000"/>
                <a:gd name="T4" fmla="*/ 267 w 5600"/>
                <a:gd name="T5" fmla="*/ 1600 h 8000"/>
                <a:gd name="T6" fmla="*/ 1600 w 5600"/>
                <a:gd name="T7" fmla="*/ 1600 h 8000"/>
                <a:gd name="T8" fmla="*/ 1600 w 5600"/>
                <a:gd name="T9" fmla="*/ 267 h 8000"/>
                <a:gd name="T10" fmla="*/ 5333 w 5600"/>
                <a:gd name="T11" fmla="*/ 267 h 8000"/>
                <a:gd name="T12" fmla="*/ 5333 w 5600"/>
                <a:gd name="T13" fmla="*/ 1600 h 8000"/>
                <a:gd name="T14" fmla="*/ 5600 w 5600"/>
                <a:gd name="T15" fmla="*/ 1600 h 8000"/>
                <a:gd name="T16" fmla="*/ 5600 w 5600"/>
                <a:gd name="T17" fmla="*/ 0 h 8000"/>
                <a:gd name="T18" fmla="*/ 1411 w 5600"/>
                <a:gd name="T19" fmla="*/ 0 h 8000"/>
                <a:gd name="T20" fmla="*/ 0 w 5600"/>
                <a:gd name="T21" fmla="*/ 1411 h 8000"/>
                <a:gd name="T22" fmla="*/ 0 w 5600"/>
                <a:gd name="T23" fmla="*/ 8000 h 8000"/>
                <a:gd name="T24" fmla="*/ 5600 w 5600"/>
                <a:gd name="T25" fmla="*/ 8000 h 8000"/>
                <a:gd name="T26" fmla="*/ 5600 w 5600"/>
                <a:gd name="T27" fmla="*/ 4133 h 8000"/>
                <a:gd name="T28" fmla="*/ 5333 w 5600"/>
                <a:gd name="T29" fmla="*/ 4133 h 8000"/>
                <a:gd name="T30" fmla="*/ 5333 w 5600"/>
                <a:gd name="T31" fmla="*/ 7733 h 8000"/>
                <a:gd name="T32" fmla="*/ 455 w 5600"/>
                <a:gd name="T33" fmla="*/ 1333 h 8000"/>
                <a:gd name="T34" fmla="*/ 1333 w 5600"/>
                <a:gd name="T35" fmla="*/ 455 h 8000"/>
                <a:gd name="T36" fmla="*/ 1333 w 5600"/>
                <a:gd name="T37" fmla="*/ 1333 h 8000"/>
                <a:gd name="T38" fmla="*/ 455 w 5600"/>
                <a:gd name="T39" fmla="*/ 1333 h 8000"/>
                <a:gd name="T40" fmla="*/ 455 w 5600"/>
                <a:gd name="T41" fmla="*/ 1333 h 8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600" h="8000">
                  <a:moveTo>
                    <a:pt x="5333" y="7733"/>
                  </a:moveTo>
                  <a:lnTo>
                    <a:pt x="267" y="7733"/>
                  </a:lnTo>
                  <a:lnTo>
                    <a:pt x="267" y="1600"/>
                  </a:lnTo>
                  <a:lnTo>
                    <a:pt x="1600" y="1600"/>
                  </a:lnTo>
                  <a:lnTo>
                    <a:pt x="1600" y="267"/>
                  </a:lnTo>
                  <a:lnTo>
                    <a:pt x="5333" y="267"/>
                  </a:lnTo>
                  <a:lnTo>
                    <a:pt x="5333" y="1600"/>
                  </a:lnTo>
                  <a:lnTo>
                    <a:pt x="5600" y="1600"/>
                  </a:lnTo>
                  <a:lnTo>
                    <a:pt x="5600" y="0"/>
                  </a:lnTo>
                  <a:lnTo>
                    <a:pt x="1411" y="0"/>
                  </a:lnTo>
                  <a:lnTo>
                    <a:pt x="0" y="1411"/>
                  </a:lnTo>
                  <a:lnTo>
                    <a:pt x="0" y="8000"/>
                  </a:lnTo>
                  <a:lnTo>
                    <a:pt x="5600" y="8000"/>
                  </a:lnTo>
                  <a:lnTo>
                    <a:pt x="5600" y="4133"/>
                  </a:lnTo>
                  <a:lnTo>
                    <a:pt x="5333" y="4133"/>
                  </a:lnTo>
                  <a:lnTo>
                    <a:pt x="5333" y="7733"/>
                  </a:lnTo>
                  <a:close/>
                  <a:moveTo>
                    <a:pt x="455" y="1333"/>
                  </a:moveTo>
                  <a:lnTo>
                    <a:pt x="1333" y="455"/>
                  </a:lnTo>
                  <a:lnTo>
                    <a:pt x="1333" y="1333"/>
                  </a:lnTo>
                  <a:lnTo>
                    <a:pt x="455" y="1333"/>
                  </a:lnTo>
                  <a:close/>
                  <a:moveTo>
                    <a:pt x="455" y="1333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82">
              <a:extLst>
                <a:ext uri="{FF2B5EF4-FFF2-40B4-BE49-F238E27FC236}">
                  <a16:creationId xmlns:a16="http://schemas.microsoft.com/office/drawing/2014/main" id="{342C5AE9-4EBD-46BB-ACC9-99A8D01AE7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7" y="969"/>
              <a:ext cx="1619" cy="2560"/>
            </a:xfrm>
            <a:custGeom>
              <a:avLst/>
              <a:gdLst>
                <a:gd name="T0" fmla="*/ 3115 w 3372"/>
                <a:gd name="T1" fmla="*/ 68 h 5331"/>
                <a:gd name="T2" fmla="*/ 2811 w 3372"/>
                <a:gd name="T3" fmla="*/ 28 h 5331"/>
                <a:gd name="T4" fmla="*/ 2568 w 3372"/>
                <a:gd name="T5" fmla="*/ 215 h 5331"/>
                <a:gd name="T6" fmla="*/ 2177 w 3372"/>
                <a:gd name="T7" fmla="*/ 892 h 5331"/>
                <a:gd name="T8" fmla="*/ 1888 w 3372"/>
                <a:gd name="T9" fmla="*/ 725 h 5331"/>
                <a:gd name="T10" fmla="*/ 1355 w 3372"/>
                <a:gd name="T11" fmla="*/ 1649 h 5331"/>
                <a:gd name="T12" fmla="*/ 1586 w 3372"/>
                <a:gd name="T13" fmla="*/ 1782 h 5331"/>
                <a:gd name="T14" fmla="*/ 1986 w 3372"/>
                <a:gd name="T15" fmla="*/ 1089 h 5331"/>
                <a:gd name="T16" fmla="*/ 2044 w 3372"/>
                <a:gd name="T17" fmla="*/ 1122 h 5331"/>
                <a:gd name="T18" fmla="*/ 168 w 3372"/>
                <a:gd name="T19" fmla="*/ 4371 h 5331"/>
                <a:gd name="T20" fmla="*/ 212 w 3372"/>
                <a:gd name="T21" fmla="*/ 4829 h 5331"/>
                <a:gd name="T22" fmla="*/ 0 w 3372"/>
                <a:gd name="T23" fmla="*/ 5197 h 5331"/>
                <a:gd name="T24" fmla="*/ 230 w 3372"/>
                <a:gd name="T25" fmla="*/ 5331 h 5331"/>
                <a:gd name="T26" fmla="*/ 444 w 3372"/>
                <a:gd name="T27" fmla="*/ 4962 h 5331"/>
                <a:gd name="T28" fmla="*/ 515 w 3372"/>
                <a:gd name="T29" fmla="*/ 4971 h 5331"/>
                <a:gd name="T30" fmla="*/ 861 w 3372"/>
                <a:gd name="T31" fmla="*/ 4771 h 5331"/>
                <a:gd name="T32" fmla="*/ 3261 w 3372"/>
                <a:gd name="T33" fmla="*/ 614 h 5331"/>
                <a:gd name="T34" fmla="*/ 3115 w 3372"/>
                <a:gd name="T35" fmla="*/ 68 h 5331"/>
                <a:gd name="T36" fmla="*/ 2733 w 3372"/>
                <a:gd name="T37" fmla="*/ 463 h 5331"/>
                <a:gd name="T38" fmla="*/ 2800 w 3372"/>
                <a:gd name="T39" fmla="*/ 348 h 5331"/>
                <a:gd name="T40" fmla="*/ 2981 w 3372"/>
                <a:gd name="T41" fmla="*/ 300 h 5331"/>
                <a:gd name="T42" fmla="*/ 3030 w 3372"/>
                <a:gd name="T43" fmla="*/ 481 h 5331"/>
                <a:gd name="T44" fmla="*/ 2964 w 3372"/>
                <a:gd name="T45" fmla="*/ 596 h 5331"/>
                <a:gd name="T46" fmla="*/ 2733 w 3372"/>
                <a:gd name="T47" fmla="*/ 463 h 5331"/>
                <a:gd name="T48" fmla="*/ 2830 w 3372"/>
                <a:gd name="T49" fmla="*/ 827 h 5331"/>
                <a:gd name="T50" fmla="*/ 630 w 3372"/>
                <a:gd name="T51" fmla="*/ 4637 h 5331"/>
                <a:gd name="T52" fmla="*/ 449 w 3372"/>
                <a:gd name="T53" fmla="*/ 4685 h 5331"/>
                <a:gd name="T54" fmla="*/ 400 w 3372"/>
                <a:gd name="T55" fmla="*/ 4504 h 5331"/>
                <a:gd name="T56" fmla="*/ 2600 w 3372"/>
                <a:gd name="T57" fmla="*/ 693 h 5331"/>
                <a:gd name="T58" fmla="*/ 2830 w 3372"/>
                <a:gd name="T59" fmla="*/ 827 h 5331"/>
                <a:gd name="T60" fmla="*/ 2830 w 3372"/>
                <a:gd name="T61" fmla="*/ 827 h 5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372" h="5331">
                  <a:moveTo>
                    <a:pt x="3115" y="68"/>
                  </a:moveTo>
                  <a:cubicBezTo>
                    <a:pt x="3023" y="15"/>
                    <a:pt x="2914" y="0"/>
                    <a:pt x="2811" y="28"/>
                  </a:cubicBezTo>
                  <a:cubicBezTo>
                    <a:pt x="2709" y="55"/>
                    <a:pt x="2621" y="123"/>
                    <a:pt x="2568" y="215"/>
                  </a:cubicBezTo>
                  <a:lnTo>
                    <a:pt x="2177" y="892"/>
                  </a:lnTo>
                  <a:lnTo>
                    <a:pt x="1888" y="725"/>
                  </a:lnTo>
                  <a:lnTo>
                    <a:pt x="1355" y="1649"/>
                  </a:lnTo>
                  <a:lnTo>
                    <a:pt x="1586" y="1782"/>
                  </a:lnTo>
                  <a:lnTo>
                    <a:pt x="1986" y="1089"/>
                  </a:lnTo>
                  <a:lnTo>
                    <a:pt x="2044" y="1122"/>
                  </a:lnTo>
                  <a:lnTo>
                    <a:pt x="168" y="4371"/>
                  </a:lnTo>
                  <a:cubicBezTo>
                    <a:pt x="85" y="4517"/>
                    <a:pt x="102" y="4701"/>
                    <a:pt x="212" y="4829"/>
                  </a:cubicBezTo>
                  <a:lnTo>
                    <a:pt x="0" y="5197"/>
                  </a:lnTo>
                  <a:lnTo>
                    <a:pt x="230" y="5331"/>
                  </a:lnTo>
                  <a:lnTo>
                    <a:pt x="444" y="4962"/>
                  </a:lnTo>
                  <a:cubicBezTo>
                    <a:pt x="467" y="4967"/>
                    <a:pt x="491" y="4970"/>
                    <a:pt x="515" y="4971"/>
                  </a:cubicBezTo>
                  <a:cubicBezTo>
                    <a:pt x="658" y="4971"/>
                    <a:pt x="790" y="4895"/>
                    <a:pt x="861" y="4771"/>
                  </a:cubicBezTo>
                  <a:lnTo>
                    <a:pt x="3261" y="614"/>
                  </a:lnTo>
                  <a:cubicBezTo>
                    <a:pt x="3372" y="423"/>
                    <a:pt x="3306" y="178"/>
                    <a:pt x="3115" y="68"/>
                  </a:cubicBezTo>
                  <a:close/>
                  <a:moveTo>
                    <a:pt x="2733" y="463"/>
                  </a:moveTo>
                  <a:lnTo>
                    <a:pt x="2800" y="348"/>
                  </a:lnTo>
                  <a:cubicBezTo>
                    <a:pt x="2837" y="284"/>
                    <a:pt x="2918" y="263"/>
                    <a:pt x="2981" y="300"/>
                  </a:cubicBezTo>
                  <a:cubicBezTo>
                    <a:pt x="3045" y="336"/>
                    <a:pt x="3067" y="417"/>
                    <a:pt x="3030" y="481"/>
                  </a:cubicBezTo>
                  <a:lnTo>
                    <a:pt x="2964" y="596"/>
                  </a:lnTo>
                  <a:lnTo>
                    <a:pt x="2733" y="463"/>
                  </a:lnTo>
                  <a:close/>
                  <a:moveTo>
                    <a:pt x="2830" y="827"/>
                  </a:moveTo>
                  <a:lnTo>
                    <a:pt x="630" y="4637"/>
                  </a:lnTo>
                  <a:cubicBezTo>
                    <a:pt x="593" y="4701"/>
                    <a:pt x="512" y="4722"/>
                    <a:pt x="449" y="4685"/>
                  </a:cubicBezTo>
                  <a:cubicBezTo>
                    <a:pt x="385" y="4649"/>
                    <a:pt x="363" y="4568"/>
                    <a:pt x="400" y="4504"/>
                  </a:cubicBezTo>
                  <a:lnTo>
                    <a:pt x="2600" y="693"/>
                  </a:lnTo>
                  <a:lnTo>
                    <a:pt x="2830" y="827"/>
                  </a:lnTo>
                  <a:close/>
                  <a:moveTo>
                    <a:pt x="2830" y="827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83">
              <a:extLst>
                <a:ext uri="{FF2B5EF4-FFF2-40B4-BE49-F238E27FC236}">
                  <a16:creationId xmlns:a16="http://schemas.microsoft.com/office/drawing/2014/main" id="{2911E0EC-B9DB-4D7D-9305-EBCA0F8DC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8" y="3433"/>
              <a:ext cx="896" cy="128"/>
            </a:xfrm>
            <a:custGeom>
              <a:avLst/>
              <a:gdLst>
                <a:gd name="T0" fmla="*/ 0 w 1866"/>
                <a:gd name="T1" fmla="*/ 0 h 266"/>
                <a:gd name="T2" fmla="*/ 1866 w 1866"/>
                <a:gd name="T3" fmla="*/ 0 h 266"/>
                <a:gd name="T4" fmla="*/ 1866 w 1866"/>
                <a:gd name="T5" fmla="*/ 266 h 266"/>
                <a:gd name="T6" fmla="*/ 0 w 1866"/>
                <a:gd name="T7" fmla="*/ 266 h 266"/>
                <a:gd name="T8" fmla="*/ 0 w 1866"/>
                <a:gd name="T9" fmla="*/ 0 h 266"/>
                <a:gd name="T10" fmla="*/ 0 w 1866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66" h="266">
                  <a:moveTo>
                    <a:pt x="0" y="0"/>
                  </a:moveTo>
                  <a:lnTo>
                    <a:pt x="1866" y="0"/>
                  </a:lnTo>
                  <a:lnTo>
                    <a:pt x="1866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84">
              <a:extLst>
                <a:ext uri="{FF2B5EF4-FFF2-40B4-BE49-F238E27FC236}">
                  <a16:creationId xmlns:a16="http://schemas.microsoft.com/office/drawing/2014/main" id="{B5954F1F-2038-4AB4-8CC0-B219EE674A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8" y="2921"/>
              <a:ext cx="961" cy="128"/>
            </a:xfrm>
            <a:custGeom>
              <a:avLst/>
              <a:gdLst>
                <a:gd name="T0" fmla="*/ 0 w 2000"/>
                <a:gd name="T1" fmla="*/ 0 h 267"/>
                <a:gd name="T2" fmla="*/ 2000 w 2000"/>
                <a:gd name="T3" fmla="*/ 0 h 267"/>
                <a:gd name="T4" fmla="*/ 2000 w 2000"/>
                <a:gd name="T5" fmla="*/ 267 h 267"/>
                <a:gd name="T6" fmla="*/ 0 w 2000"/>
                <a:gd name="T7" fmla="*/ 267 h 267"/>
                <a:gd name="T8" fmla="*/ 0 w 2000"/>
                <a:gd name="T9" fmla="*/ 0 h 267"/>
                <a:gd name="T10" fmla="*/ 0 w 2000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00" h="267">
                  <a:moveTo>
                    <a:pt x="0" y="0"/>
                  </a:moveTo>
                  <a:lnTo>
                    <a:pt x="2000" y="0"/>
                  </a:lnTo>
                  <a:lnTo>
                    <a:pt x="2000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85">
              <a:extLst>
                <a:ext uri="{FF2B5EF4-FFF2-40B4-BE49-F238E27FC236}">
                  <a16:creationId xmlns:a16="http://schemas.microsoft.com/office/drawing/2014/main" id="{957B3241-125F-4C61-99C4-D32BB695ED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8" y="2345"/>
              <a:ext cx="1280" cy="128"/>
            </a:xfrm>
            <a:custGeom>
              <a:avLst/>
              <a:gdLst>
                <a:gd name="T0" fmla="*/ 0 w 2666"/>
                <a:gd name="T1" fmla="*/ 0 h 267"/>
                <a:gd name="T2" fmla="*/ 2666 w 2666"/>
                <a:gd name="T3" fmla="*/ 0 h 267"/>
                <a:gd name="T4" fmla="*/ 2666 w 2666"/>
                <a:gd name="T5" fmla="*/ 267 h 267"/>
                <a:gd name="T6" fmla="*/ 0 w 2666"/>
                <a:gd name="T7" fmla="*/ 267 h 267"/>
                <a:gd name="T8" fmla="*/ 0 w 2666"/>
                <a:gd name="T9" fmla="*/ 0 h 267"/>
                <a:gd name="T10" fmla="*/ 0 w 2666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6" h="267">
                  <a:moveTo>
                    <a:pt x="0" y="0"/>
                  </a:moveTo>
                  <a:lnTo>
                    <a:pt x="2666" y="0"/>
                  </a:lnTo>
                  <a:lnTo>
                    <a:pt x="2666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86">
              <a:extLst>
                <a:ext uri="{FF2B5EF4-FFF2-40B4-BE49-F238E27FC236}">
                  <a16:creationId xmlns:a16="http://schemas.microsoft.com/office/drawing/2014/main" id="{170350D3-2C10-4246-8E18-2AEB883798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8" y="1832"/>
              <a:ext cx="1537" cy="129"/>
            </a:xfrm>
            <a:custGeom>
              <a:avLst/>
              <a:gdLst>
                <a:gd name="T0" fmla="*/ 0 w 3200"/>
                <a:gd name="T1" fmla="*/ 0 h 267"/>
                <a:gd name="T2" fmla="*/ 3200 w 3200"/>
                <a:gd name="T3" fmla="*/ 0 h 267"/>
                <a:gd name="T4" fmla="*/ 3200 w 3200"/>
                <a:gd name="T5" fmla="*/ 267 h 267"/>
                <a:gd name="T6" fmla="*/ 0 w 3200"/>
                <a:gd name="T7" fmla="*/ 267 h 267"/>
                <a:gd name="T8" fmla="*/ 0 w 3200"/>
                <a:gd name="T9" fmla="*/ 0 h 267"/>
                <a:gd name="T10" fmla="*/ 0 w 3200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00" h="267">
                  <a:moveTo>
                    <a:pt x="0" y="0"/>
                  </a:moveTo>
                  <a:lnTo>
                    <a:pt x="3200" y="0"/>
                  </a:lnTo>
                  <a:lnTo>
                    <a:pt x="3200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87">
              <a:extLst>
                <a:ext uri="{FF2B5EF4-FFF2-40B4-BE49-F238E27FC236}">
                  <a16:creationId xmlns:a16="http://schemas.microsoft.com/office/drawing/2014/main" id="{29C64349-F896-4548-8674-ED5334BABD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8" y="1384"/>
              <a:ext cx="1665" cy="129"/>
            </a:xfrm>
            <a:custGeom>
              <a:avLst/>
              <a:gdLst>
                <a:gd name="T0" fmla="*/ 0 w 3466"/>
                <a:gd name="T1" fmla="*/ 0 h 267"/>
                <a:gd name="T2" fmla="*/ 3466 w 3466"/>
                <a:gd name="T3" fmla="*/ 0 h 267"/>
                <a:gd name="T4" fmla="*/ 3466 w 3466"/>
                <a:gd name="T5" fmla="*/ 267 h 267"/>
                <a:gd name="T6" fmla="*/ 0 w 3466"/>
                <a:gd name="T7" fmla="*/ 267 h 267"/>
                <a:gd name="T8" fmla="*/ 0 w 3466"/>
                <a:gd name="T9" fmla="*/ 0 h 267"/>
                <a:gd name="T10" fmla="*/ 0 w 3466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66" h="267">
                  <a:moveTo>
                    <a:pt x="0" y="0"/>
                  </a:moveTo>
                  <a:lnTo>
                    <a:pt x="3466" y="0"/>
                  </a:lnTo>
                  <a:lnTo>
                    <a:pt x="3466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9" name="Picture 2" descr="https://w7.pngwing.com/pngs/564/452/png-transparent-flag-of-uzbekistan-emoji-flag-of-albania-emoji-flag-text-logo.png">
            <a:extLst>
              <a:ext uri="{FF2B5EF4-FFF2-40B4-BE49-F238E27FC236}">
                <a16:creationId xmlns:a16="http://schemas.microsoft.com/office/drawing/2014/main" id="{542CBA19-C26B-43F1-9E3C-E75B0B286CCF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93" t="2618" r="24782" b="2590"/>
          <a:stretch/>
        </p:blipFill>
        <p:spPr bwMode="auto">
          <a:xfrm>
            <a:off x="10811994" y="624763"/>
            <a:ext cx="612000" cy="612000"/>
          </a:xfrm>
          <a:prstGeom prst="flowChartConnector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41450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EF12464A-59ED-4775-8D26-267B782CF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346" y="438150"/>
            <a:ext cx="11317089" cy="434975"/>
          </a:xfrm>
        </p:spPr>
        <p:txBody>
          <a:bodyPr/>
          <a:lstStyle/>
          <a:p>
            <a:r>
              <a:rPr lang="en-US" sz="2200" dirty="0"/>
              <a:t>ISO 37001: 2016 </a:t>
            </a:r>
            <a:r>
              <a:rPr lang="uz-Cyrl-UZ" sz="2200" dirty="0"/>
              <a:t>“</a:t>
            </a:r>
            <a:r>
              <a:rPr lang="ru-RU" sz="2200" dirty="0" err="1"/>
              <a:t>Порахўрликка</a:t>
            </a:r>
            <a:r>
              <a:rPr lang="ru-RU" sz="2200" dirty="0"/>
              <a:t> </a:t>
            </a:r>
            <a:r>
              <a:rPr lang="ru-RU" sz="2200" dirty="0" err="1"/>
              <a:t>қарши</a:t>
            </a:r>
            <a:r>
              <a:rPr lang="ru-RU" sz="2200" dirty="0"/>
              <a:t> </a:t>
            </a:r>
            <a:r>
              <a:rPr lang="ru-RU" sz="2200" dirty="0" err="1"/>
              <a:t>бошқарув</a:t>
            </a:r>
            <a:r>
              <a:rPr lang="ru-RU" sz="2200" dirty="0"/>
              <a:t> </a:t>
            </a:r>
            <a:r>
              <a:rPr lang="ru-RU" sz="2200" dirty="0" err="1"/>
              <a:t>тизимлари</a:t>
            </a:r>
            <a:r>
              <a:rPr lang="uz-Cyrl-UZ" sz="2200" dirty="0"/>
              <a:t>”:</a:t>
            </a:r>
            <a:r>
              <a:rPr lang="ru-RU" sz="2200" dirty="0"/>
              <a:t> коррупцияга </a:t>
            </a:r>
            <a:r>
              <a:rPr lang="ru-RU" sz="2200" dirty="0" err="1"/>
              <a:t>қарши</a:t>
            </a:r>
            <a:r>
              <a:rPr lang="ru-RU" sz="2200" dirty="0"/>
              <a:t> </a:t>
            </a:r>
            <a:r>
              <a:rPr lang="ru-RU" sz="2200" dirty="0" err="1"/>
              <a:t>курашиш</a:t>
            </a:r>
            <a:r>
              <a:rPr lang="ru-RU" sz="2200" dirty="0"/>
              <a:t> </a:t>
            </a:r>
            <a:r>
              <a:rPr lang="ru-RU" sz="2200" dirty="0" err="1"/>
              <a:t>тизимини</a:t>
            </a:r>
            <a:r>
              <a:rPr lang="ru-RU" sz="2200" dirty="0"/>
              <a:t> мониторинг </a:t>
            </a:r>
            <a:r>
              <a:rPr lang="ru-RU" sz="2200" dirty="0" err="1"/>
              <a:t>ва</a:t>
            </a:r>
            <a:r>
              <a:rPr lang="ru-RU" sz="2200" dirty="0"/>
              <a:t> </a:t>
            </a:r>
            <a:r>
              <a:rPr lang="ru-RU" sz="2200" dirty="0" err="1"/>
              <a:t>назорат</a:t>
            </a:r>
            <a:r>
              <a:rPr lang="ru-RU" sz="2200" dirty="0"/>
              <a:t> </a:t>
            </a:r>
            <a:r>
              <a:rPr lang="ru-RU" sz="2200" dirty="0" err="1"/>
              <a:t>қилиш</a:t>
            </a:r>
            <a:r>
              <a:rPr lang="ru-RU" sz="2200" dirty="0"/>
              <a:t> </a:t>
            </a:r>
            <a:br>
              <a:rPr lang="ru-RU" sz="2200" dirty="0"/>
            </a:br>
            <a:r>
              <a:rPr lang="ru-RU" sz="2200" dirty="0"/>
              <a:t>(1/4)</a:t>
            </a:r>
            <a:endParaRPr lang="en-US" sz="2200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CAF64A5-726B-48C2-80D6-93FD495AD0D3}"/>
              </a:ext>
            </a:extLst>
          </p:cNvPr>
          <p:cNvGrpSpPr/>
          <p:nvPr/>
        </p:nvGrpSpPr>
        <p:grpSpPr>
          <a:xfrm>
            <a:off x="443078" y="1433282"/>
            <a:ext cx="11306008" cy="434975"/>
            <a:chOff x="3784798" y="1289128"/>
            <a:chExt cx="7964290" cy="463165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974FB6F2-65EE-49F4-9C65-CA75F5E22240}"/>
                </a:ext>
              </a:extLst>
            </p:cNvPr>
            <p:cNvSpPr/>
            <p:nvPr/>
          </p:nvSpPr>
          <p:spPr>
            <a:xfrm>
              <a:off x="3921193" y="1371686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8A7A96A8-D42F-4EC5-9127-96DD634F404A}"/>
                </a:ext>
              </a:extLst>
            </p:cNvPr>
            <p:cNvSpPr/>
            <p:nvPr/>
          </p:nvSpPr>
          <p:spPr>
            <a:xfrm>
              <a:off x="3784798" y="1289128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pPr algn="ctr"/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ррупцияга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арши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урашиш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изимини</a:t>
              </a:r>
              <a:r>
                <a:rPr lang="uz-Cyrl-UZ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мониторинг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илиш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назорат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илишнинг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уч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даражаси</a:t>
              </a:r>
              <a:endParaRPr lang="ru-RU" sz="16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F74984EB-552A-441B-BF4F-84F00068942C}"/>
              </a:ext>
            </a:extLst>
          </p:cNvPr>
          <p:cNvSpPr/>
          <p:nvPr/>
        </p:nvSpPr>
        <p:spPr>
          <a:xfrm>
            <a:off x="448935" y="2991988"/>
            <a:ext cx="3537195" cy="62121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44371" rIns="0" bIns="44371" rtlCol="0" anchor="t">
            <a:noAutofit/>
          </a:bodyPr>
          <a:lstStyle/>
          <a:p>
            <a:pPr marL="265113" indent="-265113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оррупцияга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арш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ураши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изимининг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долзарблиг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етарлилиг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uz-Cyrl-UZ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ониторинг</a:t>
            </a:r>
            <a:r>
              <a:rPr lang="en-US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илиш</a:t>
            </a:r>
            <a:endParaRPr lang="ru-RU" sz="140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  <a:p>
            <a:pPr marL="265113" indent="-265113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авжуд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коррупцияга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арш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изим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самарадорлиг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uz-Cyrl-UZ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ониторинг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илиш</a:t>
            </a:r>
            <a:endParaRPr lang="ru-RU" sz="140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  <a:p>
            <a:pPr marL="265113" indent="-265113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шкилотд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елгиланга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коррупцияга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арш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ураши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лабларининг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ажарилиш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ажарилиш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назорат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илиш</a:t>
            </a:r>
            <a:endParaRPr lang="ru-RU" sz="140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9BCF3299-31A7-4E51-B882-C69B41991A54}"/>
              </a:ext>
            </a:extLst>
          </p:cNvPr>
          <p:cNvSpPr/>
          <p:nvPr/>
        </p:nvSpPr>
        <p:spPr>
          <a:xfrm>
            <a:off x="448934" y="2681382"/>
            <a:ext cx="3537198" cy="14175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FA33EA7-AE9F-45E0-862E-26880D68B417}"/>
              </a:ext>
            </a:extLst>
          </p:cNvPr>
          <p:cNvSpPr/>
          <p:nvPr/>
        </p:nvSpPr>
        <p:spPr>
          <a:xfrm>
            <a:off x="456832" y="1927836"/>
            <a:ext cx="1461956" cy="981502"/>
          </a:xfrm>
          <a:prstGeom prst="rect">
            <a:avLst/>
          </a:prstGeom>
        </p:spPr>
        <p:txBody>
          <a:bodyPr wrap="none" lIns="0" tIns="0" bIns="0" anchor="t">
            <a:noAutofit/>
          </a:bodyPr>
          <a:lstStyle/>
          <a:p>
            <a:r>
              <a:rPr lang="ru-RU" sz="6000" spc="-244" dirty="0">
                <a:solidFill>
                  <a:schemeClr val="accent4">
                    <a:lumMod val="40000"/>
                    <a:lumOff val="60000"/>
                    <a:alpha val="36000"/>
                  </a:schemeClr>
                </a:solidFill>
                <a:latin typeface="Arial" panose="020B0604020202020204" pitchFamily="34" charset="0"/>
              </a:rPr>
              <a:t>01</a:t>
            </a:r>
            <a:endParaRPr lang="en-US" sz="6000" spc="-244" dirty="0">
              <a:solidFill>
                <a:schemeClr val="accent4">
                  <a:lumMod val="40000"/>
                  <a:lumOff val="60000"/>
                  <a:alpha val="36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F9364373-9B81-4F5A-AD22-8DCAF7B2AC60}"/>
              </a:ext>
            </a:extLst>
          </p:cNvPr>
          <p:cNvSpPr/>
          <p:nvPr/>
        </p:nvSpPr>
        <p:spPr>
          <a:xfrm>
            <a:off x="448932" y="2213436"/>
            <a:ext cx="3537198" cy="62121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b">
            <a:noAutofit/>
          </a:bodyPr>
          <a:lstStyle/>
          <a:p>
            <a:r>
              <a:rPr lang="ru-RU" sz="1600" b="1" dirty="0">
                <a:solidFill>
                  <a:srgbClr val="2112AE"/>
                </a:solidFill>
                <a:latin typeface="+mj-lt"/>
                <a:ea typeface="Golos Text" panose="020B0503020202020204" pitchFamily="34" charset="0"/>
              </a:rPr>
              <a:t>Комплаенс </a:t>
            </a:r>
            <a:r>
              <a:rPr lang="ru-RU" sz="1600" b="1" dirty="0" err="1">
                <a:solidFill>
                  <a:srgbClr val="2112AE"/>
                </a:solidFill>
                <a:latin typeface="+mj-lt"/>
                <a:ea typeface="Golos Text" panose="020B0503020202020204" pitchFamily="34" charset="0"/>
              </a:rPr>
              <a:t>бўлинмалари</a:t>
            </a:r>
            <a:endParaRPr lang="ru-RU" sz="1600" b="1" dirty="0">
              <a:solidFill>
                <a:srgbClr val="2112AE"/>
              </a:solidFill>
              <a:latin typeface="+mj-lt"/>
              <a:ea typeface="Golos Text" panose="020B0503020202020204" pitchFamily="34" charset="0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CBCD9B3D-CE17-4188-8986-340F3E39CCC0}"/>
              </a:ext>
            </a:extLst>
          </p:cNvPr>
          <p:cNvSpPr/>
          <p:nvPr/>
        </p:nvSpPr>
        <p:spPr>
          <a:xfrm>
            <a:off x="4330413" y="2991988"/>
            <a:ext cx="3537195" cy="62121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44371" rIns="0" bIns="44371" rtlCol="0" anchor="t">
            <a:noAutofit/>
          </a:bodyPr>
          <a:lstStyle/>
          <a:p>
            <a:pPr marL="265113" indent="-265113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шкилотд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ишлаб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чиқилга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uz-Cyrl-UZ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аудит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дастуриг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увофиқ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ички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аудитлар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ўткази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(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асала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хатарлар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аҳола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натижалар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ҳисобг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олга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ҳолд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)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F0BDACE-8167-4FA4-BF26-25398631D0EE}"/>
              </a:ext>
            </a:extLst>
          </p:cNvPr>
          <p:cNvSpPr/>
          <p:nvPr/>
        </p:nvSpPr>
        <p:spPr>
          <a:xfrm>
            <a:off x="4338310" y="1927836"/>
            <a:ext cx="1461956" cy="981502"/>
          </a:xfrm>
          <a:prstGeom prst="rect">
            <a:avLst/>
          </a:prstGeom>
        </p:spPr>
        <p:txBody>
          <a:bodyPr wrap="none" lIns="0" tIns="0" bIns="0" anchor="t">
            <a:noAutofit/>
          </a:bodyPr>
          <a:lstStyle/>
          <a:p>
            <a:r>
              <a:rPr lang="ru-RU" sz="6000" spc="-244" dirty="0">
                <a:solidFill>
                  <a:schemeClr val="accent4">
                    <a:lumMod val="40000"/>
                    <a:lumOff val="60000"/>
                    <a:alpha val="36000"/>
                  </a:schemeClr>
                </a:solidFill>
                <a:latin typeface="Arial" panose="020B0604020202020204" pitchFamily="34" charset="0"/>
              </a:rPr>
              <a:t>0</a:t>
            </a:r>
            <a:r>
              <a:rPr lang="en-US" sz="6000" spc="-244" dirty="0">
                <a:solidFill>
                  <a:schemeClr val="accent4">
                    <a:lumMod val="40000"/>
                    <a:lumOff val="60000"/>
                    <a:alpha val="36000"/>
                  </a:schemeClr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6F8A1CC8-63E6-4A77-A79C-EE184D7938C5}"/>
              </a:ext>
            </a:extLst>
          </p:cNvPr>
          <p:cNvSpPr/>
          <p:nvPr/>
        </p:nvSpPr>
        <p:spPr>
          <a:xfrm>
            <a:off x="4330412" y="2681382"/>
            <a:ext cx="3537198" cy="14175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9FF035D9-EC60-405A-AA7F-3B52E1ACEC74}"/>
              </a:ext>
            </a:extLst>
          </p:cNvPr>
          <p:cNvSpPr/>
          <p:nvPr/>
        </p:nvSpPr>
        <p:spPr>
          <a:xfrm>
            <a:off x="4330410" y="2213436"/>
            <a:ext cx="3537198" cy="62121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b">
            <a:noAutofit/>
          </a:bodyPr>
          <a:lstStyle/>
          <a:p>
            <a:r>
              <a:rPr lang="ru-RU" sz="1600" b="1" dirty="0">
                <a:solidFill>
                  <a:srgbClr val="2112AE"/>
                </a:solidFill>
                <a:latin typeface="+mj-lt"/>
                <a:ea typeface="Golos Text" panose="020B0503020202020204" pitchFamily="34" charset="0"/>
              </a:rPr>
              <a:t>Ички аудит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029432E-E243-411F-A5A4-6A89D54BD63D}"/>
              </a:ext>
            </a:extLst>
          </p:cNvPr>
          <p:cNvSpPr/>
          <p:nvPr/>
        </p:nvSpPr>
        <p:spPr>
          <a:xfrm>
            <a:off x="8175269" y="2991988"/>
            <a:ext cx="3537195" cy="62121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44371" rIns="0" bIns="44371" rtlCol="0" anchor="t">
            <a:noAutofit/>
          </a:bodyPr>
          <a:lstStyle/>
          <a:p>
            <a:pPr marL="265113" indent="-265113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оррупцияга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арш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ураши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изим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жорий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этилиш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назорат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илиш</a:t>
            </a:r>
            <a:endParaRPr lang="ru-RU" sz="140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  <a:p>
            <a:pPr marL="265113" indent="-265113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оррупцияга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арш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изимнинг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фаолият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ҳолат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ўғрисидаг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ҳисоботлар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ўриб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чиқиш</a:t>
            </a:r>
            <a:endParaRPr lang="ru-RU" sz="140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  <a:p>
            <a:pPr marL="265113" indent="-265113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оррупция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хавфиг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нисбата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амалг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оширилга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ҳаракатлар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самарадорлиг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ҳлил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илиш</a:t>
            </a:r>
            <a:endParaRPr lang="ru-RU" sz="140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  <a:p>
            <a:pPr marL="265113" indent="-265113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оррупцияга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арш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ураши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изим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ила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оғлиқ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шқ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ички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уаммолардаг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ўзгаришлар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ҳлил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илиш</a:t>
            </a:r>
            <a:endParaRPr lang="ru-RU" sz="140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1C1E9D9C-496A-4669-8509-87CBE4921473}"/>
              </a:ext>
            </a:extLst>
          </p:cNvPr>
          <p:cNvSpPr/>
          <p:nvPr/>
        </p:nvSpPr>
        <p:spPr>
          <a:xfrm>
            <a:off x="8211890" y="2681382"/>
            <a:ext cx="3537198" cy="14175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4A2F9E6-1995-4524-8787-2E56638225C7}"/>
              </a:ext>
            </a:extLst>
          </p:cNvPr>
          <p:cNvSpPr/>
          <p:nvPr/>
        </p:nvSpPr>
        <p:spPr>
          <a:xfrm>
            <a:off x="8219788" y="1927836"/>
            <a:ext cx="1461956" cy="981502"/>
          </a:xfrm>
          <a:prstGeom prst="rect">
            <a:avLst/>
          </a:prstGeom>
        </p:spPr>
        <p:txBody>
          <a:bodyPr wrap="none" lIns="0" tIns="0" bIns="0" anchor="t">
            <a:noAutofit/>
          </a:bodyPr>
          <a:lstStyle/>
          <a:p>
            <a:r>
              <a:rPr lang="ru-RU" sz="6000" spc="-244" dirty="0">
                <a:solidFill>
                  <a:schemeClr val="accent4">
                    <a:lumMod val="40000"/>
                    <a:lumOff val="60000"/>
                    <a:alpha val="36000"/>
                  </a:schemeClr>
                </a:solidFill>
                <a:latin typeface="Arial" panose="020B0604020202020204" pitchFamily="34" charset="0"/>
              </a:rPr>
              <a:t>0</a:t>
            </a:r>
            <a:r>
              <a:rPr lang="en-US" sz="6000" spc="-244" dirty="0">
                <a:solidFill>
                  <a:schemeClr val="accent4">
                    <a:lumMod val="40000"/>
                    <a:lumOff val="60000"/>
                    <a:alpha val="36000"/>
                  </a:scheme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93B5880C-1056-47AB-B492-0F336250A271}"/>
              </a:ext>
            </a:extLst>
          </p:cNvPr>
          <p:cNvSpPr/>
          <p:nvPr/>
        </p:nvSpPr>
        <p:spPr>
          <a:xfrm>
            <a:off x="8211888" y="2213436"/>
            <a:ext cx="3537198" cy="62121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b">
            <a:noAutofit/>
          </a:bodyPr>
          <a:lstStyle/>
          <a:p>
            <a:r>
              <a:rPr lang="ru-RU" sz="1400" b="1" dirty="0">
                <a:solidFill>
                  <a:srgbClr val="2112AE"/>
                </a:solidFill>
                <a:latin typeface="+mj-lt"/>
                <a:ea typeface="Golos Text" panose="020B0503020202020204" pitchFamily="34" charset="0"/>
              </a:rPr>
              <a:t>Раҳбарият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7C7D368-3C07-41B8-BDB8-03BD6BEFE567}"/>
              </a:ext>
            </a:extLst>
          </p:cNvPr>
          <p:cNvGrpSpPr/>
          <p:nvPr/>
        </p:nvGrpSpPr>
        <p:grpSpPr>
          <a:xfrm>
            <a:off x="6997771" y="1928211"/>
            <a:ext cx="877735" cy="881717"/>
            <a:chOff x="5645207" y="2311127"/>
            <a:chExt cx="1037622" cy="1042329"/>
          </a:xfrm>
        </p:grpSpPr>
        <p:grpSp>
          <p:nvGrpSpPr>
            <p:cNvPr id="55" name="Group 266">
              <a:extLst>
                <a:ext uri="{FF2B5EF4-FFF2-40B4-BE49-F238E27FC236}">
                  <a16:creationId xmlns:a16="http://schemas.microsoft.com/office/drawing/2014/main" id="{B0D98AE5-5571-458D-80BC-F58076A67CD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645207" y="2311127"/>
              <a:ext cx="893816" cy="870072"/>
              <a:chOff x="1610" y="1219"/>
              <a:chExt cx="230" cy="232"/>
            </a:xfrm>
            <a:solidFill>
              <a:srgbClr val="B1C7F7">
                <a:alpha val="50000"/>
              </a:srgbClr>
            </a:solidFill>
          </p:grpSpPr>
          <p:sp>
            <p:nvSpPr>
              <p:cNvPr id="62" name="Freeform 267">
                <a:extLst>
                  <a:ext uri="{FF2B5EF4-FFF2-40B4-BE49-F238E27FC236}">
                    <a16:creationId xmlns:a16="http://schemas.microsoft.com/office/drawing/2014/main" id="{E406FD6E-498E-4815-9183-AB62569FB9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06" y="1291"/>
                <a:ext cx="8" cy="7"/>
              </a:xfrm>
              <a:custGeom>
                <a:avLst/>
                <a:gdLst>
                  <a:gd name="T0" fmla="*/ 266 w 266"/>
                  <a:gd name="T1" fmla="*/ 134 h 267"/>
                  <a:gd name="T2" fmla="*/ 133 w 266"/>
                  <a:gd name="T3" fmla="*/ 267 h 267"/>
                  <a:gd name="T4" fmla="*/ 0 w 266"/>
                  <a:gd name="T5" fmla="*/ 134 h 267"/>
                  <a:gd name="T6" fmla="*/ 133 w 266"/>
                  <a:gd name="T7" fmla="*/ 0 h 267"/>
                  <a:gd name="T8" fmla="*/ 266 w 266"/>
                  <a:gd name="T9" fmla="*/ 134 h 267"/>
                  <a:gd name="T10" fmla="*/ 266 w 266"/>
                  <a:gd name="T11" fmla="*/ 134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6" h="267">
                    <a:moveTo>
                      <a:pt x="266" y="134"/>
                    </a:moveTo>
                    <a:cubicBezTo>
                      <a:pt x="266" y="207"/>
                      <a:pt x="207" y="267"/>
                      <a:pt x="133" y="267"/>
                    </a:cubicBezTo>
                    <a:cubicBezTo>
                      <a:pt x="59" y="267"/>
                      <a:pt x="0" y="207"/>
                      <a:pt x="0" y="134"/>
                    </a:cubicBezTo>
                    <a:cubicBezTo>
                      <a:pt x="0" y="60"/>
                      <a:pt x="59" y="0"/>
                      <a:pt x="133" y="0"/>
                    </a:cubicBezTo>
                    <a:cubicBezTo>
                      <a:pt x="207" y="0"/>
                      <a:pt x="266" y="60"/>
                      <a:pt x="266" y="134"/>
                    </a:cubicBezTo>
                    <a:close/>
                    <a:moveTo>
                      <a:pt x="266" y="134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68">
                <a:extLst>
                  <a:ext uri="{FF2B5EF4-FFF2-40B4-BE49-F238E27FC236}">
                    <a16:creationId xmlns:a16="http://schemas.microsoft.com/office/drawing/2014/main" id="{4D4EF4D7-F103-4EC6-8FFE-E951DB6E7B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69" y="1291"/>
                <a:ext cx="8" cy="7"/>
              </a:xfrm>
              <a:custGeom>
                <a:avLst/>
                <a:gdLst>
                  <a:gd name="T0" fmla="*/ 267 w 267"/>
                  <a:gd name="T1" fmla="*/ 134 h 267"/>
                  <a:gd name="T2" fmla="*/ 134 w 267"/>
                  <a:gd name="T3" fmla="*/ 267 h 267"/>
                  <a:gd name="T4" fmla="*/ 0 w 267"/>
                  <a:gd name="T5" fmla="*/ 134 h 267"/>
                  <a:gd name="T6" fmla="*/ 134 w 267"/>
                  <a:gd name="T7" fmla="*/ 0 h 267"/>
                  <a:gd name="T8" fmla="*/ 267 w 267"/>
                  <a:gd name="T9" fmla="*/ 134 h 267"/>
                  <a:gd name="T10" fmla="*/ 267 w 267"/>
                  <a:gd name="T11" fmla="*/ 134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7" h="267">
                    <a:moveTo>
                      <a:pt x="267" y="134"/>
                    </a:moveTo>
                    <a:cubicBezTo>
                      <a:pt x="267" y="207"/>
                      <a:pt x="207" y="267"/>
                      <a:pt x="134" y="267"/>
                    </a:cubicBezTo>
                    <a:cubicBezTo>
                      <a:pt x="60" y="267"/>
                      <a:pt x="0" y="207"/>
                      <a:pt x="0" y="134"/>
                    </a:cubicBezTo>
                    <a:cubicBezTo>
                      <a:pt x="0" y="60"/>
                      <a:pt x="60" y="0"/>
                      <a:pt x="134" y="0"/>
                    </a:cubicBezTo>
                    <a:cubicBezTo>
                      <a:pt x="207" y="0"/>
                      <a:pt x="267" y="60"/>
                      <a:pt x="267" y="134"/>
                    </a:cubicBezTo>
                    <a:close/>
                    <a:moveTo>
                      <a:pt x="267" y="134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69">
                <a:extLst>
                  <a:ext uri="{FF2B5EF4-FFF2-40B4-BE49-F238E27FC236}">
                    <a16:creationId xmlns:a16="http://schemas.microsoft.com/office/drawing/2014/main" id="{2049DEF0-9BA4-45E0-AB7E-9D4D47978B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77" y="1317"/>
                <a:ext cx="29" cy="15"/>
              </a:xfrm>
              <a:custGeom>
                <a:avLst/>
                <a:gdLst>
                  <a:gd name="T0" fmla="*/ 533 w 1067"/>
                  <a:gd name="T1" fmla="*/ 533 h 533"/>
                  <a:gd name="T2" fmla="*/ 1067 w 1067"/>
                  <a:gd name="T3" fmla="*/ 0 h 533"/>
                  <a:gd name="T4" fmla="*/ 800 w 1067"/>
                  <a:gd name="T5" fmla="*/ 0 h 533"/>
                  <a:gd name="T6" fmla="*/ 533 w 1067"/>
                  <a:gd name="T7" fmla="*/ 266 h 533"/>
                  <a:gd name="T8" fmla="*/ 267 w 1067"/>
                  <a:gd name="T9" fmla="*/ 0 h 533"/>
                  <a:gd name="T10" fmla="*/ 0 w 1067"/>
                  <a:gd name="T11" fmla="*/ 0 h 533"/>
                  <a:gd name="T12" fmla="*/ 533 w 1067"/>
                  <a:gd name="T13" fmla="*/ 533 h 533"/>
                  <a:gd name="T14" fmla="*/ 533 w 1067"/>
                  <a:gd name="T15" fmla="*/ 533 h 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67" h="533">
                    <a:moveTo>
                      <a:pt x="533" y="533"/>
                    </a:moveTo>
                    <a:cubicBezTo>
                      <a:pt x="828" y="533"/>
                      <a:pt x="1067" y="294"/>
                      <a:pt x="1067" y="0"/>
                    </a:cubicBezTo>
                    <a:lnTo>
                      <a:pt x="800" y="0"/>
                    </a:lnTo>
                    <a:cubicBezTo>
                      <a:pt x="800" y="147"/>
                      <a:pt x="680" y="266"/>
                      <a:pt x="533" y="266"/>
                    </a:cubicBezTo>
                    <a:cubicBezTo>
                      <a:pt x="386" y="266"/>
                      <a:pt x="267" y="147"/>
                      <a:pt x="267" y="0"/>
                    </a:cubicBezTo>
                    <a:lnTo>
                      <a:pt x="0" y="0"/>
                    </a:lnTo>
                    <a:cubicBezTo>
                      <a:pt x="0" y="294"/>
                      <a:pt x="239" y="533"/>
                      <a:pt x="533" y="533"/>
                    </a:cubicBezTo>
                    <a:close/>
                    <a:moveTo>
                      <a:pt x="533" y="533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0">
                <a:extLst>
                  <a:ext uri="{FF2B5EF4-FFF2-40B4-BE49-F238E27FC236}">
                    <a16:creationId xmlns:a16="http://schemas.microsoft.com/office/drawing/2014/main" id="{8474D893-A20B-4D12-B26E-AFA8F74792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51" y="1220"/>
                <a:ext cx="89" cy="119"/>
              </a:xfrm>
              <a:custGeom>
                <a:avLst/>
                <a:gdLst>
                  <a:gd name="T0" fmla="*/ 2322 w 3200"/>
                  <a:gd name="T1" fmla="*/ 0 h 4267"/>
                  <a:gd name="T2" fmla="*/ 0 w 3200"/>
                  <a:gd name="T3" fmla="*/ 0 h 4267"/>
                  <a:gd name="T4" fmla="*/ 0 w 3200"/>
                  <a:gd name="T5" fmla="*/ 4267 h 4267"/>
                  <a:gd name="T6" fmla="*/ 3200 w 3200"/>
                  <a:gd name="T7" fmla="*/ 4267 h 4267"/>
                  <a:gd name="T8" fmla="*/ 3200 w 3200"/>
                  <a:gd name="T9" fmla="*/ 878 h 4267"/>
                  <a:gd name="T10" fmla="*/ 2322 w 3200"/>
                  <a:gd name="T11" fmla="*/ 0 h 4267"/>
                  <a:gd name="T12" fmla="*/ 2400 w 3200"/>
                  <a:gd name="T13" fmla="*/ 455 h 4267"/>
                  <a:gd name="T14" fmla="*/ 2744 w 3200"/>
                  <a:gd name="T15" fmla="*/ 800 h 4267"/>
                  <a:gd name="T16" fmla="*/ 2400 w 3200"/>
                  <a:gd name="T17" fmla="*/ 800 h 4267"/>
                  <a:gd name="T18" fmla="*/ 2400 w 3200"/>
                  <a:gd name="T19" fmla="*/ 455 h 4267"/>
                  <a:gd name="T20" fmla="*/ 266 w 3200"/>
                  <a:gd name="T21" fmla="*/ 4000 h 4267"/>
                  <a:gd name="T22" fmla="*/ 266 w 3200"/>
                  <a:gd name="T23" fmla="*/ 267 h 4267"/>
                  <a:gd name="T24" fmla="*/ 2133 w 3200"/>
                  <a:gd name="T25" fmla="*/ 267 h 4267"/>
                  <a:gd name="T26" fmla="*/ 2133 w 3200"/>
                  <a:gd name="T27" fmla="*/ 1067 h 4267"/>
                  <a:gd name="T28" fmla="*/ 2933 w 3200"/>
                  <a:gd name="T29" fmla="*/ 1067 h 4267"/>
                  <a:gd name="T30" fmla="*/ 2933 w 3200"/>
                  <a:gd name="T31" fmla="*/ 4000 h 4267"/>
                  <a:gd name="T32" fmla="*/ 266 w 3200"/>
                  <a:gd name="T33" fmla="*/ 4000 h 4267"/>
                  <a:gd name="T34" fmla="*/ 266 w 3200"/>
                  <a:gd name="T35" fmla="*/ 4000 h 4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00" h="4267">
                    <a:moveTo>
                      <a:pt x="2322" y="0"/>
                    </a:moveTo>
                    <a:lnTo>
                      <a:pt x="0" y="0"/>
                    </a:lnTo>
                    <a:lnTo>
                      <a:pt x="0" y="4267"/>
                    </a:lnTo>
                    <a:lnTo>
                      <a:pt x="3200" y="4267"/>
                    </a:lnTo>
                    <a:lnTo>
                      <a:pt x="3200" y="878"/>
                    </a:lnTo>
                    <a:lnTo>
                      <a:pt x="2322" y="0"/>
                    </a:lnTo>
                    <a:close/>
                    <a:moveTo>
                      <a:pt x="2400" y="455"/>
                    </a:moveTo>
                    <a:lnTo>
                      <a:pt x="2744" y="800"/>
                    </a:lnTo>
                    <a:lnTo>
                      <a:pt x="2400" y="800"/>
                    </a:lnTo>
                    <a:lnTo>
                      <a:pt x="2400" y="455"/>
                    </a:lnTo>
                    <a:close/>
                    <a:moveTo>
                      <a:pt x="266" y="4000"/>
                    </a:moveTo>
                    <a:lnTo>
                      <a:pt x="266" y="267"/>
                    </a:lnTo>
                    <a:lnTo>
                      <a:pt x="2133" y="267"/>
                    </a:lnTo>
                    <a:lnTo>
                      <a:pt x="2133" y="1067"/>
                    </a:lnTo>
                    <a:lnTo>
                      <a:pt x="2933" y="1067"/>
                    </a:lnTo>
                    <a:lnTo>
                      <a:pt x="2933" y="4000"/>
                    </a:lnTo>
                    <a:lnTo>
                      <a:pt x="266" y="4000"/>
                    </a:lnTo>
                    <a:close/>
                    <a:moveTo>
                      <a:pt x="266" y="4000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71">
                <a:extLst>
                  <a:ext uri="{FF2B5EF4-FFF2-40B4-BE49-F238E27FC236}">
                    <a16:creationId xmlns:a16="http://schemas.microsoft.com/office/drawing/2014/main" id="{9ECF2E1C-EBB9-47EA-9722-BA6570A4BF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78" y="1270"/>
                <a:ext cx="50" cy="41"/>
              </a:xfrm>
              <a:custGeom>
                <a:avLst/>
                <a:gdLst>
                  <a:gd name="T0" fmla="*/ 494 w 1789"/>
                  <a:gd name="T1" fmla="*/ 1106 h 1483"/>
                  <a:gd name="T2" fmla="*/ 189 w 1789"/>
                  <a:gd name="T3" fmla="*/ 800 h 1483"/>
                  <a:gd name="T4" fmla="*/ 0 w 1789"/>
                  <a:gd name="T5" fmla="*/ 989 h 1483"/>
                  <a:gd name="T6" fmla="*/ 494 w 1789"/>
                  <a:gd name="T7" fmla="*/ 1483 h 1483"/>
                  <a:gd name="T8" fmla="*/ 1789 w 1789"/>
                  <a:gd name="T9" fmla="*/ 189 h 1483"/>
                  <a:gd name="T10" fmla="*/ 1600 w 1789"/>
                  <a:gd name="T11" fmla="*/ 0 h 1483"/>
                  <a:gd name="T12" fmla="*/ 494 w 1789"/>
                  <a:gd name="T13" fmla="*/ 1106 h 1483"/>
                  <a:gd name="T14" fmla="*/ 494 w 1789"/>
                  <a:gd name="T15" fmla="*/ 1106 h 1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89" h="1483">
                    <a:moveTo>
                      <a:pt x="494" y="1106"/>
                    </a:moveTo>
                    <a:lnTo>
                      <a:pt x="189" y="800"/>
                    </a:lnTo>
                    <a:lnTo>
                      <a:pt x="0" y="989"/>
                    </a:lnTo>
                    <a:lnTo>
                      <a:pt x="494" y="1483"/>
                    </a:lnTo>
                    <a:lnTo>
                      <a:pt x="1789" y="189"/>
                    </a:lnTo>
                    <a:lnTo>
                      <a:pt x="1600" y="0"/>
                    </a:lnTo>
                    <a:lnTo>
                      <a:pt x="494" y="1106"/>
                    </a:lnTo>
                    <a:close/>
                    <a:moveTo>
                      <a:pt x="494" y="1106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72">
                <a:extLst>
                  <a:ext uri="{FF2B5EF4-FFF2-40B4-BE49-F238E27FC236}">
                    <a16:creationId xmlns:a16="http://schemas.microsoft.com/office/drawing/2014/main" id="{B84C0514-2D96-4F9D-8596-BAF7E6C86F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66" y="1276"/>
                <a:ext cx="59" cy="48"/>
              </a:xfrm>
              <a:custGeom>
                <a:avLst/>
                <a:gdLst>
                  <a:gd name="T0" fmla="*/ 1867 w 2133"/>
                  <a:gd name="T1" fmla="*/ 1467 h 1733"/>
                  <a:gd name="T2" fmla="*/ 267 w 2133"/>
                  <a:gd name="T3" fmla="*/ 1467 h 1733"/>
                  <a:gd name="T4" fmla="*/ 267 w 2133"/>
                  <a:gd name="T5" fmla="*/ 267 h 1733"/>
                  <a:gd name="T6" fmla="*/ 1333 w 2133"/>
                  <a:gd name="T7" fmla="*/ 267 h 1733"/>
                  <a:gd name="T8" fmla="*/ 1333 w 2133"/>
                  <a:gd name="T9" fmla="*/ 0 h 1733"/>
                  <a:gd name="T10" fmla="*/ 0 w 2133"/>
                  <a:gd name="T11" fmla="*/ 0 h 1733"/>
                  <a:gd name="T12" fmla="*/ 0 w 2133"/>
                  <a:gd name="T13" fmla="*/ 1733 h 1733"/>
                  <a:gd name="T14" fmla="*/ 2133 w 2133"/>
                  <a:gd name="T15" fmla="*/ 1733 h 1733"/>
                  <a:gd name="T16" fmla="*/ 2133 w 2133"/>
                  <a:gd name="T17" fmla="*/ 667 h 1733"/>
                  <a:gd name="T18" fmla="*/ 1867 w 2133"/>
                  <a:gd name="T19" fmla="*/ 667 h 1733"/>
                  <a:gd name="T20" fmla="*/ 1867 w 2133"/>
                  <a:gd name="T21" fmla="*/ 1467 h 1733"/>
                  <a:gd name="T22" fmla="*/ 1867 w 2133"/>
                  <a:gd name="T23" fmla="*/ 1467 h 17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33" h="1733">
                    <a:moveTo>
                      <a:pt x="1867" y="1467"/>
                    </a:moveTo>
                    <a:lnTo>
                      <a:pt x="267" y="1467"/>
                    </a:lnTo>
                    <a:lnTo>
                      <a:pt x="267" y="267"/>
                    </a:lnTo>
                    <a:lnTo>
                      <a:pt x="1333" y="267"/>
                    </a:lnTo>
                    <a:lnTo>
                      <a:pt x="1333" y="0"/>
                    </a:lnTo>
                    <a:lnTo>
                      <a:pt x="0" y="0"/>
                    </a:lnTo>
                    <a:lnTo>
                      <a:pt x="0" y="1733"/>
                    </a:lnTo>
                    <a:lnTo>
                      <a:pt x="2133" y="1733"/>
                    </a:lnTo>
                    <a:lnTo>
                      <a:pt x="2133" y="667"/>
                    </a:lnTo>
                    <a:lnTo>
                      <a:pt x="1867" y="667"/>
                    </a:lnTo>
                    <a:lnTo>
                      <a:pt x="1867" y="1467"/>
                    </a:lnTo>
                    <a:close/>
                    <a:moveTo>
                      <a:pt x="1867" y="1467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73">
                <a:extLst>
                  <a:ext uri="{FF2B5EF4-FFF2-40B4-BE49-F238E27FC236}">
                    <a16:creationId xmlns:a16="http://schemas.microsoft.com/office/drawing/2014/main" id="{6CF9A66B-0FBE-4873-8491-4EAFA549A5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66" y="1235"/>
                <a:ext cx="7" cy="7"/>
              </a:xfrm>
              <a:custGeom>
                <a:avLst/>
                <a:gdLst>
                  <a:gd name="T0" fmla="*/ 0 w 267"/>
                  <a:gd name="T1" fmla="*/ 0 h 267"/>
                  <a:gd name="T2" fmla="*/ 267 w 267"/>
                  <a:gd name="T3" fmla="*/ 0 h 267"/>
                  <a:gd name="T4" fmla="*/ 267 w 267"/>
                  <a:gd name="T5" fmla="*/ 267 h 267"/>
                  <a:gd name="T6" fmla="*/ 0 w 267"/>
                  <a:gd name="T7" fmla="*/ 267 h 267"/>
                  <a:gd name="T8" fmla="*/ 0 w 267"/>
                  <a:gd name="T9" fmla="*/ 0 h 267"/>
                  <a:gd name="T10" fmla="*/ 0 w 267"/>
                  <a:gd name="T11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7" h="267">
                    <a:moveTo>
                      <a:pt x="0" y="0"/>
                    </a:moveTo>
                    <a:lnTo>
                      <a:pt x="267" y="0"/>
                    </a:lnTo>
                    <a:lnTo>
                      <a:pt x="267" y="267"/>
                    </a:lnTo>
                    <a:lnTo>
                      <a:pt x="0" y="267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74">
                <a:extLst>
                  <a:ext uri="{FF2B5EF4-FFF2-40B4-BE49-F238E27FC236}">
                    <a16:creationId xmlns:a16="http://schemas.microsoft.com/office/drawing/2014/main" id="{88EE2767-8A77-4A7C-B03D-C1048BF460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81" y="1235"/>
                <a:ext cx="22" cy="7"/>
              </a:xfrm>
              <a:custGeom>
                <a:avLst/>
                <a:gdLst>
                  <a:gd name="T0" fmla="*/ 0 w 800"/>
                  <a:gd name="T1" fmla="*/ 0 h 267"/>
                  <a:gd name="T2" fmla="*/ 800 w 800"/>
                  <a:gd name="T3" fmla="*/ 0 h 267"/>
                  <a:gd name="T4" fmla="*/ 800 w 800"/>
                  <a:gd name="T5" fmla="*/ 267 h 267"/>
                  <a:gd name="T6" fmla="*/ 0 w 800"/>
                  <a:gd name="T7" fmla="*/ 267 h 267"/>
                  <a:gd name="T8" fmla="*/ 0 w 800"/>
                  <a:gd name="T9" fmla="*/ 0 h 267"/>
                  <a:gd name="T10" fmla="*/ 0 w 800"/>
                  <a:gd name="T11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0" h="267">
                    <a:moveTo>
                      <a:pt x="0" y="0"/>
                    </a:moveTo>
                    <a:lnTo>
                      <a:pt x="800" y="0"/>
                    </a:lnTo>
                    <a:lnTo>
                      <a:pt x="800" y="267"/>
                    </a:lnTo>
                    <a:lnTo>
                      <a:pt x="0" y="267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75">
                <a:extLst>
                  <a:ext uri="{FF2B5EF4-FFF2-40B4-BE49-F238E27FC236}">
                    <a16:creationId xmlns:a16="http://schemas.microsoft.com/office/drawing/2014/main" id="{B8E26F5F-F6E4-4B41-B07D-443AEF881B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66" y="1250"/>
                <a:ext cx="7" cy="7"/>
              </a:xfrm>
              <a:custGeom>
                <a:avLst/>
                <a:gdLst>
                  <a:gd name="T0" fmla="*/ 0 w 267"/>
                  <a:gd name="T1" fmla="*/ 0 h 266"/>
                  <a:gd name="T2" fmla="*/ 267 w 267"/>
                  <a:gd name="T3" fmla="*/ 0 h 266"/>
                  <a:gd name="T4" fmla="*/ 267 w 267"/>
                  <a:gd name="T5" fmla="*/ 266 h 266"/>
                  <a:gd name="T6" fmla="*/ 0 w 267"/>
                  <a:gd name="T7" fmla="*/ 266 h 266"/>
                  <a:gd name="T8" fmla="*/ 0 w 267"/>
                  <a:gd name="T9" fmla="*/ 0 h 266"/>
                  <a:gd name="T10" fmla="*/ 0 w 267"/>
                  <a:gd name="T11" fmla="*/ 0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7" h="266">
                    <a:moveTo>
                      <a:pt x="0" y="0"/>
                    </a:moveTo>
                    <a:lnTo>
                      <a:pt x="267" y="0"/>
                    </a:lnTo>
                    <a:lnTo>
                      <a:pt x="267" y="266"/>
                    </a:lnTo>
                    <a:lnTo>
                      <a:pt x="0" y="266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76">
                <a:extLst>
                  <a:ext uri="{FF2B5EF4-FFF2-40B4-BE49-F238E27FC236}">
                    <a16:creationId xmlns:a16="http://schemas.microsoft.com/office/drawing/2014/main" id="{4AEA2DBF-C0D3-4E0D-97AE-4C26F0DCF9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81" y="1250"/>
                <a:ext cx="22" cy="7"/>
              </a:xfrm>
              <a:custGeom>
                <a:avLst/>
                <a:gdLst>
                  <a:gd name="T0" fmla="*/ 0 w 800"/>
                  <a:gd name="T1" fmla="*/ 0 h 266"/>
                  <a:gd name="T2" fmla="*/ 800 w 800"/>
                  <a:gd name="T3" fmla="*/ 0 h 266"/>
                  <a:gd name="T4" fmla="*/ 800 w 800"/>
                  <a:gd name="T5" fmla="*/ 266 h 266"/>
                  <a:gd name="T6" fmla="*/ 0 w 800"/>
                  <a:gd name="T7" fmla="*/ 266 h 266"/>
                  <a:gd name="T8" fmla="*/ 0 w 800"/>
                  <a:gd name="T9" fmla="*/ 0 h 266"/>
                  <a:gd name="T10" fmla="*/ 0 w 800"/>
                  <a:gd name="T11" fmla="*/ 0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0" h="266">
                    <a:moveTo>
                      <a:pt x="0" y="0"/>
                    </a:moveTo>
                    <a:lnTo>
                      <a:pt x="800" y="0"/>
                    </a:lnTo>
                    <a:lnTo>
                      <a:pt x="800" y="266"/>
                    </a:lnTo>
                    <a:lnTo>
                      <a:pt x="0" y="266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78">
                <a:extLst>
                  <a:ext uri="{FF2B5EF4-FFF2-40B4-BE49-F238E27FC236}">
                    <a16:creationId xmlns:a16="http://schemas.microsoft.com/office/drawing/2014/main" id="{326F4E05-269B-4233-9DFF-6A5E44BE9F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10" y="1219"/>
                <a:ext cx="230" cy="232"/>
              </a:xfrm>
              <a:custGeom>
                <a:avLst/>
                <a:gdLst>
                  <a:gd name="T0" fmla="*/ 7458 w 8267"/>
                  <a:gd name="T1" fmla="*/ 4843 h 8292"/>
                  <a:gd name="T2" fmla="*/ 6771 w 8267"/>
                  <a:gd name="T3" fmla="*/ 4558 h 8292"/>
                  <a:gd name="T4" fmla="*/ 5637 w 8267"/>
                  <a:gd name="T5" fmla="*/ 5020 h 8292"/>
                  <a:gd name="T6" fmla="*/ 5116 w 8267"/>
                  <a:gd name="T7" fmla="*/ 4966 h 8292"/>
                  <a:gd name="T8" fmla="*/ 4197 w 8267"/>
                  <a:gd name="T9" fmla="*/ 3752 h 8292"/>
                  <a:gd name="T10" fmla="*/ 3049 w 8267"/>
                  <a:gd name="T11" fmla="*/ 29 h 8292"/>
                  <a:gd name="T12" fmla="*/ 466 w 8267"/>
                  <a:gd name="T13" fmla="*/ 1320 h 8292"/>
                  <a:gd name="T14" fmla="*/ 1067 w 8267"/>
                  <a:gd name="T15" fmla="*/ 3092 h 8292"/>
                  <a:gd name="T16" fmla="*/ 2000 w 8267"/>
                  <a:gd name="T17" fmla="*/ 4716 h 8292"/>
                  <a:gd name="T18" fmla="*/ 0 w 8267"/>
                  <a:gd name="T19" fmla="*/ 8292 h 8292"/>
                  <a:gd name="T20" fmla="*/ 5946 w 8267"/>
                  <a:gd name="T21" fmla="*/ 7958 h 8292"/>
                  <a:gd name="T22" fmla="*/ 6854 w 8267"/>
                  <a:gd name="T23" fmla="*/ 7958 h 8292"/>
                  <a:gd name="T24" fmla="*/ 7982 w 8267"/>
                  <a:gd name="T25" fmla="*/ 7483 h 8292"/>
                  <a:gd name="T26" fmla="*/ 8267 w 8267"/>
                  <a:gd name="T27" fmla="*/ 6796 h 8292"/>
                  <a:gd name="T28" fmla="*/ 7805 w 8267"/>
                  <a:gd name="T29" fmla="*/ 5662 h 8292"/>
                  <a:gd name="T30" fmla="*/ 3156 w 8267"/>
                  <a:gd name="T31" fmla="*/ 5370 h 8292"/>
                  <a:gd name="T32" fmla="*/ 2782 w 8267"/>
                  <a:gd name="T33" fmla="*/ 6425 h 8292"/>
                  <a:gd name="T34" fmla="*/ 2554 w 8267"/>
                  <a:gd name="T35" fmla="*/ 8025 h 8292"/>
                  <a:gd name="T36" fmla="*/ 2749 w 8267"/>
                  <a:gd name="T37" fmla="*/ 6158 h 8292"/>
                  <a:gd name="T38" fmla="*/ 3284 w 8267"/>
                  <a:gd name="T39" fmla="*/ 5824 h 8292"/>
                  <a:gd name="T40" fmla="*/ 2932 w 8267"/>
                  <a:gd name="T41" fmla="*/ 4692 h 8292"/>
                  <a:gd name="T42" fmla="*/ 3600 w 8267"/>
                  <a:gd name="T43" fmla="*/ 4754 h 8292"/>
                  <a:gd name="T44" fmla="*/ 2267 w 8267"/>
                  <a:gd name="T45" fmla="*/ 4512 h 8292"/>
                  <a:gd name="T46" fmla="*/ 4267 w 8267"/>
                  <a:gd name="T47" fmla="*/ 2716 h 8292"/>
                  <a:gd name="T48" fmla="*/ 1943 w 8267"/>
                  <a:gd name="T49" fmla="*/ 637 h 8292"/>
                  <a:gd name="T50" fmla="*/ 4533 w 8267"/>
                  <a:gd name="T51" fmla="*/ 2562 h 8292"/>
                  <a:gd name="T52" fmla="*/ 3867 w 8267"/>
                  <a:gd name="T53" fmla="*/ 1892 h 8292"/>
                  <a:gd name="T54" fmla="*/ 1943 w 8267"/>
                  <a:gd name="T55" fmla="*/ 637 h 8292"/>
                  <a:gd name="T56" fmla="*/ 1333 w 8267"/>
                  <a:gd name="T57" fmla="*/ 2562 h 8292"/>
                  <a:gd name="T58" fmla="*/ 1333 w 8267"/>
                  <a:gd name="T59" fmla="*/ 3092 h 8292"/>
                  <a:gd name="T60" fmla="*/ 1606 w 8267"/>
                  <a:gd name="T61" fmla="*/ 3469 h 8292"/>
                  <a:gd name="T62" fmla="*/ 2054 w 8267"/>
                  <a:gd name="T63" fmla="*/ 2158 h 8292"/>
                  <a:gd name="T64" fmla="*/ 4000 w 8267"/>
                  <a:gd name="T65" fmla="*/ 3317 h 8292"/>
                  <a:gd name="T66" fmla="*/ 1867 w 8267"/>
                  <a:gd name="T67" fmla="*/ 3358 h 8292"/>
                  <a:gd name="T68" fmla="*/ 2711 w 8267"/>
                  <a:gd name="T69" fmla="*/ 5370 h 8292"/>
                  <a:gd name="T70" fmla="*/ 2105 w 8267"/>
                  <a:gd name="T71" fmla="*/ 4966 h 8292"/>
                  <a:gd name="T72" fmla="*/ 1630 w 8267"/>
                  <a:gd name="T73" fmla="*/ 5062 h 8292"/>
                  <a:gd name="T74" fmla="*/ 2529 w 8267"/>
                  <a:gd name="T75" fmla="*/ 6314 h 8292"/>
                  <a:gd name="T76" fmla="*/ 1333 w 8267"/>
                  <a:gd name="T77" fmla="*/ 6025 h 8292"/>
                  <a:gd name="T78" fmla="*/ 267 w 8267"/>
                  <a:gd name="T79" fmla="*/ 8025 h 8292"/>
                  <a:gd name="T80" fmla="*/ 3338 w 8267"/>
                  <a:gd name="T81" fmla="*/ 6314 h 8292"/>
                  <a:gd name="T82" fmla="*/ 4237 w 8267"/>
                  <a:gd name="T83" fmla="*/ 5062 h 8292"/>
                  <a:gd name="T84" fmla="*/ 4995 w 8267"/>
                  <a:gd name="T85" fmla="*/ 5663 h 8292"/>
                  <a:gd name="T86" fmla="*/ 4533 w 8267"/>
                  <a:gd name="T87" fmla="*/ 6796 h 8292"/>
                  <a:gd name="T88" fmla="*/ 4818 w 8267"/>
                  <a:gd name="T89" fmla="*/ 7483 h 8292"/>
                  <a:gd name="T90" fmla="*/ 5600 w 8267"/>
                  <a:gd name="T91" fmla="*/ 8025 h 8292"/>
                  <a:gd name="T92" fmla="*/ 7714 w 8267"/>
                  <a:gd name="T93" fmla="*/ 6659 h 8292"/>
                  <a:gd name="T94" fmla="*/ 7494 w 8267"/>
                  <a:gd name="T95" fmla="*/ 7188 h 8292"/>
                  <a:gd name="T96" fmla="*/ 7163 w 8267"/>
                  <a:gd name="T97" fmla="*/ 7519 h 8292"/>
                  <a:gd name="T98" fmla="*/ 6634 w 8267"/>
                  <a:gd name="T99" fmla="*/ 7739 h 8292"/>
                  <a:gd name="T100" fmla="*/ 6166 w 8267"/>
                  <a:gd name="T101" fmla="*/ 7739 h 8292"/>
                  <a:gd name="T102" fmla="*/ 5637 w 8267"/>
                  <a:gd name="T103" fmla="*/ 7519 h 8292"/>
                  <a:gd name="T104" fmla="*/ 5306 w 8267"/>
                  <a:gd name="T105" fmla="*/ 7188 h 8292"/>
                  <a:gd name="T106" fmla="*/ 5086 w 8267"/>
                  <a:gd name="T107" fmla="*/ 6659 h 8292"/>
                  <a:gd name="T108" fmla="*/ 5086 w 8267"/>
                  <a:gd name="T109" fmla="*/ 6191 h 8292"/>
                  <a:gd name="T110" fmla="*/ 5306 w 8267"/>
                  <a:gd name="T111" fmla="*/ 5662 h 8292"/>
                  <a:gd name="T112" fmla="*/ 5637 w 8267"/>
                  <a:gd name="T113" fmla="*/ 5331 h 8292"/>
                  <a:gd name="T114" fmla="*/ 6166 w 8267"/>
                  <a:gd name="T115" fmla="*/ 5111 h 8292"/>
                  <a:gd name="T116" fmla="*/ 6634 w 8267"/>
                  <a:gd name="T117" fmla="*/ 5111 h 8292"/>
                  <a:gd name="T118" fmla="*/ 7163 w 8267"/>
                  <a:gd name="T119" fmla="*/ 5331 h 8292"/>
                  <a:gd name="T120" fmla="*/ 7494 w 8267"/>
                  <a:gd name="T121" fmla="*/ 5662 h 8292"/>
                  <a:gd name="T122" fmla="*/ 7714 w 8267"/>
                  <a:gd name="T123" fmla="*/ 6191 h 8292"/>
                  <a:gd name="T124" fmla="*/ 8000 w 8267"/>
                  <a:gd name="T125" fmla="*/ 6588 h 8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267" h="8292">
                    <a:moveTo>
                      <a:pt x="7805" y="5662"/>
                    </a:moveTo>
                    <a:lnTo>
                      <a:pt x="7982" y="5367"/>
                    </a:lnTo>
                    <a:lnTo>
                      <a:pt x="7458" y="4843"/>
                    </a:lnTo>
                    <a:lnTo>
                      <a:pt x="7163" y="5020"/>
                    </a:lnTo>
                    <a:cubicBezTo>
                      <a:pt x="7064" y="4967"/>
                      <a:pt x="6961" y="4924"/>
                      <a:pt x="6854" y="4892"/>
                    </a:cubicBezTo>
                    <a:lnTo>
                      <a:pt x="6771" y="4558"/>
                    </a:lnTo>
                    <a:lnTo>
                      <a:pt x="6029" y="4558"/>
                    </a:lnTo>
                    <a:lnTo>
                      <a:pt x="5946" y="4892"/>
                    </a:lnTo>
                    <a:cubicBezTo>
                      <a:pt x="5839" y="4924"/>
                      <a:pt x="5736" y="4967"/>
                      <a:pt x="5637" y="5020"/>
                    </a:cubicBezTo>
                    <a:lnTo>
                      <a:pt x="5342" y="4843"/>
                    </a:lnTo>
                    <a:lnTo>
                      <a:pt x="5197" y="4988"/>
                    </a:lnTo>
                    <a:cubicBezTo>
                      <a:pt x="5170" y="4980"/>
                      <a:pt x="5144" y="4971"/>
                      <a:pt x="5116" y="4966"/>
                    </a:cubicBezTo>
                    <a:lnTo>
                      <a:pt x="3867" y="4716"/>
                    </a:lnTo>
                    <a:lnTo>
                      <a:pt x="3867" y="4297"/>
                    </a:lnTo>
                    <a:cubicBezTo>
                      <a:pt x="4015" y="4146"/>
                      <a:pt x="4129" y="3960"/>
                      <a:pt x="4197" y="3752"/>
                    </a:cubicBezTo>
                    <a:cubicBezTo>
                      <a:pt x="4534" y="3719"/>
                      <a:pt x="4800" y="3437"/>
                      <a:pt x="4800" y="3092"/>
                    </a:cubicBezTo>
                    <a:lnTo>
                      <a:pt x="4800" y="1943"/>
                    </a:lnTo>
                    <a:cubicBezTo>
                      <a:pt x="4800" y="929"/>
                      <a:pt x="4031" y="88"/>
                      <a:pt x="3049" y="29"/>
                    </a:cubicBezTo>
                    <a:cubicBezTo>
                      <a:pt x="2589" y="0"/>
                      <a:pt x="2137" y="143"/>
                      <a:pt x="1777" y="428"/>
                    </a:cubicBezTo>
                    <a:cubicBezTo>
                      <a:pt x="1450" y="688"/>
                      <a:pt x="1093" y="959"/>
                      <a:pt x="698" y="1186"/>
                    </a:cubicBezTo>
                    <a:lnTo>
                      <a:pt x="466" y="1320"/>
                    </a:lnTo>
                    <a:lnTo>
                      <a:pt x="563" y="1442"/>
                    </a:lnTo>
                    <a:cubicBezTo>
                      <a:pt x="706" y="1620"/>
                      <a:pt x="877" y="1768"/>
                      <a:pt x="1067" y="1883"/>
                    </a:cubicBezTo>
                    <a:lnTo>
                      <a:pt x="1067" y="3092"/>
                    </a:lnTo>
                    <a:cubicBezTo>
                      <a:pt x="1067" y="3434"/>
                      <a:pt x="1327" y="3714"/>
                      <a:pt x="1660" y="3751"/>
                    </a:cubicBezTo>
                    <a:cubicBezTo>
                      <a:pt x="1725" y="3961"/>
                      <a:pt x="1842" y="4153"/>
                      <a:pt x="2000" y="4309"/>
                    </a:cubicBezTo>
                    <a:lnTo>
                      <a:pt x="2000" y="4716"/>
                    </a:lnTo>
                    <a:lnTo>
                      <a:pt x="750" y="4966"/>
                    </a:lnTo>
                    <a:cubicBezTo>
                      <a:pt x="316" y="5053"/>
                      <a:pt x="0" y="5438"/>
                      <a:pt x="0" y="5881"/>
                    </a:cubicBezTo>
                    <a:lnTo>
                      <a:pt x="0" y="8292"/>
                    </a:lnTo>
                    <a:lnTo>
                      <a:pt x="5867" y="8292"/>
                    </a:lnTo>
                    <a:lnTo>
                      <a:pt x="5867" y="7930"/>
                    </a:lnTo>
                    <a:cubicBezTo>
                      <a:pt x="5893" y="7939"/>
                      <a:pt x="5919" y="7950"/>
                      <a:pt x="5946" y="7958"/>
                    </a:cubicBezTo>
                    <a:lnTo>
                      <a:pt x="6029" y="8292"/>
                    </a:lnTo>
                    <a:lnTo>
                      <a:pt x="6771" y="8292"/>
                    </a:lnTo>
                    <a:lnTo>
                      <a:pt x="6854" y="7958"/>
                    </a:lnTo>
                    <a:cubicBezTo>
                      <a:pt x="6961" y="7926"/>
                      <a:pt x="7064" y="7883"/>
                      <a:pt x="7163" y="7830"/>
                    </a:cubicBezTo>
                    <a:lnTo>
                      <a:pt x="7458" y="8007"/>
                    </a:lnTo>
                    <a:lnTo>
                      <a:pt x="7982" y="7483"/>
                    </a:lnTo>
                    <a:lnTo>
                      <a:pt x="7805" y="7188"/>
                    </a:lnTo>
                    <a:cubicBezTo>
                      <a:pt x="7858" y="7089"/>
                      <a:pt x="7901" y="6986"/>
                      <a:pt x="7933" y="6879"/>
                    </a:cubicBezTo>
                    <a:lnTo>
                      <a:pt x="8267" y="6796"/>
                    </a:lnTo>
                    <a:lnTo>
                      <a:pt x="8267" y="6054"/>
                    </a:lnTo>
                    <a:lnTo>
                      <a:pt x="7933" y="5971"/>
                    </a:lnTo>
                    <a:cubicBezTo>
                      <a:pt x="7901" y="5864"/>
                      <a:pt x="7858" y="5761"/>
                      <a:pt x="7805" y="5662"/>
                    </a:cubicBezTo>
                    <a:close/>
                    <a:moveTo>
                      <a:pt x="3972" y="5009"/>
                    </a:moveTo>
                    <a:lnTo>
                      <a:pt x="3674" y="5802"/>
                    </a:lnTo>
                    <a:lnTo>
                      <a:pt x="3156" y="5370"/>
                    </a:lnTo>
                    <a:lnTo>
                      <a:pt x="3761" y="4967"/>
                    </a:lnTo>
                    <a:lnTo>
                      <a:pt x="3972" y="5009"/>
                    </a:lnTo>
                    <a:close/>
                    <a:moveTo>
                      <a:pt x="2782" y="6425"/>
                    </a:moveTo>
                    <a:lnTo>
                      <a:pt x="3084" y="6425"/>
                    </a:lnTo>
                    <a:lnTo>
                      <a:pt x="3313" y="8025"/>
                    </a:lnTo>
                    <a:lnTo>
                      <a:pt x="2554" y="8025"/>
                    </a:lnTo>
                    <a:lnTo>
                      <a:pt x="2782" y="6425"/>
                    </a:lnTo>
                    <a:close/>
                    <a:moveTo>
                      <a:pt x="3118" y="6158"/>
                    </a:moveTo>
                    <a:lnTo>
                      <a:pt x="2749" y="6158"/>
                    </a:lnTo>
                    <a:lnTo>
                      <a:pt x="2582" y="5825"/>
                    </a:lnTo>
                    <a:lnTo>
                      <a:pt x="2933" y="5532"/>
                    </a:lnTo>
                    <a:lnTo>
                      <a:pt x="3284" y="5824"/>
                    </a:lnTo>
                    <a:lnTo>
                      <a:pt x="3118" y="6158"/>
                    </a:lnTo>
                    <a:close/>
                    <a:moveTo>
                      <a:pt x="2267" y="4512"/>
                    </a:moveTo>
                    <a:cubicBezTo>
                      <a:pt x="2468" y="4629"/>
                      <a:pt x="2695" y="4692"/>
                      <a:pt x="2932" y="4692"/>
                    </a:cubicBezTo>
                    <a:cubicBezTo>
                      <a:pt x="2962" y="4692"/>
                      <a:pt x="2992" y="4691"/>
                      <a:pt x="3022" y="4689"/>
                    </a:cubicBezTo>
                    <a:cubicBezTo>
                      <a:pt x="3232" y="4675"/>
                      <a:pt x="3428" y="4610"/>
                      <a:pt x="3600" y="4508"/>
                    </a:cubicBezTo>
                    <a:lnTo>
                      <a:pt x="3600" y="4754"/>
                    </a:lnTo>
                    <a:lnTo>
                      <a:pt x="2933" y="5198"/>
                    </a:lnTo>
                    <a:lnTo>
                      <a:pt x="2267" y="4754"/>
                    </a:lnTo>
                    <a:lnTo>
                      <a:pt x="2267" y="4512"/>
                    </a:lnTo>
                    <a:close/>
                    <a:moveTo>
                      <a:pt x="4258" y="3470"/>
                    </a:moveTo>
                    <a:cubicBezTo>
                      <a:pt x="4263" y="3420"/>
                      <a:pt x="4267" y="3369"/>
                      <a:pt x="4267" y="3317"/>
                    </a:cubicBezTo>
                    <a:lnTo>
                      <a:pt x="4267" y="2716"/>
                    </a:lnTo>
                    <a:cubicBezTo>
                      <a:pt x="4421" y="2771"/>
                      <a:pt x="4533" y="2918"/>
                      <a:pt x="4533" y="3092"/>
                    </a:cubicBezTo>
                    <a:cubicBezTo>
                      <a:pt x="4533" y="3269"/>
                      <a:pt x="4417" y="3417"/>
                      <a:pt x="4258" y="3470"/>
                    </a:cubicBezTo>
                    <a:close/>
                    <a:moveTo>
                      <a:pt x="1943" y="637"/>
                    </a:moveTo>
                    <a:cubicBezTo>
                      <a:pt x="2251" y="392"/>
                      <a:pt x="2639" y="271"/>
                      <a:pt x="3033" y="295"/>
                    </a:cubicBezTo>
                    <a:cubicBezTo>
                      <a:pt x="3874" y="346"/>
                      <a:pt x="4533" y="1070"/>
                      <a:pt x="4533" y="1943"/>
                    </a:cubicBezTo>
                    <a:lnTo>
                      <a:pt x="4533" y="2562"/>
                    </a:lnTo>
                    <a:cubicBezTo>
                      <a:pt x="4456" y="2503"/>
                      <a:pt x="4366" y="2459"/>
                      <a:pt x="4267" y="2439"/>
                    </a:cubicBezTo>
                    <a:lnTo>
                      <a:pt x="4267" y="2292"/>
                    </a:lnTo>
                    <a:cubicBezTo>
                      <a:pt x="4267" y="2071"/>
                      <a:pt x="4087" y="1892"/>
                      <a:pt x="3867" y="1892"/>
                    </a:cubicBezTo>
                    <a:lnTo>
                      <a:pt x="2054" y="1892"/>
                    </a:lnTo>
                    <a:cubicBezTo>
                      <a:pt x="1604" y="1892"/>
                      <a:pt x="1183" y="1712"/>
                      <a:pt x="874" y="1393"/>
                    </a:cubicBezTo>
                    <a:cubicBezTo>
                      <a:pt x="1267" y="1162"/>
                      <a:pt x="1620" y="894"/>
                      <a:pt x="1943" y="637"/>
                    </a:cubicBezTo>
                    <a:close/>
                    <a:moveTo>
                      <a:pt x="1600" y="2104"/>
                    </a:moveTo>
                    <a:lnTo>
                      <a:pt x="1600" y="2439"/>
                    </a:lnTo>
                    <a:cubicBezTo>
                      <a:pt x="1501" y="2459"/>
                      <a:pt x="1411" y="2503"/>
                      <a:pt x="1333" y="2562"/>
                    </a:cubicBezTo>
                    <a:lnTo>
                      <a:pt x="1333" y="2017"/>
                    </a:lnTo>
                    <a:cubicBezTo>
                      <a:pt x="1420" y="2052"/>
                      <a:pt x="1509" y="2082"/>
                      <a:pt x="1600" y="2104"/>
                    </a:cubicBezTo>
                    <a:close/>
                    <a:moveTo>
                      <a:pt x="1333" y="3092"/>
                    </a:moveTo>
                    <a:cubicBezTo>
                      <a:pt x="1333" y="2918"/>
                      <a:pt x="1445" y="2771"/>
                      <a:pt x="1600" y="2716"/>
                    </a:cubicBezTo>
                    <a:lnTo>
                      <a:pt x="1600" y="3358"/>
                    </a:lnTo>
                    <a:cubicBezTo>
                      <a:pt x="1600" y="3395"/>
                      <a:pt x="1603" y="3432"/>
                      <a:pt x="1606" y="3469"/>
                    </a:cubicBezTo>
                    <a:cubicBezTo>
                      <a:pt x="1448" y="3415"/>
                      <a:pt x="1333" y="3267"/>
                      <a:pt x="1333" y="3092"/>
                    </a:cubicBezTo>
                    <a:close/>
                    <a:moveTo>
                      <a:pt x="1867" y="2149"/>
                    </a:moveTo>
                    <a:cubicBezTo>
                      <a:pt x="1929" y="2155"/>
                      <a:pt x="1991" y="2158"/>
                      <a:pt x="2054" y="2158"/>
                    </a:cubicBezTo>
                    <a:lnTo>
                      <a:pt x="3867" y="2158"/>
                    </a:lnTo>
                    <a:cubicBezTo>
                      <a:pt x="3940" y="2158"/>
                      <a:pt x="4000" y="2218"/>
                      <a:pt x="4000" y="2292"/>
                    </a:cubicBezTo>
                    <a:lnTo>
                      <a:pt x="4000" y="3317"/>
                    </a:lnTo>
                    <a:cubicBezTo>
                      <a:pt x="4000" y="3901"/>
                      <a:pt x="3563" y="4387"/>
                      <a:pt x="3005" y="4423"/>
                    </a:cubicBezTo>
                    <a:cubicBezTo>
                      <a:pt x="2705" y="4442"/>
                      <a:pt x="2421" y="4341"/>
                      <a:pt x="2204" y="4137"/>
                    </a:cubicBezTo>
                    <a:cubicBezTo>
                      <a:pt x="1986" y="3933"/>
                      <a:pt x="1867" y="3656"/>
                      <a:pt x="1867" y="3358"/>
                    </a:cubicBezTo>
                    <a:lnTo>
                      <a:pt x="1867" y="2149"/>
                    </a:lnTo>
                    <a:close/>
                    <a:moveTo>
                      <a:pt x="2105" y="4966"/>
                    </a:moveTo>
                    <a:lnTo>
                      <a:pt x="2711" y="5370"/>
                    </a:lnTo>
                    <a:lnTo>
                      <a:pt x="2192" y="5802"/>
                    </a:lnTo>
                    <a:lnTo>
                      <a:pt x="1895" y="5008"/>
                    </a:lnTo>
                    <a:lnTo>
                      <a:pt x="2105" y="4966"/>
                    </a:lnTo>
                    <a:close/>
                    <a:moveTo>
                      <a:pt x="267" y="5881"/>
                    </a:moveTo>
                    <a:cubicBezTo>
                      <a:pt x="267" y="5564"/>
                      <a:pt x="492" y="5289"/>
                      <a:pt x="803" y="5227"/>
                    </a:cubicBezTo>
                    <a:lnTo>
                      <a:pt x="1630" y="5062"/>
                    </a:lnTo>
                    <a:lnTo>
                      <a:pt x="2075" y="6248"/>
                    </a:lnTo>
                    <a:lnTo>
                      <a:pt x="2372" y="6000"/>
                    </a:lnTo>
                    <a:lnTo>
                      <a:pt x="2529" y="6314"/>
                    </a:lnTo>
                    <a:lnTo>
                      <a:pt x="2284" y="8025"/>
                    </a:lnTo>
                    <a:lnTo>
                      <a:pt x="1333" y="8025"/>
                    </a:lnTo>
                    <a:lnTo>
                      <a:pt x="1333" y="6025"/>
                    </a:lnTo>
                    <a:lnTo>
                      <a:pt x="1067" y="6025"/>
                    </a:lnTo>
                    <a:lnTo>
                      <a:pt x="1067" y="8025"/>
                    </a:lnTo>
                    <a:lnTo>
                      <a:pt x="267" y="8025"/>
                    </a:lnTo>
                    <a:lnTo>
                      <a:pt x="267" y="5881"/>
                    </a:lnTo>
                    <a:close/>
                    <a:moveTo>
                      <a:pt x="3582" y="8025"/>
                    </a:moveTo>
                    <a:lnTo>
                      <a:pt x="3338" y="6314"/>
                    </a:lnTo>
                    <a:lnTo>
                      <a:pt x="3495" y="6000"/>
                    </a:lnTo>
                    <a:lnTo>
                      <a:pt x="3792" y="6248"/>
                    </a:lnTo>
                    <a:lnTo>
                      <a:pt x="4237" y="5062"/>
                    </a:lnTo>
                    <a:lnTo>
                      <a:pt x="4976" y="5210"/>
                    </a:lnTo>
                    <a:lnTo>
                      <a:pt x="4818" y="5367"/>
                    </a:lnTo>
                    <a:lnTo>
                      <a:pt x="4995" y="5663"/>
                    </a:lnTo>
                    <a:cubicBezTo>
                      <a:pt x="4942" y="5761"/>
                      <a:pt x="4899" y="5864"/>
                      <a:pt x="4867" y="5971"/>
                    </a:cubicBezTo>
                    <a:lnTo>
                      <a:pt x="4533" y="6054"/>
                    </a:lnTo>
                    <a:lnTo>
                      <a:pt x="4533" y="6796"/>
                    </a:lnTo>
                    <a:lnTo>
                      <a:pt x="4867" y="6879"/>
                    </a:lnTo>
                    <a:cubicBezTo>
                      <a:pt x="4899" y="6986"/>
                      <a:pt x="4942" y="7089"/>
                      <a:pt x="4995" y="7188"/>
                    </a:cubicBezTo>
                    <a:lnTo>
                      <a:pt x="4818" y="7483"/>
                    </a:lnTo>
                    <a:lnTo>
                      <a:pt x="5342" y="8007"/>
                    </a:lnTo>
                    <a:lnTo>
                      <a:pt x="5600" y="7852"/>
                    </a:lnTo>
                    <a:lnTo>
                      <a:pt x="5600" y="8025"/>
                    </a:lnTo>
                    <a:lnTo>
                      <a:pt x="3582" y="8025"/>
                    </a:lnTo>
                    <a:close/>
                    <a:moveTo>
                      <a:pt x="8000" y="6588"/>
                    </a:moveTo>
                    <a:lnTo>
                      <a:pt x="7714" y="6659"/>
                    </a:lnTo>
                    <a:lnTo>
                      <a:pt x="7695" y="6738"/>
                    </a:lnTo>
                    <a:cubicBezTo>
                      <a:pt x="7662" y="6872"/>
                      <a:pt x="7609" y="7001"/>
                      <a:pt x="7537" y="7119"/>
                    </a:cubicBezTo>
                    <a:lnTo>
                      <a:pt x="7494" y="7188"/>
                    </a:lnTo>
                    <a:lnTo>
                      <a:pt x="7646" y="7441"/>
                    </a:lnTo>
                    <a:lnTo>
                      <a:pt x="7416" y="7671"/>
                    </a:lnTo>
                    <a:lnTo>
                      <a:pt x="7163" y="7519"/>
                    </a:lnTo>
                    <a:lnTo>
                      <a:pt x="7094" y="7562"/>
                    </a:lnTo>
                    <a:cubicBezTo>
                      <a:pt x="6976" y="7634"/>
                      <a:pt x="6847" y="7687"/>
                      <a:pt x="6713" y="7720"/>
                    </a:cubicBezTo>
                    <a:lnTo>
                      <a:pt x="6634" y="7739"/>
                    </a:lnTo>
                    <a:lnTo>
                      <a:pt x="6563" y="8025"/>
                    </a:lnTo>
                    <a:lnTo>
                      <a:pt x="6237" y="8025"/>
                    </a:lnTo>
                    <a:lnTo>
                      <a:pt x="6166" y="7739"/>
                    </a:lnTo>
                    <a:lnTo>
                      <a:pt x="6087" y="7720"/>
                    </a:lnTo>
                    <a:cubicBezTo>
                      <a:pt x="5953" y="7687"/>
                      <a:pt x="5824" y="7634"/>
                      <a:pt x="5706" y="7562"/>
                    </a:cubicBezTo>
                    <a:lnTo>
                      <a:pt x="5637" y="7519"/>
                    </a:lnTo>
                    <a:lnTo>
                      <a:pt x="5384" y="7671"/>
                    </a:lnTo>
                    <a:lnTo>
                      <a:pt x="5154" y="7441"/>
                    </a:lnTo>
                    <a:lnTo>
                      <a:pt x="5306" y="7188"/>
                    </a:lnTo>
                    <a:lnTo>
                      <a:pt x="5264" y="7119"/>
                    </a:lnTo>
                    <a:cubicBezTo>
                      <a:pt x="5191" y="7001"/>
                      <a:pt x="5138" y="6872"/>
                      <a:pt x="5105" y="6738"/>
                    </a:cubicBezTo>
                    <a:lnTo>
                      <a:pt x="5086" y="6659"/>
                    </a:lnTo>
                    <a:lnTo>
                      <a:pt x="4800" y="6588"/>
                    </a:lnTo>
                    <a:lnTo>
                      <a:pt x="4800" y="6262"/>
                    </a:lnTo>
                    <a:lnTo>
                      <a:pt x="5086" y="6191"/>
                    </a:lnTo>
                    <a:lnTo>
                      <a:pt x="5105" y="6112"/>
                    </a:lnTo>
                    <a:cubicBezTo>
                      <a:pt x="5138" y="5978"/>
                      <a:pt x="5191" y="5849"/>
                      <a:pt x="5264" y="5731"/>
                    </a:cubicBezTo>
                    <a:lnTo>
                      <a:pt x="5306" y="5662"/>
                    </a:lnTo>
                    <a:lnTo>
                      <a:pt x="5154" y="5409"/>
                    </a:lnTo>
                    <a:lnTo>
                      <a:pt x="5384" y="5179"/>
                    </a:lnTo>
                    <a:lnTo>
                      <a:pt x="5637" y="5331"/>
                    </a:lnTo>
                    <a:lnTo>
                      <a:pt x="5706" y="5288"/>
                    </a:lnTo>
                    <a:cubicBezTo>
                      <a:pt x="5824" y="5216"/>
                      <a:pt x="5953" y="5163"/>
                      <a:pt x="6087" y="5130"/>
                    </a:cubicBezTo>
                    <a:lnTo>
                      <a:pt x="6166" y="5111"/>
                    </a:lnTo>
                    <a:lnTo>
                      <a:pt x="6237" y="4825"/>
                    </a:lnTo>
                    <a:lnTo>
                      <a:pt x="6563" y="4825"/>
                    </a:lnTo>
                    <a:lnTo>
                      <a:pt x="6634" y="5111"/>
                    </a:lnTo>
                    <a:lnTo>
                      <a:pt x="6713" y="5130"/>
                    </a:lnTo>
                    <a:cubicBezTo>
                      <a:pt x="6847" y="5163"/>
                      <a:pt x="6976" y="5216"/>
                      <a:pt x="7094" y="5288"/>
                    </a:cubicBezTo>
                    <a:lnTo>
                      <a:pt x="7163" y="5331"/>
                    </a:lnTo>
                    <a:lnTo>
                      <a:pt x="7416" y="5179"/>
                    </a:lnTo>
                    <a:lnTo>
                      <a:pt x="7646" y="5409"/>
                    </a:lnTo>
                    <a:lnTo>
                      <a:pt x="7494" y="5662"/>
                    </a:lnTo>
                    <a:lnTo>
                      <a:pt x="7537" y="5731"/>
                    </a:lnTo>
                    <a:cubicBezTo>
                      <a:pt x="7609" y="5849"/>
                      <a:pt x="7662" y="5978"/>
                      <a:pt x="7695" y="6112"/>
                    </a:cubicBezTo>
                    <a:lnTo>
                      <a:pt x="7714" y="6191"/>
                    </a:lnTo>
                    <a:lnTo>
                      <a:pt x="8000" y="6262"/>
                    </a:lnTo>
                    <a:lnTo>
                      <a:pt x="8000" y="6588"/>
                    </a:lnTo>
                    <a:close/>
                    <a:moveTo>
                      <a:pt x="8000" y="6588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81878AA7-8CCE-417A-B9B4-3DFF3A5B49BE}"/>
                </a:ext>
              </a:extLst>
            </p:cNvPr>
            <p:cNvSpPr/>
            <p:nvPr/>
          </p:nvSpPr>
          <p:spPr>
            <a:xfrm>
              <a:off x="6134490" y="2779198"/>
              <a:ext cx="408012" cy="408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7" name="Group 362">
              <a:extLst>
                <a:ext uri="{FF2B5EF4-FFF2-40B4-BE49-F238E27FC236}">
                  <a16:creationId xmlns:a16="http://schemas.microsoft.com/office/drawing/2014/main" id="{E8048F69-1D23-4C20-B3FE-EBF95285DA1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flipH="1">
              <a:off x="6123141" y="2793768"/>
              <a:ext cx="559688" cy="559688"/>
              <a:chOff x="6024" y="3320"/>
              <a:chExt cx="314" cy="314"/>
            </a:xfrm>
            <a:solidFill>
              <a:srgbClr val="D8E3FB"/>
            </a:solidFill>
          </p:grpSpPr>
          <p:sp>
            <p:nvSpPr>
              <p:cNvPr id="58" name="Freeform 363">
                <a:extLst>
                  <a:ext uri="{FF2B5EF4-FFF2-40B4-BE49-F238E27FC236}">
                    <a16:creationId xmlns:a16="http://schemas.microsoft.com/office/drawing/2014/main" id="{76A7D2D9-EBDA-4489-9434-D7B3342D2E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24" y="3320"/>
                <a:ext cx="314" cy="314"/>
              </a:xfrm>
              <a:custGeom>
                <a:avLst/>
                <a:gdLst>
                  <a:gd name="T0" fmla="*/ 3794 w 5788"/>
                  <a:gd name="T1" fmla="*/ 0 h 5788"/>
                  <a:gd name="T2" fmla="*/ 1800 w 5788"/>
                  <a:gd name="T3" fmla="*/ 1994 h 5788"/>
                  <a:gd name="T4" fmla="*/ 2206 w 5788"/>
                  <a:gd name="T5" fmla="*/ 3199 h 5788"/>
                  <a:gd name="T6" fmla="*/ 1802 w 5788"/>
                  <a:gd name="T7" fmla="*/ 3602 h 5788"/>
                  <a:gd name="T8" fmla="*/ 1795 w 5788"/>
                  <a:gd name="T9" fmla="*/ 3610 h 5788"/>
                  <a:gd name="T10" fmla="*/ 1694 w 5788"/>
                  <a:gd name="T11" fmla="*/ 3600 h 5788"/>
                  <a:gd name="T12" fmla="*/ 1345 w 5788"/>
                  <a:gd name="T13" fmla="*/ 3745 h 5788"/>
                  <a:gd name="T14" fmla="*/ 145 w 5788"/>
                  <a:gd name="T15" fmla="*/ 4945 h 5788"/>
                  <a:gd name="T16" fmla="*/ 0 w 5788"/>
                  <a:gd name="T17" fmla="*/ 5294 h 5788"/>
                  <a:gd name="T18" fmla="*/ 145 w 5788"/>
                  <a:gd name="T19" fmla="*/ 5643 h 5788"/>
                  <a:gd name="T20" fmla="*/ 494 w 5788"/>
                  <a:gd name="T21" fmla="*/ 5788 h 5788"/>
                  <a:gd name="T22" fmla="*/ 843 w 5788"/>
                  <a:gd name="T23" fmla="*/ 5643 h 5788"/>
                  <a:gd name="T24" fmla="*/ 2043 w 5788"/>
                  <a:gd name="T25" fmla="*/ 4443 h 5788"/>
                  <a:gd name="T26" fmla="*/ 2188 w 5788"/>
                  <a:gd name="T27" fmla="*/ 4094 h 5788"/>
                  <a:gd name="T28" fmla="*/ 2177 w 5788"/>
                  <a:gd name="T29" fmla="*/ 3992 h 5788"/>
                  <a:gd name="T30" fmla="*/ 2185 w 5788"/>
                  <a:gd name="T31" fmla="*/ 3985 h 5788"/>
                  <a:gd name="T32" fmla="*/ 2589 w 5788"/>
                  <a:gd name="T33" fmla="*/ 3581 h 5788"/>
                  <a:gd name="T34" fmla="*/ 3794 w 5788"/>
                  <a:gd name="T35" fmla="*/ 3988 h 5788"/>
                  <a:gd name="T36" fmla="*/ 5788 w 5788"/>
                  <a:gd name="T37" fmla="*/ 1994 h 5788"/>
                  <a:gd name="T38" fmla="*/ 3794 w 5788"/>
                  <a:gd name="T39" fmla="*/ 0 h 5788"/>
                  <a:gd name="T40" fmla="*/ 710 w 5788"/>
                  <a:gd name="T41" fmla="*/ 5510 h 5788"/>
                  <a:gd name="T42" fmla="*/ 494 w 5788"/>
                  <a:gd name="T43" fmla="*/ 5600 h 5788"/>
                  <a:gd name="T44" fmla="*/ 277 w 5788"/>
                  <a:gd name="T45" fmla="*/ 5510 h 5788"/>
                  <a:gd name="T46" fmla="*/ 188 w 5788"/>
                  <a:gd name="T47" fmla="*/ 5294 h 5788"/>
                  <a:gd name="T48" fmla="*/ 277 w 5788"/>
                  <a:gd name="T49" fmla="*/ 5077 h 5788"/>
                  <a:gd name="T50" fmla="*/ 1361 w 5788"/>
                  <a:gd name="T51" fmla="*/ 3994 h 5788"/>
                  <a:gd name="T52" fmla="*/ 1794 w 5788"/>
                  <a:gd name="T53" fmla="*/ 4427 h 5788"/>
                  <a:gd name="T54" fmla="*/ 710 w 5788"/>
                  <a:gd name="T55" fmla="*/ 5510 h 5788"/>
                  <a:gd name="T56" fmla="*/ 1926 w 5788"/>
                  <a:gd name="T57" fmla="*/ 4293 h 5788"/>
                  <a:gd name="T58" fmla="*/ 1494 w 5788"/>
                  <a:gd name="T59" fmla="*/ 3862 h 5788"/>
                  <a:gd name="T60" fmla="*/ 1694 w 5788"/>
                  <a:gd name="T61" fmla="*/ 3788 h 5788"/>
                  <a:gd name="T62" fmla="*/ 1910 w 5788"/>
                  <a:gd name="T63" fmla="*/ 3877 h 5788"/>
                  <a:gd name="T64" fmla="*/ 2000 w 5788"/>
                  <a:gd name="T65" fmla="*/ 4094 h 5788"/>
                  <a:gd name="T66" fmla="*/ 1926 w 5788"/>
                  <a:gd name="T67" fmla="*/ 4293 h 5788"/>
                  <a:gd name="T68" fmla="*/ 2097 w 5788"/>
                  <a:gd name="T69" fmla="*/ 3808 h 5788"/>
                  <a:gd name="T70" fmla="*/ 2043 w 5788"/>
                  <a:gd name="T71" fmla="*/ 3745 h 5788"/>
                  <a:gd name="T72" fmla="*/ 1979 w 5788"/>
                  <a:gd name="T73" fmla="*/ 3691 h 5788"/>
                  <a:gd name="T74" fmla="*/ 2327 w 5788"/>
                  <a:gd name="T75" fmla="*/ 3343 h 5788"/>
                  <a:gd name="T76" fmla="*/ 2445 w 5788"/>
                  <a:gd name="T77" fmla="*/ 3460 h 5788"/>
                  <a:gd name="T78" fmla="*/ 2097 w 5788"/>
                  <a:gd name="T79" fmla="*/ 3808 h 5788"/>
                  <a:gd name="T80" fmla="*/ 3794 w 5788"/>
                  <a:gd name="T81" fmla="*/ 3800 h 5788"/>
                  <a:gd name="T82" fmla="*/ 1988 w 5788"/>
                  <a:gd name="T83" fmla="*/ 1994 h 5788"/>
                  <a:gd name="T84" fmla="*/ 3794 w 5788"/>
                  <a:gd name="T85" fmla="*/ 188 h 5788"/>
                  <a:gd name="T86" fmla="*/ 5600 w 5788"/>
                  <a:gd name="T87" fmla="*/ 1994 h 5788"/>
                  <a:gd name="T88" fmla="*/ 3794 w 5788"/>
                  <a:gd name="T89" fmla="*/ 3800 h 5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788" h="5788">
                    <a:moveTo>
                      <a:pt x="3794" y="0"/>
                    </a:moveTo>
                    <a:cubicBezTo>
                      <a:pt x="2694" y="0"/>
                      <a:pt x="1800" y="894"/>
                      <a:pt x="1800" y="1994"/>
                    </a:cubicBezTo>
                    <a:cubicBezTo>
                      <a:pt x="1800" y="2446"/>
                      <a:pt x="1952" y="2864"/>
                      <a:pt x="2206" y="3199"/>
                    </a:cubicBezTo>
                    <a:lnTo>
                      <a:pt x="1802" y="3602"/>
                    </a:lnTo>
                    <a:cubicBezTo>
                      <a:pt x="1800" y="3605"/>
                      <a:pt x="1798" y="3608"/>
                      <a:pt x="1795" y="3610"/>
                    </a:cubicBezTo>
                    <a:cubicBezTo>
                      <a:pt x="1762" y="3604"/>
                      <a:pt x="1728" y="3600"/>
                      <a:pt x="1694" y="3600"/>
                    </a:cubicBezTo>
                    <a:cubicBezTo>
                      <a:pt x="1562" y="3600"/>
                      <a:pt x="1438" y="3651"/>
                      <a:pt x="1345" y="3745"/>
                    </a:cubicBezTo>
                    <a:lnTo>
                      <a:pt x="145" y="4945"/>
                    </a:lnTo>
                    <a:cubicBezTo>
                      <a:pt x="51" y="5038"/>
                      <a:pt x="0" y="5162"/>
                      <a:pt x="0" y="5294"/>
                    </a:cubicBezTo>
                    <a:cubicBezTo>
                      <a:pt x="0" y="5426"/>
                      <a:pt x="51" y="5550"/>
                      <a:pt x="145" y="5643"/>
                    </a:cubicBezTo>
                    <a:cubicBezTo>
                      <a:pt x="238" y="5736"/>
                      <a:pt x="362" y="5788"/>
                      <a:pt x="494" y="5788"/>
                    </a:cubicBezTo>
                    <a:cubicBezTo>
                      <a:pt x="626" y="5788"/>
                      <a:pt x="750" y="5736"/>
                      <a:pt x="843" y="5643"/>
                    </a:cubicBezTo>
                    <a:lnTo>
                      <a:pt x="2043" y="4443"/>
                    </a:lnTo>
                    <a:cubicBezTo>
                      <a:pt x="2136" y="4350"/>
                      <a:pt x="2188" y="4226"/>
                      <a:pt x="2188" y="4094"/>
                    </a:cubicBezTo>
                    <a:cubicBezTo>
                      <a:pt x="2188" y="4059"/>
                      <a:pt x="2184" y="4025"/>
                      <a:pt x="2177" y="3992"/>
                    </a:cubicBezTo>
                    <a:cubicBezTo>
                      <a:pt x="2180" y="3990"/>
                      <a:pt x="2182" y="3988"/>
                      <a:pt x="2185" y="3985"/>
                    </a:cubicBezTo>
                    <a:lnTo>
                      <a:pt x="2589" y="3581"/>
                    </a:lnTo>
                    <a:cubicBezTo>
                      <a:pt x="2924" y="3836"/>
                      <a:pt x="3341" y="3988"/>
                      <a:pt x="3794" y="3988"/>
                    </a:cubicBezTo>
                    <a:cubicBezTo>
                      <a:pt x="4893" y="3988"/>
                      <a:pt x="5788" y="3093"/>
                      <a:pt x="5788" y="1994"/>
                    </a:cubicBezTo>
                    <a:cubicBezTo>
                      <a:pt x="5788" y="894"/>
                      <a:pt x="4893" y="0"/>
                      <a:pt x="3794" y="0"/>
                    </a:cubicBezTo>
                    <a:close/>
                    <a:moveTo>
                      <a:pt x="710" y="5510"/>
                    </a:moveTo>
                    <a:cubicBezTo>
                      <a:pt x="652" y="5568"/>
                      <a:pt x="576" y="5600"/>
                      <a:pt x="494" y="5600"/>
                    </a:cubicBezTo>
                    <a:cubicBezTo>
                      <a:pt x="412" y="5600"/>
                      <a:pt x="335" y="5568"/>
                      <a:pt x="277" y="5510"/>
                    </a:cubicBezTo>
                    <a:cubicBezTo>
                      <a:pt x="219" y="5452"/>
                      <a:pt x="188" y="5376"/>
                      <a:pt x="188" y="5294"/>
                    </a:cubicBezTo>
                    <a:cubicBezTo>
                      <a:pt x="188" y="5212"/>
                      <a:pt x="219" y="5135"/>
                      <a:pt x="277" y="5077"/>
                    </a:cubicBezTo>
                    <a:lnTo>
                      <a:pt x="1361" y="3994"/>
                    </a:lnTo>
                    <a:lnTo>
                      <a:pt x="1794" y="4427"/>
                    </a:lnTo>
                    <a:lnTo>
                      <a:pt x="710" y="5510"/>
                    </a:lnTo>
                    <a:close/>
                    <a:moveTo>
                      <a:pt x="1926" y="4293"/>
                    </a:moveTo>
                    <a:lnTo>
                      <a:pt x="1494" y="3862"/>
                    </a:lnTo>
                    <a:cubicBezTo>
                      <a:pt x="1552" y="3813"/>
                      <a:pt x="1623" y="3788"/>
                      <a:pt x="1694" y="3788"/>
                    </a:cubicBezTo>
                    <a:cubicBezTo>
                      <a:pt x="1772" y="3788"/>
                      <a:pt x="1851" y="3818"/>
                      <a:pt x="1910" y="3877"/>
                    </a:cubicBezTo>
                    <a:cubicBezTo>
                      <a:pt x="1968" y="3935"/>
                      <a:pt x="2000" y="4012"/>
                      <a:pt x="2000" y="4094"/>
                    </a:cubicBezTo>
                    <a:cubicBezTo>
                      <a:pt x="2000" y="4168"/>
                      <a:pt x="1974" y="4238"/>
                      <a:pt x="1926" y="4293"/>
                    </a:cubicBezTo>
                    <a:close/>
                    <a:moveTo>
                      <a:pt x="2097" y="3808"/>
                    </a:moveTo>
                    <a:cubicBezTo>
                      <a:pt x="2081" y="3786"/>
                      <a:pt x="2063" y="3765"/>
                      <a:pt x="2043" y="3745"/>
                    </a:cubicBezTo>
                    <a:cubicBezTo>
                      <a:pt x="2023" y="3725"/>
                      <a:pt x="2002" y="3707"/>
                      <a:pt x="1979" y="3691"/>
                    </a:cubicBezTo>
                    <a:lnTo>
                      <a:pt x="2327" y="3343"/>
                    </a:lnTo>
                    <a:cubicBezTo>
                      <a:pt x="2365" y="3384"/>
                      <a:pt x="2404" y="3423"/>
                      <a:pt x="2445" y="3460"/>
                    </a:cubicBezTo>
                    <a:lnTo>
                      <a:pt x="2097" y="3808"/>
                    </a:lnTo>
                    <a:close/>
                    <a:moveTo>
                      <a:pt x="3794" y="3800"/>
                    </a:moveTo>
                    <a:cubicBezTo>
                      <a:pt x="2798" y="3800"/>
                      <a:pt x="1988" y="2990"/>
                      <a:pt x="1988" y="1994"/>
                    </a:cubicBezTo>
                    <a:cubicBezTo>
                      <a:pt x="1988" y="998"/>
                      <a:pt x="2798" y="188"/>
                      <a:pt x="3794" y="188"/>
                    </a:cubicBezTo>
                    <a:cubicBezTo>
                      <a:pt x="4790" y="188"/>
                      <a:pt x="5600" y="998"/>
                      <a:pt x="5600" y="1994"/>
                    </a:cubicBezTo>
                    <a:cubicBezTo>
                      <a:pt x="5600" y="2990"/>
                      <a:pt x="4790" y="3800"/>
                      <a:pt x="3794" y="380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364">
                <a:extLst>
                  <a:ext uri="{FF2B5EF4-FFF2-40B4-BE49-F238E27FC236}">
                    <a16:creationId xmlns:a16="http://schemas.microsoft.com/office/drawing/2014/main" id="{9D615DCD-DBD8-4B79-BA9C-F17BD67B88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43" y="3342"/>
                <a:ext cx="173" cy="173"/>
              </a:xfrm>
              <a:custGeom>
                <a:avLst/>
                <a:gdLst>
                  <a:gd name="T0" fmla="*/ 1594 w 3188"/>
                  <a:gd name="T1" fmla="*/ 0 h 3188"/>
                  <a:gd name="T2" fmla="*/ 0 w 3188"/>
                  <a:gd name="T3" fmla="*/ 1594 h 3188"/>
                  <a:gd name="T4" fmla="*/ 1594 w 3188"/>
                  <a:gd name="T5" fmla="*/ 3188 h 3188"/>
                  <a:gd name="T6" fmla="*/ 3188 w 3188"/>
                  <a:gd name="T7" fmla="*/ 1594 h 3188"/>
                  <a:gd name="T8" fmla="*/ 1594 w 3188"/>
                  <a:gd name="T9" fmla="*/ 0 h 3188"/>
                  <a:gd name="T10" fmla="*/ 1594 w 3188"/>
                  <a:gd name="T11" fmla="*/ 3000 h 3188"/>
                  <a:gd name="T12" fmla="*/ 188 w 3188"/>
                  <a:gd name="T13" fmla="*/ 1594 h 3188"/>
                  <a:gd name="T14" fmla="*/ 1594 w 3188"/>
                  <a:gd name="T15" fmla="*/ 188 h 3188"/>
                  <a:gd name="T16" fmla="*/ 3000 w 3188"/>
                  <a:gd name="T17" fmla="*/ 1594 h 3188"/>
                  <a:gd name="T18" fmla="*/ 1594 w 3188"/>
                  <a:gd name="T19" fmla="*/ 3000 h 3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88" h="3188">
                    <a:moveTo>
                      <a:pt x="1594" y="0"/>
                    </a:moveTo>
                    <a:cubicBezTo>
                      <a:pt x="715" y="0"/>
                      <a:pt x="0" y="715"/>
                      <a:pt x="0" y="1594"/>
                    </a:cubicBezTo>
                    <a:cubicBezTo>
                      <a:pt x="0" y="2473"/>
                      <a:pt x="715" y="3188"/>
                      <a:pt x="1594" y="3188"/>
                    </a:cubicBezTo>
                    <a:cubicBezTo>
                      <a:pt x="2473" y="3188"/>
                      <a:pt x="3188" y="2473"/>
                      <a:pt x="3188" y="1594"/>
                    </a:cubicBezTo>
                    <a:cubicBezTo>
                      <a:pt x="3188" y="715"/>
                      <a:pt x="2473" y="0"/>
                      <a:pt x="1594" y="0"/>
                    </a:cubicBezTo>
                    <a:close/>
                    <a:moveTo>
                      <a:pt x="1594" y="3000"/>
                    </a:moveTo>
                    <a:cubicBezTo>
                      <a:pt x="818" y="3000"/>
                      <a:pt x="188" y="2369"/>
                      <a:pt x="188" y="1594"/>
                    </a:cubicBezTo>
                    <a:cubicBezTo>
                      <a:pt x="188" y="818"/>
                      <a:pt x="818" y="188"/>
                      <a:pt x="1594" y="188"/>
                    </a:cubicBezTo>
                    <a:cubicBezTo>
                      <a:pt x="2369" y="188"/>
                      <a:pt x="3000" y="818"/>
                      <a:pt x="3000" y="1594"/>
                    </a:cubicBezTo>
                    <a:cubicBezTo>
                      <a:pt x="3000" y="2369"/>
                      <a:pt x="2369" y="3000"/>
                      <a:pt x="1594" y="300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365">
                <a:extLst>
                  <a:ext uri="{FF2B5EF4-FFF2-40B4-BE49-F238E27FC236}">
                    <a16:creationId xmlns:a16="http://schemas.microsoft.com/office/drawing/2014/main" id="{FF1082B4-519F-4B83-8421-DEB0AD3E68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6" y="3372"/>
                <a:ext cx="38" cy="99"/>
              </a:xfrm>
              <a:custGeom>
                <a:avLst/>
                <a:gdLst>
                  <a:gd name="T0" fmla="*/ 158 w 701"/>
                  <a:gd name="T1" fmla="*/ 28 h 1823"/>
                  <a:gd name="T2" fmla="*/ 28 w 701"/>
                  <a:gd name="T3" fmla="*/ 55 h 1823"/>
                  <a:gd name="T4" fmla="*/ 55 w 701"/>
                  <a:gd name="T5" fmla="*/ 185 h 1823"/>
                  <a:gd name="T6" fmla="*/ 513 w 701"/>
                  <a:gd name="T7" fmla="*/ 1029 h 1823"/>
                  <a:gd name="T8" fmla="*/ 283 w 701"/>
                  <a:gd name="T9" fmla="*/ 1669 h 1823"/>
                  <a:gd name="T10" fmla="*/ 296 w 701"/>
                  <a:gd name="T11" fmla="*/ 1801 h 1823"/>
                  <a:gd name="T12" fmla="*/ 355 w 701"/>
                  <a:gd name="T13" fmla="*/ 1823 h 1823"/>
                  <a:gd name="T14" fmla="*/ 428 w 701"/>
                  <a:gd name="T15" fmla="*/ 1788 h 1823"/>
                  <a:gd name="T16" fmla="*/ 701 w 701"/>
                  <a:gd name="T17" fmla="*/ 1029 h 1823"/>
                  <a:gd name="T18" fmla="*/ 158 w 701"/>
                  <a:gd name="T19" fmla="*/ 28 h 1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01" h="1823">
                    <a:moveTo>
                      <a:pt x="158" y="28"/>
                    </a:moveTo>
                    <a:cubicBezTo>
                      <a:pt x="114" y="0"/>
                      <a:pt x="56" y="12"/>
                      <a:pt x="28" y="55"/>
                    </a:cubicBezTo>
                    <a:cubicBezTo>
                      <a:pt x="0" y="99"/>
                      <a:pt x="12" y="157"/>
                      <a:pt x="55" y="185"/>
                    </a:cubicBezTo>
                    <a:cubicBezTo>
                      <a:pt x="342" y="372"/>
                      <a:pt x="513" y="687"/>
                      <a:pt x="513" y="1029"/>
                    </a:cubicBezTo>
                    <a:cubicBezTo>
                      <a:pt x="513" y="1262"/>
                      <a:pt x="431" y="1490"/>
                      <a:pt x="283" y="1669"/>
                    </a:cubicBezTo>
                    <a:cubicBezTo>
                      <a:pt x="250" y="1709"/>
                      <a:pt x="256" y="1768"/>
                      <a:pt x="296" y="1801"/>
                    </a:cubicBezTo>
                    <a:cubicBezTo>
                      <a:pt x="313" y="1816"/>
                      <a:pt x="334" y="1823"/>
                      <a:pt x="355" y="1823"/>
                    </a:cubicBezTo>
                    <a:cubicBezTo>
                      <a:pt x="382" y="1823"/>
                      <a:pt x="409" y="1811"/>
                      <a:pt x="428" y="1788"/>
                    </a:cubicBezTo>
                    <a:cubicBezTo>
                      <a:pt x="604" y="1575"/>
                      <a:pt x="701" y="1306"/>
                      <a:pt x="701" y="1029"/>
                    </a:cubicBezTo>
                    <a:cubicBezTo>
                      <a:pt x="701" y="624"/>
                      <a:pt x="498" y="249"/>
                      <a:pt x="158" y="28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366">
                <a:extLst>
                  <a:ext uri="{FF2B5EF4-FFF2-40B4-BE49-F238E27FC236}">
                    <a16:creationId xmlns:a16="http://schemas.microsoft.com/office/drawing/2014/main" id="{8623047B-0EE1-488D-A4C4-70998664CC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5" y="3363"/>
                <a:ext cx="21" cy="12"/>
              </a:xfrm>
              <a:custGeom>
                <a:avLst/>
                <a:gdLst>
                  <a:gd name="T0" fmla="*/ 311 w 395"/>
                  <a:gd name="T1" fmla="*/ 20 h 206"/>
                  <a:gd name="T2" fmla="*/ 94 w 395"/>
                  <a:gd name="T3" fmla="*/ 0 h 206"/>
                  <a:gd name="T4" fmla="*/ 0 w 395"/>
                  <a:gd name="T5" fmla="*/ 94 h 206"/>
                  <a:gd name="T6" fmla="*/ 94 w 395"/>
                  <a:gd name="T7" fmla="*/ 188 h 206"/>
                  <a:gd name="T8" fmla="*/ 277 w 395"/>
                  <a:gd name="T9" fmla="*/ 204 h 206"/>
                  <a:gd name="T10" fmla="*/ 294 w 395"/>
                  <a:gd name="T11" fmla="*/ 206 h 206"/>
                  <a:gd name="T12" fmla="*/ 386 w 395"/>
                  <a:gd name="T13" fmla="*/ 129 h 206"/>
                  <a:gd name="T14" fmla="*/ 311 w 395"/>
                  <a:gd name="T15" fmla="*/ 2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5" h="206">
                    <a:moveTo>
                      <a:pt x="311" y="20"/>
                    </a:moveTo>
                    <a:cubicBezTo>
                      <a:pt x="240" y="7"/>
                      <a:pt x="167" y="0"/>
                      <a:pt x="94" y="0"/>
                    </a:cubicBezTo>
                    <a:cubicBezTo>
                      <a:pt x="42" y="0"/>
                      <a:pt x="0" y="42"/>
                      <a:pt x="0" y="94"/>
                    </a:cubicBezTo>
                    <a:cubicBezTo>
                      <a:pt x="0" y="146"/>
                      <a:pt x="42" y="188"/>
                      <a:pt x="94" y="188"/>
                    </a:cubicBezTo>
                    <a:cubicBezTo>
                      <a:pt x="155" y="188"/>
                      <a:pt x="217" y="193"/>
                      <a:pt x="277" y="204"/>
                    </a:cubicBezTo>
                    <a:cubicBezTo>
                      <a:pt x="283" y="205"/>
                      <a:pt x="288" y="206"/>
                      <a:pt x="294" y="206"/>
                    </a:cubicBezTo>
                    <a:cubicBezTo>
                      <a:pt x="338" y="206"/>
                      <a:pt x="378" y="174"/>
                      <a:pt x="386" y="129"/>
                    </a:cubicBezTo>
                    <a:cubicBezTo>
                      <a:pt x="395" y="78"/>
                      <a:pt x="362" y="29"/>
                      <a:pt x="311" y="2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5C6F4107-C3B9-4782-87F3-6CAC72F1013F}"/>
              </a:ext>
            </a:extLst>
          </p:cNvPr>
          <p:cNvGrpSpPr/>
          <p:nvPr/>
        </p:nvGrpSpPr>
        <p:grpSpPr>
          <a:xfrm>
            <a:off x="3222838" y="1922188"/>
            <a:ext cx="750610" cy="750610"/>
            <a:chOff x="3101975" y="2686050"/>
            <a:chExt cx="857250" cy="857250"/>
          </a:xfrm>
          <a:solidFill>
            <a:srgbClr val="D8E3FB"/>
          </a:solidFill>
        </p:grpSpPr>
        <p:sp>
          <p:nvSpPr>
            <p:cNvPr id="74" name="Freeform 111">
              <a:extLst>
                <a:ext uri="{FF2B5EF4-FFF2-40B4-BE49-F238E27FC236}">
                  <a16:creationId xmlns:a16="http://schemas.microsoft.com/office/drawing/2014/main" id="{5229C651-3759-4C56-8B08-5963DEF97B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1975" y="2686050"/>
              <a:ext cx="857250" cy="857250"/>
            </a:xfrm>
            <a:custGeom>
              <a:avLst/>
              <a:gdLst>
                <a:gd name="T0" fmla="*/ 7515 w 8267"/>
                <a:gd name="T1" fmla="*/ 2933 h 8267"/>
                <a:gd name="T2" fmla="*/ 6267 w 8267"/>
                <a:gd name="T3" fmla="*/ 0 h 8267"/>
                <a:gd name="T4" fmla="*/ 5019 w 8267"/>
                <a:gd name="T5" fmla="*/ 2933 h 8267"/>
                <a:gd name="T6" fmla="*/ 4267 w 8267"/>
                <a:gd name="T7" fmla="*/ 933 h 8267"/>
                <a:gd name="T8" fmla="*/ 3428 w 8267"/>
                <a:gd name="T9" fmla="*/ 39 h 8267"/>
                <a:gd name="T10" fmla="*/ 133 w 8267"/>
                <a:gd name="T11" fmla="*/ 0 h 8267"/>
                <a:gd name="T12" fmla="*/ 0 w 8267"/>
                <a:gd name="T13" fmla="*/ 5200 h 8267"/>
                <a:gd name="T14" fmla="*/ 1067 w 8267"/>
                <a:gd name="T15" fmla="*/ 5333 h 8267"/>
                <a:gd name="T16" fmla="*/ 1467 w 8267"/>
                <a:gd name="T17" fmla="*/ 6933 h 8267"/>
                <a:gd name="T18" fmla="*/ 4133 w 8267"/>
                <a:gd name="T19" fmla="*/ 7467 h 8267"/>
                <a:gd name="T20" fmla="*/ 2800 w 8267"/>
                <a:gd name="T21" fmla="*/ 8133 h 8267"/>
                <a:gd name="T22" fmla="*/ 6400 w 8267"/>
                <a:gd name="T23" fmla="*/ 8267 h 8267"/>
                <a:gd name="T24" fmla="*/ 5867 w 8267"/>
                <a:gd name="T25" fmla="*/ 7467 h 8267"/>
                <a:gd name="T26" fmla="*/ 5200 w 8267"/>
                <a:gd name="T27" fmla="*/ 6933 h 8267"/>
                <a:gd name="T28" fmla="*/ 8267 w 8267"/>
                <a:gd name="T29" fmla="*/ 6533 h 8267"/>
                <a:gd name="T30" fmla="*/ 7867 w 8267"/>
                <a:gd name="T31" fmla="*/ 2933 h 8267"/>
                <a:gd name="T32" fmla="*/ 7733 w 8267"/>
                <a:gd name="T33" fmla="*/ 1733 h 8267"/>
                <a:gd name="T34" fmla="*/ 4800 w 8267"/>
                <a:gd name="T35" fmla="*/ 1733 h 8267"/>
                <a:gd name="T36" fmla="*/ 6000 w 8267"/>
                <a:gd name="T37" fmla="*/ 4533 h 8267"/>
                <a:gd name="T38" fmla="*/ 6533 w 8267"/>
                <a:gd name="T39" fmla="*/ 5867 h 8267"/>
                <a:gd name="T40" fmla="*/ 6000 w 8267"/>
                <a:gd name="T41" fmla="*/ 5867 h 8267"/>
                <a:gd name="T42" fmla="*/ 6000 w 8267"/>
                <a:gd name="T43" fmla="*/ 4267 h 8267"/>
                <a:gd name="T44" fmla="*/ 6533 w 8267"/>
                <a:gd name="T45" fmla="*/ 4000 h 8267"/>
                <a:gd name="T46" fmla="*/ 6000 w 8267"/>
                <a:gd name="T47" fmla="*/ 4267 h 8267"/>
                <a:gd name="T48" fmla="*/ 6000 w 8267"/>
                <a:gd name="T49" fmla="*/ 3733 h 8267"/>
                <a:gd name="T50" fmla="*/ 6267 w 8267"/>
                <a:gd name="T51" fmla="*/ 3467 h 8267"/>
                <a:gd name="T52" fmla="*/ 6533 w 8267"/>
                <a:gd name="T53" fmla="*/ 3733 h 8267"/>
                <a:gd name="T54" fmla="*/ 5733 w 8267"/>
                <a:gd name="T55" fmla="*/ 3382 h 8267"/>
                <a:gd name="T56" fmla="*/ 4267 w 8267"/>
                <a:gd name="T57" fmla="*/ 3467 h 8267"/>
                <a:gd name="T58" fmla="*/ 5347 w 8267"/>
                <a:gd name="T59" fmla="*/ 3200 h 8267"/>
                <a:gd name="T60" fmla="*/ 3811 w 8267"/>
                <a:gd name="T61" fmla="*/ 800 h 8267"/>
                <a:gd name="T62" fmla="*/ 3467 w 8267"/>
                <a:gd name="T63" fmla="*/ 455 h 8267"/>
                <a:gd name="T64" fmla="*/ 3200 w 8267"/>
                <a:gd name="T65" fmla="*/ 267 h 8267"/>
                <a:gd name="T66" fmla="*/ 3333 w 8267"/>
                <a:gd name="T67" fmla="*/ 1067 h 8267"/>
                <a:gd name="T68" fmla="*/ 4000 w 8267"/>
                <a:gd name="T69" fmla="*/ 5067 h 8267"/>
                <a:gd name="T70" fmla="*/ 267 w 8267"/>
                <a:gd name="T71" fmla="*/ 267 h 8267"/>
                <a:gd name="T72" fmla="*/ 3089 w 8267"/>
                <a:gd name="T73" fmla="*/ 8000 h 8267"/>
                <a:gd name="T74" fmla="*/ 5867 w 8267"/>
                <a:gd name="T75" fmla="*/ 7733 h 8267"/>
                <a:gd name="T76" fmla="*/ 4933 w 8267"/>
                <a:gd name="T77" fmla="*/ 7467 h 8267"/>
                <a:gd name="T78" fmla="*/ 4400 w 8267"/>
                <a:gd name="T79" fmla="*/ 6933 h 8267"/>
                <a:gd name="T80" fmla="*/ 4933 w 8267"/>
                <a:gd name="T81" fmla="*/ 7467 h 8267"/>
                <a:gd name="T82" fmla="*/ 7867 w 8267"/>
                <a:gd name="T83" fmla="*/ 6667 h 8267"/>
                <a:gd name="T84" fmla="*/ 1333 w 8267"/>
                <a:gd name="T85" fmla="*/ 6533 h 8267"/>
                <a:gd name="T86" fmla="*/ 1600 w 8267"/>
                <a:gd name="T87" fmla="*/ 5333 h 8267"/>
                <a:gd name="T88" fmla="*/ 1733 w 8267"/>
                <a:gd name="T89" fmla="*/ 6400 h 8267"/>
                <a:gd name="T90" fmla="*/ 5467 w 8267"/>
                <a:gd name="T91" fmla="*/ 6133 h 8267"/>
                <a:gd name="T92" fmla="*/ 1867 w 8267"/>
                <a:gd name="T93" fmla="*/ 5333 h 8267"/>
                <a:gd name="T94" fmla="*/ 4267 w 8267"/>
                <a:gd name="T95" fmla="*/ 5200 h 8267"/>
                <a:gd name="T96" fmla="*/ 5733 w 8267"/>
                <a:gd name="T97" fmla="*/ 3733 h 8267"/>
                <a:gd name="T98" fmla="*/ 5467 w 8267"/>
                <a:gd name="T99" fmla="*/ 4267 h 8267"/>
                <a:gd name="T100" fmla="*/ 5733 w 8267"/>
                <a:gd name="T101" fmla="*/ 4533 h 8267"/>
                <a:gd name="T102" fmla="*/ 6267 w 8267"/>
                <a:gd name="T103" fmla="*/ 6400 h 8267"/>
                <a:gd name="T104" fmla="*/ 6800 w 8267"/>
                <a:gd name="T105" fmla="*/ 4533 h 8267"/>
                <a:gd name="T106" fmla="*/ 7067 w 8267"/>
                <a:gd name="T107" fmla="*/ 4267 h 8267"/>
                <a:gd name="T108" fmla="*/ 6800 w 8267"/>
                <a:gd name="T109" fmla="*/ 3733 h 8267"/>
                <a:gd name="T110" fmla="*/ 7467 w 8267"/>
                <a:gd name="T111" fmla="*/ 6133 h 8267"/>
                <a:gd name="T112" fmla="*/ 7067 w 8267"/>
                <a:gd name="T113" fmla="*/ 6400 h 8267"/>
                <a:gd name="T114" fmla="*/ 7733 w 8267"/>
                <a:gd name="T115" fmla="*/ 6267 h 8267"/>
                <a:gd name="T116" fmla="*/ 7600 w 8267"/>
                <a:gd name="T117" fmla="*/ 3467 h 8267"/>
                <a:gd name="T118" fmla="*/ 6800 w 8267"/>
                <a:gd name="T119" fmla="*/ 3382 h 8267"/>
                <a:gd name="T120" fmla="*/ 7867 w 8267"/>
                <a:gd name="T121" fmla="*/ 3200 h 8267"/>
                <a:gd name="T122" fmla="*/ 8000 w 8267"/>
                <a:gd name="T123" fmla="*/ 6533 h 8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267" h="8267">
                  <a:moveTo>
                    <a:pt x="7867" y="2933"/>
                  </a:moveTo>
                  <a:lnTo>
                    <a:pt x="7515" y="2933"/>
                  </a:lnTo>
                  <a:cubicBezTo>
                    <a:pt x="7814" y="2622"/>
                    <a:pt x="8000" y="2199"/>
                    <a:pt x="8000" y="1733"/>
                  </a:cubicBezTo>
                  <a:cubicBezTo>
                    <a:pt x="8000" y="778"/>
                    <a:pt x="7222" y="0"/>
                    <a:pt x="6267" y="0"/>
                  </a:cubicBezTo>
                  <a:cubicBezTo>
                    <a:pt x="5311" y="0"/>
                    <a:pt x="4533" y="778"/>
                    <a:pt x="4533" y="1733"/>
                  </a:cubicBezTo>
                  <a:cubicBezTo>
                    <a:pt x="4533" y="2199"/>
                    <a:pt x="4719" y="2622"/>
                    <a:pt x="5019" y="2933"/>
                  </a:cubicBezTo>
                  <a:lnTo>
                    <a:pt x="4267" y="2933"/>
                  </a:lnTo>
                  <a:lnTo>
                    <a:pt x="4267" y="933"/>
                  </a:lnTo>
                  <a:cubicBezTo>
                    <a:pt x="4267" y="896"/>
                    <a:pt x="4252" y="863"/>
                    <a:pt x="4227" y="839"/>
                  </a:cubicBezTo>
                  <a:lnTo>
                    <a:pt x="3428" y="39"/>
                  </a:lnTo>
                  <a:cubicBezTo>
                    <a:pt x="3404" y="15"/>
                    <a:pt x="3370" y="0"/>
                    <a:pt x="3333" y="0"/>
                  </a:cubicBezTo>
                  <a:lnTo>
                    <a:pt x="133" y="0"/>
                  </a:lnTo>
                  <a:cubicBezTo>
                    <a:pt x="60" y="0"/>
                    <a:pt x="0" y="60"/>
                    <a:pt x="0" y="133"/>
                  </a:cubicBezTo>
                  <a:lnTo>
                    <a:pt x="0" y="5200"/>
                  </a:lnTo>
                  <a:cubicBezTo>
                    <a:pt x="0" y="5274"/>
                    <a:pt x="60" y="5333"/>
                    <a:pt x="133" y="5333"/>
                  </a:cubicBezTo>
                  <a:lnTo>
                    <a:pt x="1067" y="5333"/>
                  </a:lnTo>
                  <a:lnTo>
                    <a:pt x="1067" y="6533"/>
                  </a:lnTo>
                  <a:cubicBezTo>
                    <a:pt x="1067" y="6754"/>
                    <a:pt x="1246" y="6933"/>
                    <a:pt x="1467" y="6933"/>
                  </a:cubicBezTo>
                  <a:lnTo>
                    <a:pt x="4133" y="6933"/>
                  </a:lnTo>
                  <a:lnTo>
                    <a:pt x="4133" y="7467"/>
                  </a:lnTo>
                  <a:lnTo>
                    <a:pt x="3467" y="7467"/>
                  </a:lnTo>
                  <a:cubicBezTo>
                    <a:pt x="3099" y="7467"/>
                    <a:pt x="2800" y="7766"/>
                    <a:pt x="2800" y="8133"/>
                  </a:cubicBezTo>
                  <a:cubicBezTo>
                    <a:pt x="2800" y="8207"/>
                    <a:pt x="2860" y="8267"/>
                    <a:pt x="2933" y="8267"/>
                  </a:cubicBezTo>
                  <a:lnTo>
                    <a:pt x="6400" y="8267"/>
                  </a:lnTo>
                  <a:cubicBezTo>
                    <a:pt x="6474" y="8267"/>
                    <a:pt x="6533" y="8207"/>
                    <a:pt x="6533" y="8133"/>
                  </a:cubicBezTo>
                  <a:cubicBezTo>
                    <a:pt x="6533" y="7766"/>
                    <a:pt x="6234" y="7467"/>
                    <a:pt x="5867" y="7467"/>
                  </a:cubicBezTo>
                  <a:lnTo>
                    <a:pt x="5200" y="7467"/>
                  </a:lnTo>
                  <a:lnTo>
                    <a:pt x="5200" y="6933"/>
                  </a:lnTo>
                  <a:lnTo>
                    <a:pt x="7867" y="6933"/>
                  </a:lnTo>
                  <a:cubicBezTo>
                    <a:pt x="8087" y="6933"/>
                    <a:pt x="8267" y="6754"/>
                    <a:pt x="8267" y="6533"/>
                  </a:cubicBezTo>
                  <a:lnTo>
                    <a:pt x="8267" y="3333"/>
                  </a:lnTo>
                  <a:cubicBezTo>
                    <a:pt x="8267" y="3113"/>
                    <a:pt x="8087" y="2933"/>
                    <a:pt x="7867" y="2933"/>
                  </a:cubicBezTo>
                  <a:close/>
                  <a:moveTo>
                    <a:pt x="6267" y="267"/>
                  </a:moveTo>
                  <a:cubicBezTo>
                    <a:pt x="7075" y="267"/>
                    <a:pt x="7733" y="925"/>
                    <a:pt x="7733" y="1733"/>
                  </a:cubicBezTo>
                  <a:cubicBezTo>
                    <a:pt x="7733" y="2542"/>
                    <a:pt x="7075" y="3200"/>
                    <a:pt x="6267" y="3200"/>
                  </a:cubicBezTo>
                  <a:cubicBezTo>
                    <a:pt x="5458" y="3200"/>
                    <a:pt x="4800" y="2542"/>
                    <a:pt x="4800" y="1733"/>
                  </a:cubicBezTo>
                  <a:cubicBezTo>
                    <a:pt x="4800" y="925"/>
                    <a:pt x="5458" y="267"/>
                    <a:pt x="6267" y="267"/>
                  </a:cubicBezTo>
                  <a:close/>
                  <a:moveTo>
                    <a:pt x="6000" y="4533"/>
                  </a:moveTo>
                  <a:lnTo>
                    <a:pt x="6533" y="4533"/>
                  </a:lnTo>
                  <a:lnTo>
                    <a:pt x="6533" y="5867"/>
                  </a:lnTo>
                  <a:cubicBezTo>
                    <a:pt x="6533" y="6014"/>
                    <a:pt x="6414" y="6133"/>
                    <a:pt x="6267" y="6133"/>
                  </a:cubicBezTo>
                  <a:cubicBezTo>
                    <a:pt x="6120" y="6133"/>
                    <a:pt x="6000" y="6014"/>
                    <a:pt x="6000" y="5867"/>
                  </a:cubicBezTo>
                  <a:lnTo>
                    <a:pt x="6000" y="4533"/>
                  </a:lnTo>
                  <a:close/>
                  <a:moveTo>
                    <a:pt x="6000" y="4267"/>
                  </a:moveTo>
                  <a:lnTo>
                    <a:pt x="6000" y="4000"/>
                  </a:lnTo>
                  <a:lnTo>
                    <a:pt x="6533" y="4000"/>
                  </a:lnTo>
                  <a:lnTo>
                    <a:pt x="6533" y="4267"/>
                  </a:lnTo>
                  <a:lnTo>
                    <a:pt x="6000" y="4267"/>
                  </a:lnTo>
                  <a:close/>
                  <a:moveTo>
                    <a:pt x="6533" y="3733"/>
                  </a:moveTo>
                  <a:lnTo>
                    <a:pt x="6000" y="3733"/>
                  </a:lnTo>
                  <a:lnTo>
                    <a:pt x="6000" y="3444"/>
                  </a:lnTo>
                  <a:cubicBezTo>
                    <a:pt x="6087" y="3458"/>
                    <a:pt x="6176" y="3467"/>
                    <a:pt x="6267" y="3467"/>
                  </a:cubicBezTo>
                  <a:cubicBezTo>
                    <a:pt x="6358" y="3467"/>
                    <a:pt x="6446" y="3457"/>
                    <a:pt x="6533" y="3444"/>
                  </a:cubicBezTo>
                  <a:lnTo>
                    <a:pt x="6533" y="3733"/>
                  </a:lnTo>
                  <a:close/>
                  <a:moveTo>
                    <a:pt x="5347" y="3200"/>
                  </a:moveTo>
                  <a:cubicBezTo>
                    <a:pt x="5467" y="3275"/>
                    <a:pt x="5596" y="3337"/>
                    <a:pt x="5733" y="3382"/>
                  </a:cubicBezTo>
                  <a:lnTo>
                    <a:pt x="5733" y="3467"/>
                  </a:lnTo>
                  <a:lnTo>
                    <a:pt x="4267" y="3467"/>
                  </a:lnTo>
                  <a:lnTo>
                    <a:pt x="4267" y="3200"/>
                  </a:lnTo>
                  <a:lnTo>
                    <a:pt x="5347" y="3200"/>
                  </a:lnTo>
                  <a:close/>
                  <a:moveTo>
                    <a:pt x="3467" y="455"/>
                  </a:moveTo>
                  <a:lnTo>
                    <a:pt x="3811" y="800"/>
                  </a:lnTo>
                  <a:lnTo>
                    <a:pt x="3467" y="800"/>
                  </a:lnTo>
                  <a:lnTo>
                    <a:pt x="3467" y="455"/>
                  </a:lnTo>
                  <a:close/>
                  <a:moveTo>
                    <a:pt x="267" y="267"/>
                  </a:moveTo>
                  <a:lnTo>
                    <a:pt x="3200" y="267"/>
                  </a:lnTo>
                  <a:lnTo>
                    <a:pt x="3200" y="933"/>
                  </a:lnTo>
                  <a:cubicBezTo>
                    <a:pt x="3200" y="1007"/>
                    <a:pt x="3260" y="1067"/>
                    <a:pt x="3333" y="1067"/>
                  </a:cubicBezTo>
                  <a:lnTo>
                    <a:pt x="4000" y="1067"/>
                  </a:lnTo>
                  <a:lnTo>
                    <a:pt x="4000" y="5067"/>
                  </a:lnTo>
                  <a:lnTo>
                    <a:pt x="267" y="5067"/>
                  </a:lnTo>
                  <a:lnTo>
                    <a:pt x="267" y="267"/>
                  </a:lnTo>
                  <a:close/>
                  <a:moveTo>
                    <a:pt x="6244" y="8000"/>
                  </a:moveTo>
                  <a:lnTo>
                    <a:pt x="3089" y="8000"/>
                  </a:lnTo>
                  <a:cubicBezTo>
                    <a:pt x="3145" y="7845"/>
                    <a:pt x="3293" y="7733"/>
                    <a:pt x="3467" y="7733"/>
                  </a:cubicBezTo>
                  <a:lnTo>
                    <a:pt x="5867" y="7733"/>
                  </a:lnTo>
                  <a:cubicBezTo>
                    <a:pt x="6041" y="7733"/>
                    <a:pt x="6189" y="7845"/>
                    <a:pt x="6244" y="8000"/>
                  </a:cubicBezTo>
                  <a:close/>
                  <a:moveTo>
                    <a:pt x="4933" y="7467"/>
                  </a:moveTo>
                  <a:lnTo>
                    <a:pt x="4400" y="7467"/>
                  </a:lnTo>
                  <a:lnTo>
                    <a:pt x="4400" y="6933"/>
                  </a:lnTo>
                  <a:lnTo>
                    <a:pt x="4933" y="6933"/>
                  </a:lnTo>
                  <a:lnTo>
                    <a:pt x="4933" y="7467"/>
                  </a:lnTo>
                  <a:close/>
                  <a:moveTo>
                    <a:pt x="8000" y="6533"/>
                  </a:moveTo>
                  <a:cubicBezTo>
                    <a:pt x="8000" y="6607"/>
                    <a:pt x="7940" y="6667"/>
                    <a:pt x="7867" y="6667"/>
                  </a:cubicBezTo>
                  <a:lnTo>
                    <a:pt x="1467" y="6667"/>
                  </a:lnTo>
                  <a:cubicBezTo>
                    <a:pt x="1393" y="6667"/>
                    <a:pt x="1333" y="6607"/>
                    <a:pt x="1333" y="6533"/>
                  </a:cubicBezTo>
                  <a:lnTo>
                    <a:pt x="1333" y="5333"/>
                  </a:lnTo>
                  <a:lnTo>
                    <a:pt x="1600" y="5333"/>
                  </a:lnTo>
                  <a:lnTo>
                    <a:pt x="1600" y="6267"/>
                  </a:lnTo>
                  <a:cubicBezTo>
                    <a:pt x="1600" y="6340"/>
                    <a:pt x="1660" y="6400"/>
                    <a:pt x="1733" y="6400"/>
                  </a:cubicBezTo>
                  <a:lnTo>
                    <a:pt x="5467" y="6400"/>
                  </a:lnTo>
                  <a:lnTo>
                    <a:pt x="5467" y="6133"/>
                  </a:lnTo>
                  <a:lnTo>
                    <a:pt x="1867" y="6133"/>
                  </a:lnTo>
                  <a:lnTo>
                    <a:pt x="1867" y="5333"/>
                  </a:lnTo>
                  <a:lnTo>
                    <a:pt x="4133" y="5333"/>
                  </a:lnTo>
                  <a:cubicBezTo>
                    <a:pt x="4207" y="5333"/>
                    <a:pt x="4267" y="5274"/>
                    <a:pt x="4267" y="5200"/>
                  </a:cubicBezTo>
                  <a:lnTo>
                    <a:pt x="4267" y="3733"/>
                  </a:lnTo>
                  <a:lnTo>
                    <a:pt x="5733" y="3733"/>
                  </a:lnTo>
                  <a:lnTo>
                    <a:pt x="5733" y="4267"/>
                  </a:lnTo>
                  <a:lnTo>
                    <a:pt x="5467" y="4267"/>
                  </a:lnTo>
                  <a:lnTo>
                    <a:pt x="5467" y="4533"/>
                  </a:lnTo>
                  <a:lnTo>
                    <a:pt x="5733" y="4533"/>
                  </a:lnTo>
                  <a:lnTo>
                    <a:pt x="5733" y="5867"/>
                  </a:lnTo>
                  <a:cubicBezTo>
                    <a:pt x="5733" y="6161"/>
                    <a:pt x="5973" y="6400"/>
                    <a:pt x="6267" y="6400"/>
                  </a:cubicBezTo>
                  <a:cubicBezTo>
                    <a:pt x="6561" y="6400"/>
                    <a:pt x="6800" y="6161"/>
                    <a:pt x="6800" y="5867"/>
                  </a:cubicBezTo>
                  <a:lnTo>
                    <a:pt x="6800" y="4533"/>
                  </a:lnTo>
                  <a:lnTo>
                    <a:pt x="7067" y="4533"/>
                  </a:lnTo>
                  <a:lnTo>
                    <a:pt x="7067" y="4267"/>
                  </a:lnTo>
                  <a:lnTo>
                    <a:pt x="6800" y="4267"/>
                  </a:lnTo>
                  <a:lnTo>
                    <a:pt x="6800" y="3733"/>
                  </a:lnTo>
                  <a:lnTo>
                    <a:pt x="7467" y="3733"/>
                  </a:lnTo>
                  <a:lnTo>
                    <a:pt x="7467" y="6133"/>
                  </a:lnTo>
                  <a:lnTo>
                    <a:pt x="7067" y="6133"/>
                  </a:lnTo>
                  <a:lnTo>
                    <a:pt x="7067" y="6400"/>
                  </a:lnTo>
                  <a:lnTo>
                    <a:pt x="7600" y="6400"/>
                  </a:lnTo>
                  <a:cubicBezTo>
                    <a:pt x="7674" y="6400"/>
                    <a:pt x="7733" y="6340"/>
                    <a:pt x="7733" y="6267"/>
                  </a:cubicBezTo>
                  <a:lnTo>
                    <a:pt x="7733" y="3600"/>
                  </a:lnTo>
                  <a:cubicBezTo>
                    <a:pt x="7733" y="3526"/>
                    <a:pt x="7674" y="3467"/>
                    <a:pt x="7600" y="3467"/>
                  </a:cubicBezTo>
                  <a:lnTo>
                    <a:pt x="6800" y="3467"/>
                  </a:lnTo>
                  <a:lnTo>
                    <a:pt x="6800" y="3382"/>
                  </a:lnTo>
                  <a:cubicBezTo>
                    <a:pt x="6937" y="3337"/>
                    <a:pt x="7066" y="3275"/>
                    <a:pt x="7186" y="3200"/>
                  </a:cubicBezTo>
                  <a:lnTo>
                    <a:pt x="7867" y="3200"/>
                  </a:lnTo>
                  <a:cubicBezTo>
                    <a:pt x="7940" y="3200"/>
                    <a:pt x="8000" y="3260"/>
                    <a:pt x="8000" y="3333"/>
                  </a:cubicBezTo>
                  <a:lnTo>
                    <a:pt x="8000" y="6533"/>
                  </a:lnTo>
                  <a:close/>
                  <a:moveTo>
                    <a:pt x="8000" y="6533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112">
              <a:extLst>
                <a:ext uri="{FF2B5EF4-FFF2-40B4-BE49-F238E27FC236}">
                  <a16:creationId xmlns:a16="http://schemas.microsoft.com/office/drawing/2014/main" id="{A5E2A17D-2A8E-4F11-AED8-BB8D4AC5FB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7538" y="2852738"/>
              <a:ext cx="331788" cy="331788"/>
            </a:xfrm>
            <a:custGeom>
              <a:avLst/>
              <a:gdLst>
                <a:gd name="T0" fmla="*/ 1600 w 3200"/>
                <a:gd name="T1" fmla="*/ 0 h 3200"/>
                <a:gd name="T2" fmla="*/ 0 w 3200"/>
                <a:gd name="T3" fmla="*/ 1600 h 3200"/>
                <a:gd name="T4" fmla="*/ 1600 w 3200"/>
                <a:gd name="T5" fmla="*/ 3200 h 3200"/>
                <a:gd name="T6" fmla="*/ 3200 w 3200"/>
                <a:gd name="T7" fmla="*/ 1600 h 3200"/>
                <a:gd name="T8" fmla="*/ 1600 w 3200"/>
                <a:gd name="T9" fmla="*/ 0 h 3200"/>
                <a:gd name="T10" fmla="*/ 1600 w 3200"/>
                <a:gd name="T11" fmla="*/ 2400 h 3200"/>
                <a:gd name="T12" fmla="*/ 800 w 3200"/>
                <a:gd name="T13" fmla="*/ 1600 h 3200"/>
                <a:gd name="T14" fmla="*/ 1600 w 3200"/>
                <a:gd name="T15" fmla="*/ 800 h 3200"/>
                <a:gd name="T16" fmla="*/ 2400 w 3200"/>
                <a:gd name="T17" fmla="*/ 1600 h 3200"/>
                <a:gd name="T18" fmla="*/ 1600 w 3200"/>
                <a:gd name="T19" fmla="*/ 2400 h 3200"/>
                <a:gd name="T20" fmla="*/ 1467 w 3200"/>
                <a:gd name="T21" fmla="*/ 543 h 3200"/>
                <a:gd name="T22" fmla="*/ 947 w 3200"/>
                <a:gd name="T23" fmla="*/ 758 h 3200"/>
                <a:gd name="T24" fmla="*/ 757 w 3200"/>
                <a:gd name="T25" fmla="*/ 568 h 3200"/>
                <a:gd name="T26" fmla="*/ 1467 w 3200"/>
                <a:gd name="T27" fmla="*/ 273 h 3200"/>
                <a:gd name="T28" fmla="*/ 1467 w 3200"/>
                <a:gd name="T29" fmla="*/ 543 h 3200"/>
                <a:gd name="T30" fmla="*/ 2253 w 3200"/>
                <a:gd name="T31" fmla="*/ 758 h 3200"/>
                <a:gd name="T32" fmla="*/ 1734 w 3200"/>
                <a:gd name="T33" fmla="*/ 543 h 3200"/>
                <a:gd name="T34" fmla="*/ 1734 w 3200"/>
                <a:gd name="T35" fmla="*/ 273 h 3200"/>
                <a:gd name="T36" fmla="*/ 2444 w 3200"/>
                <a:gd name="T37" fmla="*/ 568 h 3200"/>
                <a:gd name="T38" fmla="*/ 2253 w 3200"/>
                <a:gd name="T39" fmla="*/ 758 h 3200"/>
                <a:gd name="T40" fmla="*/ 569 w 3200"/>
                <a:gd name="T41" fmla="*/ 757 h 3200"/>
                <a:gd name="T42" fmla="*/ 759 w 3200"/>
                <a:gd name="T43" fmla="*/ 947 h 3200"/>
                <a:gd name="T44" fmla="*/ 534 w 3200"/>
                <a:gd name="T45" fmla="*/ 1600 h 3200"/>
                <a:gd name="T46" fmla="*/ 759 w 3200"/>
                <a:gd name="T47" fmla="*/ 2253 h 3200"/>
                <a:gd name="T48" fmla="*/ 568 w 3200"/>
                <a:gd name="T49" fmla="*/ 2443 h 3200"/>
                <a:gd name="T50" fmla="*/ 267 w 3200"/>
                <a:gd name="T51" fmla="*/ 1600 h 3200"/>
                <a:gd name="T52" fmla="*/ 569 w 3200"/>
                <a:gd name="T53" fmla="*/ 757 h 3200"/>
                <a:gd name="T54" fmla="*/ 757 w 3200"/>
                <a:gd name="T55" fmla="*/ 2632 h 3200"/>
                <a:gd name="T56" fmla="*/ 947 w 3200"/>
                <a:gd name="T57" fmla="*/ 2441 h 3200"/>
                <a:gd name="T58" fmla="*/ 1600 w 3200"/>
                <a:gd name="T59" fmla="*/ 2667 h 3200"/>
                <a:gd name="T60" fmla="*/ 2253 w 3200"/>
                <a:gd name="T61" fmla="*/ 2442 h 3200"/>
                <a:gd name="T62" fmla="*/ 2444 w 3200"/>
                <a:gd name="T63" fmla="*/ 2632 h 3200"/>
                <a:gd name="T64" fmla="*/ 1600 w 3200"/>
                <a:gd name="T65" fmla="*/ 2933 h 3200"/>
                <a:gd name="T66" fmla="*/ 757 w 3200"/>
                <a:gd name="T67" fmla="*/ 2632 h 3200"/>
                <a:gd name="T68" fmla="*/ 2632 w 3200"/>
                <a:gd name="T69" fmla="*/ 2443 h 3200"/>
                <a:gd name="T70" fmla="*/ 2442 w 3200"/>
                <a:gd name="T71" fmla="*/ 2253 h 3200"/>
                <a:gd name="T72" fmla="*/ 2667 w 3200"/>
                <a:gd name="T73" fmla="*/ 1600 h 3200"/>
                <a:gd name="T74" fmla="*/ 2442 w 3200"/>
                <a:gd name="T75" fmla="*/ 947 h 3200"/>
                <a:gd name="T76" fmla="*/ 2632 w 3200"/>
                <a:gd name="T77" fmla="*/ 757 h 3200"/>
                <a:gd name="T78" fmla="*/ 2934 w 3200"/>
                <a:gd name="T79" fmla="*/ 1600 h 3200"/>
                <a:gd name="T80" fmla="*/ 2632 w 3200"/>
                <a:gd name="T81" fmla="*/ 2443 h 3200"/>
                <a:gd name="T82" fmla="*/ 2632 w 3200"/>
                <a:gd name="T83" fmla="*/ 2443 h 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200" h="3200">
                  <a:moveTo>
                    <a:pt x="1600" y="0"/>
                  </a:moveTo>
                  <a:cubicBezTo>
                    <a:pt x="718" y="0"/>
                    <a:pt x="0" y="718"/>
                    <a:pt x="0" y="1600"/>
                  </a:cubicBezTo>
                  <a:cubicBezTo>
                    <a:pt x="0" y="2482"/>
                    <a:pt x="718" y="3200"/>
                    <a:pt x="1600" y="3200"/>
                  </a:cubicBezTo>
                  <a:cubicBezTo>
                    <a:pt x="2483" y="3200"/>
                    <a:pt x="3200" y="2482"/>
                    <a:pt x="3200" y="1600"/>
                  </a:cubicBezTo>
                  <a:cubicBezTo>
                    <a:pt x="3200" y="718"/>
                    <a:pt x="2483" y="0"/>
                    <a:pt x="1600" y="0"/>
                  </a:cubicBezTo>
                  <a:close/>
                  <a:moveTo>
                    <a:pt x="1600" y="2400"/>
                  </a:moveTo>
                  <a:cubicBezTo>
                    <a:pt x="1159" y="2400"/>
                    <a:pt x="800" y="2041"/>
                    <a:pt x="800" y="1600"/>
                  </a:cubicBezTo>
                  <a:cubicBezTo>
                    <a:pt x="800" y="1159"/>
                    <a:pt x="1159" y="800"/>
                    <a:pt x="1600" y="800"/>
                  </a:cubicBezTo>
                  <a:cubicBezTo>
                    <a:pt x="2042" y="800"/>
                    <a:pt x="2400" y="1159"/>
                    <a:pt x="2400" y="1600"/>
                  </a:cubicBezTo>
                  <a:cubicBezTo>
                    <a:pt x="2400" y="2041"/>
                    <a:pt x="2042" y="2400"/>
                    <a:pt x="1600" y="2400"/>
                  </a:cubicBezTo>
                  <a:close/>
                  <a:moveTo>
                    <a:pt x="1467" y="543"/>
                  </a:moveTo>
                  <a:cubicBezTo>
                    <a:pt x="1273" y="567"/>
                    <a:pt x="1095" y="644"/>
                    <a:pt x="947" y="758"/>
                  </a:cubicBezTo>
                  <a:lnTo>
                    <a:pt x="757" y="568"/>
                  </a:lnTo>
                  <a:cubicBezTo>
                    <a:pt x="955" y="406"/>
                    <a:pt x="1199" y="300"/>
                    <a:pt x="1467" y="273"/>
                  </a:cubicBezTo>
                  <a:lnTo>
                    <a:pt x="1467" y="543"/>
                  </a:lnTo>
                  <a:close/>
                  <a:moveTo>
                    <a:pt x="2253" y="758"/>
                  </a:moveTo>
                  <a:cubicBezTo>
                    <a:pt x="2106" y="644"/>
                    <a:pt x="1928" y="567"/>
                    <a:pt x="1734" y="543"/>
                  </a:cubicBezTo>
                  <a:lnTo>
                    <a:pt x="1734" y="273"/>
                  </a:lnTo>
                  <a:cubicBezTo>
                    <a:pt x="2001" y="300"/>
                    <a:pt x="2246" y="406"/>
                    <a:pt x="2444" y="568"/>
                  </a:cubicBezTo>
                  <a:lnTo>
                    <a:pt x="2253" y="758"/>
                  </a:lnTo>
                  <a:close/>
                  <a:moveTo>
                    <a:pt x="569" y="757"/>
                  </a:moveTo>
                  <a:lnTo>
                    <a:pt x="759" y="947"/>
                  </a:lnTo>
                  <a:cubicBezTo>
                    <a:pt x="618" y="1128"/>
                    <a:pt x="534" y="1354"/>
                    <a:pt x="534" y="1600"/>
                  </a:cubicBezTo>
                  <a:cubicBezTo>
                    <a:pt x="534" y="1846"/>
                    <a:pt x="618" y="2072"/>
                    <a:pt x="759" y="2253"/>
                  </a:cubicBezTo>
                  <a:lnTo>
                    <a:pt x="568" y="2443"/>
                  </a:lnTo>
                  <a:cubicBezTo>
                    <a:pt x="380" y="2213"/>
                    <a:pt x="267" y="1920"/>
                    <a:pt x="267" y="1600"/>
                  </a:cubicBezTo>
                  <a:cubicBezTo>
                    <a:pt x="267" y="1280"/>
                    <a:pt x="380" y="987"/>
                    <a:pt x="569" y="757"/>
                  </a:cubicBezTo>
                  <a:close/>
                  <a:moveTo>
                    <a:pt x="757" y="2632"/>
                  </a:moveTo>
                  <a:lnTo>
                    <a:pt x="947" y="2441"/>
                  </a:lnTo>
                  <a:cubicBezTo>
                    <a:pt x="1128" y="2582"/>
                    <a:pt x="1354" y="2667"/>
                    <a:pt x="1600" y="2667"/>
                  </a:cubicBezTo>
                  <a:cubicBezTo>
                    <a:pt x="1846" y="2667"/>
                    <a:pt x="2073" y="2582"/>
                    <a:pt x="2253" y="2442"/>
                  </a:cubicBezTo>
                  <a:lnTo>
                    <a:pt x="2444" y="2632"/>
                  </a:lnTo>
                  <a:cubicBezTo>
                    <a:pt x="2214" y="2820"/>
                    <a:pt x="1920" y="2933"/>
                    <a:pt x="1600" y="2933"/>
                  </a:cubicBezTo>
                  <a:cubicBezTo>
                    <a:pt x="1281" y="2933"/>
                    <a:pt x="987" y="2820"/>
                    <a:pt x="757" y="2632"/>
                  </a:cubicBezTo>
                  <a:close/>
                  <a:moveTo>
                    <a:pt x="2632" y="2443"/>
                  </a:moveTo>
                  <a:lnTo>
                    <a:pt x="2442" y="2253"/>
                  </a:lnTo>
                  <a:cubicBezTo>
                    <a:pt x="2582" y="2072"/>
                    <a:pt x="2667" y="1846"/>
                    <a:pt x="2667" y="1600"/>
                  </a:cubicBezTo>
                  <a:cubicBezTo>
                    <a:pt x="2667" y="1354"/>
                    <a:pt x="2582" y="1128"/>
                    <a:pt x="2442" y="947"/>
                  </a:cubicBezTo>
                  <a:lnTo>
                    <a:pt x="2632" y="757"/>
                  </a:lnTo>
                  <a:cubicBezTo>
                    <a:pt x="2820" y="987"/>
                    <a:pt x="2934" y="1280"/>
                    <a:pt x="2934" y="1600"/>
                  </a:cubicBezTo>
                  <a:cubicBezTo>
                    <a:pt x="2934" y="1920"/>
                    <a:pt x="2820" y="2213"/>
                    <a:pt x="2632" y="2443"/>
                  </a:cubicBezTo>
                  <a:close/>
                  <a:moveTo>
                    <a:pt x="2632" y="2443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113">
              <a:extLst>
                <a:ext uri="{FF2B5EF4-FFF2-40B4-BE49-F238E27FC236}">
                  <a16:creationId xmlns:a16="http://schemas.microsoft.com/office/drawing/2014/main" id="{7B06B466-F9A1-4D37-B6B6-A25C0D574A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7438" y="2741613"/>
              <a:ext cx="123825" cy="123825"/>
            </a:xfrm>
            <a:custGeom>
              <a:avLst/>
              <a:gdLst>
                <a:gd name="T0" fmla="*/ 1200 w 1200"/>
                <a:gd name="T1" fmla="*/ 267 h 1200"/>
                <a:gd name="T2" fmla="*/ 1200 w 1200"/>
                <a:gd name="T3" fmla="*/ 0 h 1200"/>
                <a:gd name="T4" fmla="*/ 0 w 1200"/>
                <a:gd name="T5" fmla="*/ 1200 h 1200"/>
                <a:gd name="T6" fmla="*/ 266 w 1200"/>
                <a:gd name="T7" fmla="*/ 1200 h 1200"/>
                <a:gd name="T8" fmla="*/ 1200 w 1200"/>
                <a:gd name="T9" fmla="*/ 267 h 1200"/>
                <a:gd name="T10" fmla="*/ 1200 w 1200"/>
                <a:gd name="T11" fmla="*/ 267 h 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0" h="1200">
                  <a:moveTo>
                    <a:pt x="1200" y="267"/>
                  </a:moveTo>
                  <a:lnTo>
                    <a:pt x="1200" y="0"/>
                  </a:lnTo>
                  <a:cubicBezTo>
                    <a:pt x="538" y="0"/>
                    <a:pt x="0" y="539"/>
                    <a:pt x="0" y="1200"/>
                  </a:cubicBezTo>
                  <a:lnTo>
                    <a:pt x="266" y="1200"/>
                  </a:lnTo>
                  <a:cubicBezTo>
                    <a:pt x="266" y="686"/>
                    <a:pt x="685" y="267"/>
                    <a:pt x="1200" y="267"/>
                  </a:cubicBezTo>
                  <a:close/>
                  <a:moveTo>
                    <a:pt x="1200" y="267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Freeform 114">
              <a:extLst>
                <a:ext uri="{FF2B5EF4-FFF2-40B4-BE49-F238E27FC236}">
                  <a16:creationId xmlns:a16="http://schemas.microsoft.com/office/drawing/2014/main" id="{7027AFCD-B5BD-40DB-9025-395FFC42A6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1263" y="2865438"/>
              <a:ext cx="125413" cy="125413"/>
            </a:xfrm>
            <a:custGeom>
              <a:avLst/>
              <a:gdLst>
                <a:gd name="T0" fmla="*/ 0 w 1200"/>
                <a:gd name="T1" fmla="*/ 1200 h 1200"/>
                <a:gd name="T2" fmla="*/ 1200 w 1200"/>
                <a:gd name="T3" fmla="*/ 0 h 1200"/>
                <a:gd name="T4" fmla="*/ 933 w 1200"/>
                <a:gd name="T5" fmla="*/ 0 h 1200"/>
                <a:gd name="T6" fmla="*/ 0 w 1200"/>
                <a:gd name="T7" fmla="*/ 934 h 1200"/>
                <a:gd name="T8" fmla="*/ 0 w 1200"/>
                <a:gd name="T9" fmla="*/ 1200 h 1200"/>
                <a:gd name="T10" fmla="*/ 0 w 1200"/>
                <a:gd name="T11" fmla="*/ 1200 h 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0" h="1200">
                  <a:moveTo>
                    <a:pt x="0" y="1200"/>
                  </a:moveTo>
                  <a:cubicBezTo>
                    <a:pt x="661" y="1200"/>
                    <a:pt x="1200" y="662"/>
                    <a:pt x="1200" y="0"/>
                  </a:cubicBezTo>
                  <a:lnTo>
                    <a:pt x="933" y="0"/>
                  </a:lnTo>
                  <a:cubicBezTo>
                    <a:pt x="933" y="515"/>
                    <a:pt x="514" y="934"/>
                    <a:pt x="0" y="934"/>
                  </a:cubicBezTo>
                  <a:lnTo>
                    <a:pt x="0" y="1200"/>
                  </a:lnTo>
                  <a:close/>
                  <a:moveTo>
                    <a:pt x="0" y="120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115">
              <a:extLst>
                <a:ext uri="{FF2B5EF4-FFF2-40B4-BE49-F238E27FC236}">
                  <a16:creationId xmlns:a16="http://schemas.microsoft.com/office/drawing/2014/main" id="{3428A124-5531-4D97-966A-F7998ACE68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7538" y="2741613"/>
              <a:ext cx="111125" cy="26988"/>
            </a:xfrm>
            <a:custGeom>
              <a:avLst/>
              <a:gdLst>
                <a:gd name="T0" fmla="*/ 0 w 1067"/>
                <a:gd name="T1" fmla="*/ 0 h 267"/>
                <a:gd name="T2" fmla="*/ 1067 w 1067"/>
                <a:gd name="T3" fmla="*/ 0 h 267"/>
                <a:gd name="T4" fmla="*/ 1067 w 1067"/>
                <a:gd name="T5" fmla="*/ 267 h 267"/>
                <a:gd name="T6" fmla="*/ 0 w 1067"/>
                <a:gd name="T7" fmla="*/ 267 h 267"/>
                <a:gd name="T8" fmla="*/ 0 w 1067"/>
                <a:gd name="T9" fmla="*/ 0 h 267"/>
                <a:gd name="T10" fmla="*/ 0 w 10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7" h="267">
                  <a:moveTo>
                    <a:pt x="0" y="0"/>
                  </a:moveTo>
                  <a:lnTo>
                    <a:pt x="1067" y="0"/>
                  </a:lnTo>
                  <a:lnTo>
                    <a:pt x="10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116">
              <a:extLst>
                <a:ext uri="{FF2B5EF4-FFF2-40B4-BE49-F238E27FC236}">
                  <a16:creationId xmlns:a16="http://schemas.microsoft.com/office/drawing/2014/main" id="{CDD838BB-D550-407A-B24C-0BF1B8C7BB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7538" y="2797175"/>
              <a:ext cx="111125" cy="26988"/>
            </a:xfrm>
            <a:custGeom>
              <a:avLst/>
              <a:gdLst>
                <a:gd name="T0" fmla="*/ 0 w 1067"/>
                <a:gd name="T1" fmla="*/ 0 h 266"/>
                <a:gd name="T2" fmla="*/ 1067 w 1067"/>
                <a:gd name="T3" fmla="*/ 0 h 266"/>
                <a:gd name="T4" fmla="*/ 1067 w 1067"/>
                <a:gd name="T5" fmla="*/ 266 h 266"/>
                <a:gd name="T6" fmla="*/ 0 w 1067"/>
                <a:gd name="T7" fmla="*/ 266 h 266"/>
                <a:gd name="T8" fmla="*/ 0 w 1067"/>
                <a:gd name="T9" fmla="*/ 0 h 266"/>
                <a:gd name="T10" fmla="*/ 0 w 1067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7" h="266">
                  <a:moveTo>
                    <a:pt x="0" y="0"/>
                  </a:moveTo>
                  <a:lnTo>
                    <a:pt x="1067" y="0"/>
                  </a:lnTo>
                  <a:lnTo>
                    <a:pt x="1067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0" name="Group 321">
            <a:extLst>
              <a:ext uri="{FF2B5EF4-FFF2-40B4-BE49-F238E27FC236}">
                <a16:creationId xmlns:a16="http://schemas.microsoft.com/office/drawing/2014/main" id="{1892DAE7-5A07-4165-83C3-139A470D0BE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979081" y="1936645"/>
            <a:ext cx="756088" cy="747432"/>
            <a:chOff x="5524" y="3175"/>
            <a:chExt cx="524" cy="518"/>
          </a:xfrm>
          <a:solidFill>
            <a:srgbClr val="D8E3FB"/>
          </a:solidFill>
        </p:grpSpPr>
        <p:sp>
          <p:nvSpPr>
            <p:cNvPr id="81" name="Freeform 322">
              <a:extLst>
                <a:ext uri="{FF2B5EF4-FFF2-40B4-BE49-F238E27FC236}">
                  <a16:creationId xmlns:a16="http://schemas.microsoft.com/office/drawing/2014/main" id="{FFF69C9C-04C0-4C60-8F40-AC8DB787A9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4" y="3499"/>
              <a:ext cx="133" cy="194"/>
            </a:xfrm>
            <a:custGeom>
              <a:avLst/>
              <a:gdLst>
                <a:gd name="T0" fmla="*/ 1502 w 2169"/>
                <a:gd name="T1" fmla="*/ 1798 h 3177"/>
                <a:gd name="T2" fmla="*/ 1378 w 2169"/>
                <a:gd name="T3" fmla="*/ 1625 h 3177"/>
                <a:gd name="T4" fmla="*/ 1434 w 2169"/>
                <a:gd name="T5" fmla="*/ 1397 h 3177"/>
                <a:gd name="T6" fmla="*/ 1623 w 2169"/>
                <a:gd name="T7" fmla="*/ 727 h 3177"/>
                <a:gd name="T8" fmla="*/ 1623 w 2169"/>
                <a:gd name="T9" fmla="*/ 435 h 3177"/>
                <a:gd name="T10" fmla="*/ 804 w 2169"/>
                <a:gd name="T11" fmla="*/ 0 h 3177"/>
                <a:gd name="T12" fmla="*/ 368 w 2169"/>
                <a:gd name="T13" fmla="*/ 686 h 3177"/>
                <a:gd name="T14" fmla="*/ 368 w 2169"/>
                <a:gd name="T15" fmla="*/ 1060 h 3177"/>
                <a:gd name="T16" fmla="*/ 614 w 2169"/>
                <a:gd name="T17" fmla="*/ 1431 h 3177"/>
                <a:gd name="T18" fmla="*/ 555 w 2169"/>
                <a:gd name="T19" fmla="*/ 1759 h 3177"/>
                <a:gd name="T20" fmla="*/ 301 w 2169"/>
                <a:gd name="T21" fmla="*/ 1862 h 3177"/>
                <a:gd name="T22" fmla="*/ 40 w 2169"/>
                <a:gd name="T23" fmla="*/ 2020 h 3177"/>
                <a:gd name="T24" fmla="*/ 36 w 2169"/>
                <a:gd name="T25" fmla="*/ 2024 h 3177"/>
                <a:gd name="T26" fmla="*/ 27 w 2169"/>
                <a:gd name="T27" fmla="*/ 2033 h 3177"/>
                <a:gd name="T28" fmla="*/ 20 w 2169"/>
                <a:gd name="T29" fmla="*/ 2044 h 3177"/>
                <a:gd name="T30" fmla="*/ 14 w 2169"/>
                <a:gd name="T31" fmla="*/ 2055 h 3177"/>
                <a:gd name="T32" fmla="*/ 9 w 2169"/>
                <a:gd name="T33" fmla="*/ 2066 h 3177"/>
                <a:gd name="T34" fmla="*/ 5 w 2169"/>
                <a:gd name="T35" fmla="*/ 2077 h 3177"/>
                <a:gd name="T36" fmla="*/ 2 w 2169"/>
                <a:gd name="T37" fmla="*/ 2088 h 3177"/>
                <a:gd name="T38" fmla="*/ 1 w 2169"/>
                <a:gd name="T39" fmla="*/ 2100 h 3177"/>
                <a:gd name="T40" fmla="*/ 0 w 2169"/>
                <a:gd name="T41" fmla="*/ 2112 h 3177"/>
                <a:gd name="T42" fmla="*/ 1 w 2169"/>
                <a:gd name="T43" fmla="*/ 2124 h 3177"/>
                <a:gd name="T44" fmla="*/ 3 w 2169"/>
                <a:gd name="T45" fmla="*/ 2136 h 3177"/>
                <a:gd name="T46" fmla="*/ 6 w 2169"/>
                <a:gd name="T47" fmla="*/ 2149 h 3177"/>
                <a:gd name="T48" fmla="*/ 10 w 2169"/>
                <a:gd name="T49" fmla="*/ 2161 h 3177"/>
                <a:gd name="T50" fmla="*/ 65 w 2169"/>
                <a:gd name="T51" fmla="*/ 2409 h 3177"/>
                <a:gd name="T52" fmla="*/ 190 w 2169"/>
                <a:gd name="T53" fmla="*/ 3177 h 3177"/>
                <a:gd name="T54" fmla="*/ 315 w 2169"/>
                <a:gd name="T55" fmla="*/ 2409 h 3177"/>
                <a:gd name="T56" fmla="*/ 381 w 2169"/>
                <a:gd name="T57" fmla="*/ 2098 h 3177"/>
                <a:gd name="T58" fmla="*/ 664 w 2169"/>
                <a:gd name="T59" fmla="*/ 1990 h 3177"/>
                <a:gd name="T60" fmla="*/ 634 w 2169"/>
                <a:gd name="T61" fmla="*/ 2689 h 3177"/>
                <a:gd name="T62" fmla="*/ 891 w 2169"/>
                <a:gd name="T63" fmla="*/ 3063 h 3177"/>
                <a:gd name="T64" fmla="*/ 984 w 2169"/>
                <a:gd name="T65" fmla="*/ 3104 h 3177"/>
                <a:gd name="T66" fmla="*/ 1327 w 2169"/>
                <a:gd name="T67" fmla="*/ 2811 h 3177"/>
                <a:gd name="T68" fmla="*/ 1149 w 2169"/>
                <a:gd name="T69" fmla="*/ 2020 h 3177"/>
                <a:gd name="T70" fmla="*/ 1423 w 2169"/>
                <a:gd name="T71" fmla="*/ 2035 h 3177"/>
                <a:gd name="T72" fmla="*/ 1919 w 2169"/>
                <a:gd name="T73" fmla="*/ 2529 h 3177"/>
                <a:gd name="T74" fmla="*/ 2044 w 2169"/>
                <a:gd name="T75" fmla="*/ 3177 h 3177"/>
                <a:gd name="T76" fmla="*/ 2169 w 2169"/>
                <a:gd name="T77" fmla="*/ 2529 h 3177"/>
                <a:gd name="T78" fmla="*/ 991 w 2169"/>
                <a:gd name="T79" fmla="*/ 1784 h 3177"/>
                <a:gd name="T80" fmla="*/ 864 w 2169"/>
                <a:gd name="T81" fmla="*/ 1625 h 3177"/>
                <a:gd name="T82" fmla="*/ 996 w 2169"/>
                <a:gd name="T83" fmla="*/ 1597 h 3177"/>
                <a:gd name="T84" fmla="*/ 1128 w 2169"/>
                <a:gd name="T85" fmla="*/ 1625 h 3177"/>
                <a:gd name="T86" fmla="*/ 991 w 2169"/>
                <a:gd name="T87" fmla="*/ 1784 h 3177"/>
                <a:gd name="T88" fmla="*/ 843 w 2169"/>
                <a:gd name="T89" fmla="*/ 646 h 3177"/>
                <a:gd name="T90" fmla="*/ 1373 w 2169"/>
                <a:gd name="T91" fmla="*/ 1060 h 3177"/>
                <a:gd name="T92" fmla="*/ 1071 w 2169"/>
                <a:gd name="T93" fmla="*/ 1326 h 3177"/>
                <a:gd name="T94" fmla="*/ 688 w 2169"/>
                <a:gd name="T95" fmla="*/ 1184 h 3177"/>
                <a:gd name="T96" fmla="*/ 618 w 2169"/>
                <a:gd name="T97" fmla="*/ 763 h 3177"/>
                <a:gd name="T98" fmla="*/ 1188 w 2169"/>
                <a:gd name="T99" fmla="*/ 250 h 3177"/>
                <a:gd name="T100" fmla="*/ 1373 w 2169"/>
                <a:gd name="T101" fmla="*/ 554 h 3177"/>
                <a:gd name="T102" fmla="*/ 774 w 2169"/>
                <a:gd name="T103" fmla="*/ 400 h 3177"/>
                <a:gd name="T104" fmla="*/ 618 w 2169"/>
                <a:gd name="T105" fmla="*/ 435 h 3177"/>
                <a:gd name="T106" fmla="*/ 988 w 2169"/>
                <a:gd name="T107" fmla="*/ 2797 h 3177"/>
                <a:gd name="T108" fmla="*/ 990 w 2169"/>
                <a:gd name="T109" fmla="*/ 2349 h 3177"/>
                <a:gd name="T110" fmla="*/ 988 w 2169"/>
                <a:gd name="T111" fmla="*/ 2797 h 3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69" h="3177">
                  <a:moveTo>
                    <a:pt x="1690" y="1862"/>
                  </a:moveTo>
                  <a:lnTo>
                    <a:pt x="1502" y="1798"/>
                  </a:lnTo>
                  <a:cubicBezTo>
                    <a:pt x="1474" y="1789"/>
                    <a:pt x="1449" y="1773"/>
                    <a:pt x="1429" y="1751"/>
                  </a:cubicBezTo>
                  <a:cubicBezTo>
                    <a:pt x="1396" y="1717"/>
                    <a:pt x="1378" y="1672"/>
                    <a:pt x="1378" y="1625"/>
                  </a:cubicBezTo>
                  <a:lnTo>
                    <a:pt x="1378" y="1431"/>
                  </a:lnTo>
                  <a:lnTo>
                    <a:pt x="1434" y="1397"/>
                  </a:lnTo>
                  <a:cubicBezTo>
                    <a:pt x="1551" y="1326"/>
                    <a:pt x="1623" y="1197"/>
                    <a:pt x="1623" y="1060"/>
                  </a:cubicBezTo>
                  <a:lnTo>
                    <a:pt x="1623" y="727"/>
                  </a:lnTo>
                  <a:lnTo>
                    <a:pt x="1623" y="726"/>
                  </a:lnTo>
                  <a:lnTo>
                    <a:pt x="1623" y="435"/>
                  </a:lnTo>
                  <a:cubicBezTo>
                    <a:pt x="1623" y="195"/>
                    <a:pt x="1428" y="0"/>
                    <a:pt x="1188" y="0"/>
                  </a:cubicBezTo>
                  <a:lnTo>
                    <a:pt x="804" y="0"/>
                  </a:lnTo>
                  <a:cubicBezTo>
                    <a:pt x="564" y="0"/>
                    <a:pt x="368" y="195"/>
                    <a:pt x="368" y="435"/>
                  </a:cubicBezTo>
                  <a:lnTo>
                    <a:pt x="368" y="686"/>
                  </a:lnTo>
                  <a:lnTo>
                    <a:pt x="368" y="686"/>
                  </a:lnTo>
                  <a:lnTo>
                    <a:pt x="368" y="1060"/>
                  </a:lnTo>
                  <a:cubicBezTo>
                    <a:pt x="368" y="1197"/>
                    <a:pt x="441" y="1326"/>
                    <a:pt x="558" y="1397"/>
                  </a:cubicBezTo>
                  <a:lnTo>
                    <a:pt x="614" y="1431"/>
                  </a:lnTo>
                  <a:lnTo>
                    <a:pt x="614" y="1625"/>
                  </a:lnTo>
                  <a:cubicBezTo>
                    <a:pt x="614" y="1675"/>
                    <a:pt x="592" y="1724"/>
                    <a:pt x="555" y="1759"/>
                  </a:cubicBezTo>
                  <a:cubicBezTo>
                    <a:pt x="536" y="1777"/>
                    <a:pt x="514" y="1790"/>
                    <a:pt x="489" y="1798"/>
                  </a:cubicBezTo>
                  <a:lnTo>
                    <a:pt x="301" y="1862"/>
                  </a:lnTo>
                  <a:cubicBezTo>
                    <a:pt x="204" y="1894"/>
                    <a:pt x="117" y="1947"/>
                    <a:pt x="42" y="2018"/>
                  </a:cubicBezTo>
                  <a:cubicBezTo>
                    <a:pt x="42" y="2018"/>
                    <a:pt x="41" y="2019"/>
                    <a:pt x="40" y="2020"/>
                  </a:cubicBezTo>
                  <a:lnTo>
                    <a:pt x="38" y="2022"/>
                  </a:lnTo>
                  <a:cubicBezTo>
                    <a:pt x="37" y="2022"/>
                    <a:pt x="37" y="2023"/>
                    <a:pt x="36" y="2024"/>
                  </a:cubicBezTo>
                  <a:cubicBezTo>
                    <a:pt x="34" y="2026"/>
                    <a:pt x="33" y="2027"/>
                    <a:pt x="31" y="2029"/>
                  </a:cubicBezTo>
                  <a:cubicBezTo>
                    <a:pt x="30" y="2031"/>
                    <a:pt x="29" y="2032"/>
                    <a:pt x="27" y="2033"/>
                  </a:cubicBezTo>
                  <a:cubicBezTo>
                    <a:pt x="26" y="2035"/>
                    <a:pt x="25" y="2037"/>
                    <a:pt x="23" y="2039"/>
                  </a:cubicBezTo>
                  <a:cubicBezTo>
                    <a:pt x="22" y="2040"/>
                    <a:pt x="21" y="2042"/>
                    <a:pt x="20" y="2044"/>
                  </a:cubicBezTo>
                  <a:cubicBezTo>
                    <a:pt x="19" y="2045"/>
                    <a:pt x="18" y="2047"/>
                    <a:pt x="17" y="2049"/>
                  </a:cubicBezTo>
                  <a:cubicBezTo>
                    <a:pt x="16" y="2051"/>
                    <a:pt x="15" y="2053"/>
                    <a:pt x="14" y="2055"/>
                  </a:cubicBezTo>
                  <a:cubicBezTo>
                    <a:pt x="13" y="2056"/>
                    <a:pt x="12" y="2058"/>
                    <a:pt x="12" y="2059"/>
                  </a:cubicBezTo>
                  <a:cubicBezTo>
                    <a:pt x="11" y="2061"/>
                    <a:pt x="10" y="2064"/>
                    <a:pt x="9" y="2066"/>
                  </a:cubicBezTo>
                  <a:cubicBezTo>
                    <a:pt x="8" y="2067"/>
                    <a:pt x="8" y="2069"/>
                    <a:pt x="7" y="2070"/>
                  </a:cubicBezTo>
                  <a:cubicBezTo>
                    <a:pt x="6" y="2073"/>
                    <a:pt x="6" y="2075"/>
                    <a:pt x="5" y="2077"/>
                  </a:cubicBezTo>
                  <a:cubicBezTo>
                    <a:pt x="4" y="2079"/>
                    <a:pt x="4" y="2080"/>
                    <a:pt x="4" y="2082"/>
                  </a:cubicBezTo>
                  <a:cubicBezTo>
                    <a:pt x="3" y="2084"/>
                    <a:pt x="3" y="2086"/>
                    <a:pt x="2" y="2088"/>
                  </a:cubicBezTo>
                  <a:cubicBezTo>
                    <a:pt x="2" y="2090"/>
                    <a:pt x="2" y="2092"/>
                    <a:pt x="1" y="2094"/>
                  </a:cubicBezTo>
                  <a:cubicBezTo>
                    <a:pt x="1" y="2096"/>
                    <a:pt x="1" y="2098"/>
                    <a:pt x="1" y="2100"/>
                  </a:cubicBezTo>
                  <a:cubicBezTo>
                    <a:pt x="0" y="2102"/>
                    <a:pt x="0" y="2104"/>
                    <a:pt x="0" y="2107"/>
                  </a:cubicBezTo>
                  <a:cubicBezTo>
                    <a:pt x="0" y="2108"/>
                    <a:pt x="0" y="2110"/>
                    <a:pt x="0" y="2112"/>
                  </a:cubicBezTo>
                  <a:cubicBezTo>
                    <a:pt x="0" y="2114"/>
                    <a:pt x="0" y="2116"/>
                    <a:pt x="0" y="2119"/>
                  </a:cubicBezTo>
                  <a:cubicBezTo>
                    <a:pt x="0" y="2121"/>
                    <a:pt x="0" y="2122"/>
                    <a:pt x="1" y="2124"/>
                  </a:cubicBezTo>
                  <a:cubicBezTo>
                    <a:pt x="1" y="2126"/>
                    <a:pt x="1" y="2128"/>
                    <a:pt x="2" y="2131"/>
                  </a:cubicBezTo>
                  <a:cubicBezTo>
                    <a:pt x="2" y="2133"/>
                    <a:pt x="2" y="2134"/>
                    <a:pt x="3" y="2136"/>
                  </a:cubicBezTo>
                  <a:cubicBezTo>
                    <a:pt x="3" y="2138"/>
                    <a:pt x="3" y="2140"/>
                    <a:pt x="4" y="2142"/>
                  </a:cubicBezTo>
                  <a:cubicBezTo>
                    <a:pt x="4" y="2144"/>
                    <a:pt x="5" y="2147"/>
                    <a:pt x="6" y="2149"/>
                  </a:cubicBezTo>
                  <a:cubicBezTo>
                    <a:pt x="6" y="2150"/>
                    <a:pt x="7" y="2152"/>
                    <a:pt x="7" y="2154"/>
                  </a:cubicBezTo>
                  <a:cubicBezTo>
                    <a:pt x="8" y="2156"/>
                    <a:pt x="9" y="2158"/>
                    <a:pt x="10" y="2161"/>
                  </a:cubicBezTo>
                  <a:cubicBezTo>
                    <a:pt x="11" y="2162"/>
                    <a:pt x="11" y="2163"/>
                    <a:pt x="11" y="2164"/>
                  </a:cubicBezTo>
                  <a:cubicBezTo>
                    <a:pt x="47" y="2241"/>
                    <a:pt x="65" y="2323"/>
                    <a:pt x="65" y="2409"/>
                  </a:cubicBezTo>
                  <a:lnTo>
                    <a:pt x="65" y="3052"/>
                  </a:lnTo>
                  <a:cubicBezTo>
                    <a:pt x="65" y="3121"/>
                    <a:pt x="121" y="3177"/>
                    <a:pt x="190" y="3177"/>
                  </a:cubicBezTo>
                  <a:cubicBezTo>
                    <a:pt x="259" y="3177"/>
                    <a:pt x="315" y="3121"/>
                    <a:pt x="315" y="3052"/>
                  </a:cubicBezTo>
                  <a:lnTo>
                    <a:pt x="315" y="2409"/>
                  </a:lnTo>
                  <a:cubicBezTo>
                    <a:pt x="315" y="2320"/>
                    <a:pt x="301" y="2234"/>
                    <a:pt x="274" y="2151"/>
                  </a:cubicBezTo>
                  <a:cubicBezTo>
                    <a:pt x="307" y="2129"/>
                    <a:pt x="343" y="2111"/>
                    <a:pt x="381" y="2098"/>
                  </a:cubicBezTo>
                  <a:lnTo>
                    <a:pt x="569" y="2035"/>
                  </a:lnTo>
                  <a:cubicBezTo>
                    <a:pt x="603" y="2024"/>
                    <a:pt x="634" y="2009"/>
                    <a:pt x="664" y="1990"/>
                  </a:cubicBezTo>
                  <a:cubicBezTo>
                    <a:pt x="716" y="2005"/>
                    <a:pt x="769" y="2016"/>
                    <a:pt x="822" y="2024"/>
                  </a:cubicBezTo>
                  <a:lnTo>
                    <a:pt x="634" y="2689"/>
                  </a:lnTo>
                  <a:cubicBezTo>
                    <a:pt x="622" y="2730"/>
                    <a:pt x="632" y="2775"/>
                    <a:pt x="661" y="2807"/>
                  </a:cubicBezTo>
                  <a:lnTo>
                    <a:pt x="891" y="3063"/>
                  </a:lnTo>
                  <a:cubicBezTo>
                    <a:pt x="914" y="3089"/>
                    <a:pt x="946" y="3104"/>
                    <a:pt x="981" y="3104"/>
                  </a:cubicBezTo>
                  <a:lnTo>
                    <a:pt x="984" y="3104"/>
                  </a:lnTo>
                  <a:cubicBezTo>
                    <a:pt x="1017" y="3104"/>
                    <a:pt x="1049" y="3091"/>
                    <a:pt x="1072" y="3068"/>
                  </a:cubicBezTo>
                  <a:lnTo>
                    <a:pt x="1327" y="2811"/>
                  </a:lnTo>
                  <a:cubicBezTo>
                    <a:pt x="1359" y="2778"/>
                    <a:pt x="1371" y="2730"/>
                    <a:pt x="1357" y="2686"/>
                  </a:cubicBezTo>
                  <a:lnTo>
                    <a:pt x="1149" y="2020"/>
                  </a:lnTo>
                  <a:cubicBezTo>
                    <a:pt x="1204" y="2011"/>
                    <a:pt x="1259" y="1997"/>
                    <a:pt x="1313" y="1980"/>
                  </a:cubicBezTo>
                  <a:cubicBezTo>
                    <a:pt x="1347" y="2003"/>
                    <a:pt x="1384" y="2022"/>
                    <a:pt x="1423" y="2035"/>
                  </a:cubicBezTo>
                  <a:lnTo>
                    <a:pt x="1610" y="2098"/>
                  </a:lnTo>
                  <a:cubicBezTo>
                    <a:pt x="1795" y="2161"/>
                    <a:pt x="1919" y="2334"/>
                    <a:pt x="1919" y="2529"/>
                  </a:cubicBezTo>
                  <a:lnTo>
                    <a:pt x="1919" y="3052"/>
                  </a:lnTo>
                  <a:cubicBezTo>
                    <a:pt x="1919" y="3121"/>
                    <a:pt x="1975" y="3177"/>
                    <a:pt x="2044" y="3177"/>
                  </a:cubicBezTo>
                  <a:cubicBezTo>
                    <a:pt x="2113" y="3177"/>
                    <a:pt x="2169" y="3121"/>
                    <a:pt x="2169" y="3052"/>
                  </a:cubicBezTo>
                  <a:lnTo>
                    <a:pt x="2169" y="2529"/>
                  </a:lnTo>
                  <a:cubicBezTo>
                    <a:pt x="2169" y="2227"/>
                    <a:pt x="1977" y="1958"/>
                    <a:pt x="1690" y="1862"/>
                  </a:cubicBezTo>
                  <a:close/>
                  <a:moveTo>
                    <a:pt x="991" y="1784"/>
                  </a:moveTo>
                  <a:cubicBezTo>
                    <a:pt x="939" y="1785"/>
                    <a:pt x="888" y="1782"/>
                    <a:pt x="837" y="1773"/>
                  </a:cubicBezTo>
                  <a:cubicBezTo>
                    <a:pt x="855" y="1726"/>
                    <a:pt x="864" y="1676"/>
                    <a:pt x="864" y="1625"/>
                  </a:cubicBezTo>
                  <a:lnTo>
                    <a:pt x="864" y="1574"/>
                  </a:lnTo>
                  <a:cubicBezTo>
                    <a:pt x="907" y="1589"/>
                    <a:pt x="951" y="1597"/>
                    <a:pt x="996" y="1597"/>
                  </a:cubicBezTo>
                  <a:cubicBezTo>
                    <a:pt x="1041" y="1597"/>
                    <a:pt x="1085" y="1589"/>
                    <a:pt x="1128" y="1574"/>
                  </a:cubicBezTo>
                  <a:lnTo>
                    <a:pt x="1128" y="1625"/>
                  </a:lnTo>
                  <a:cubicBezTo>
                    <a:pt x="1128" y="1673"/>
                    <a:pt x="1136" y="1721"/>
                    <a:pt x="1151" y="1765"/>
                  </a:cubicBezTo>
                  <a:cubicBezTo>
                    <a:pt x="1099" y="1776"/>
                    <a:pt x="1045" y="1783"/>
                    <a:pt x="991" y="1784"/>
                  </a:cubicBezTo>
                  <a:close/>
                  <a:moveTo>
                    <a:pt x="618" y="763"/>
                  </a:moveTo>
                  <a:lnTo>
                    <a:pt x="843" y="646"/>
                  </a:lnTo>
                  <a:lnTo>
                    <a:pt x="1373" y="817"/>
                  </a:lnTo>
                  <a:lnTo>
                    <a:pt x="1373" y="1060"/>
                  </a:lnTo>
                  <a:cubicBezTo>
                    <a:pt x="1373" y="1110"/>
                    <a:pt x="1347" y="1158"/>
                    <a:pt x="1304" y="1184"/>
                  </a:cubicBezTo>
                  <a:lnTo>
                    <a:pt x="1071" y="1326"/>
                  </a:lnTo>
                  <a:cubicBezTo>
                    <a:pt x="1025" y="1354"/>
                    <a:pt x="967" y="1354"/>
                    <a:pt x="921" y="1326"/>
                  </a:cubicBezTo>
                  <a:lnTo>
                    <a:pt x="688" y="1184"/>
                  </a:lnTo>
                  <a:cubicBezTo>
                    <a:pt x="645" y="1158"/>
                    <a:pt x="618" y="1110"/>
                    <a:pt x="618" y="1060"/>
                  </a:cubicBezTo>
                  <a:lnTo>
                    <a:pt x="618" y="763"/>
                  </a:lnTo>
                  <a:close/>
                  <a:moveTo>
                    <a:pt x="804" y="250"/>
                  </a:moveTo>
                  <a:lnTo>
                    <a:pt x="1188" y="250"/>
                  </a:lnTo>
                  <a:cubicBezTo>
                    <a:pt x="1290" y="250"/>
                    <a:pt x="1373" y="333"/>
                    <a:pt x="1373" y="435"/>
                  </a:cubicBezTo>
                  <a:lnTo>
                    <a:pt x="1373" y="554"/>
                  </a:lnTo>
                  <a:lnTo>
                    <a:pt x="870" y="392"/>
                  </a:lnTo>
                  <a:cubicBezTo>
                    <a:pt x="838" y="382"/>
                    <a:pt x="804" y="385"/>
                    <a:pt x="774" y="400"/>
                  </a:cubicBezTo>
                  <a:lnTo>
                    <a:pt x="618" y="481"/>
                  </a:lnTo>
                  <a:lnTo>
                    <a:pt x="618" y="435"/>
                  </a:lnTo>
                  <a:cubicBezTo>
                    <a:pt x="618" y="333"/>
                    <a:pt x="702" y="250"/>
                    <a:pt x="804" y="250"/>
                  </a:cubicBezTo>
                  <a:close/>
                  <a:moveTo>
                    <a:pt x="988" y="2797"/>
                  </a:moveTo>
                  <a:lnTo>
                    <a:pt x="893" y="2691"/>
                  </a:lnTo>
                  <a:lnTo>
                    <a:pt x="990" y="2349"/>
                  </a:lnTo>
                  <a:lnTo>
                    <a:pt x="1096" y="2689"/>
                  </a:lnTo>
                  <a:lnTo>
                    <a:pt x="988" y="2797"/>
                  </a:lnTo>
                  <a:close/>
                  <a:moveTo>
                    <a:pt x="988" y="2797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323">
              <a:extLst>
                <a:ext uri="{FF2B5EF4-FFF2-40B4-BE49-F238E27FC236}">
                  <a16:creationId xmlns:a16="http://schemas.microsoft.com/office/drawing/2014/main" id="{912ABA6F-D525-4ACD-8900-C728973AAE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7" y="3457"/>
              <a:ext cx="258" cy="236"/>
            </a:xfrm>
            <a:custGeom>
              <a:avLst/>
              <a:gdLst>
                <a:gd name="T0" fmla="*/ 3783 w 4217"/>
                <a:gd name="T1" fmla="*/ 2148 h 3854"/>
                <a:gd name="T2" fmla="*/ 3712 w 4217"/>
                <a:gd name="T3" fmla="*/ 1717 h 3854"/>
                <a:gd name="T4" fmla="*/ 4014 w 4217"/>
                <a:gd name="T5" fmla="*/ 866 h 3854"/>
                <a:gd name="T6" fmla="*/ 3507 w 4217"/>
                <a:gd name="T7" fmla="*/ 0 h 3854"/>
                <a:gd name="T8" fmla="*/ 2527 w 4217"/>
                <a:gd name="T9" fmla="*/ 816 h 3854"/>
                <a:gd name="T10" fmla="*/ 2746 w 4217"/>
                <a:gd name="T11" fmla="*/ 1667 h 3854"/>
                <a:gd name="T12" fmla="*/ 2748 w 4217"/>
                <a:gd name="T13" fmla="*/ 2158 h 3854"/>
                <a:gd name="T14" fmla="*/ 2008 w 4217"/>
                <a:gd name="T15" fmla="*/ 2603 h 3854"/>
                <a:gd name="T16" fmla="*/ 1606 w 4217"/>
                <a:gd name="T17" fmla="*/ 2429 h 3854"/>
                <a:gd name="T18" fmla="*/ 1612 w 4217"/>
                <a:gd name="T19" fmla="*/ 2074 h 3854"/>
                <a:gd name="T20" fmla="*/ 1801 w 4217"/>
                <a:gd name="T21" fmla="*/ 1403 h 3854"/>
                <a:gd name="T22" fmla="*/ 981 w 4217"/>
                <a:gd name="T23" fmla="*/ 677 h 3854"/>
                <a:gd name="T24" fmla="*/ 546 w 4217"/>
                <a:gd name="T25" fmla="*/ 1363 h 3854"/>
                <a:gd name="T26" fmla="*/ 791 w 4217"/>
                <a:gd name="T27" fmla="*/ 2108 h 3854"/>
                <a:gd name="T28" fmla="*/ 667 w 4217"/>
                <a:gd name="T29" fmla="*/ 2475 h 3854"/>
                <a:gd name="T30" fmla="*/ 0 w 4217"/>
                <a:gd name="T31" fmla="*/ 3729 h 3854"/>
                <a:gd name="T32" fmla="*/ 250 w 4217"/>
                <a:gd name="T33" fmla="*/ 3206 h 3854"/>
                <a:gd name="T34" fmla="*/ 842 w 4217"/>
                <a:gd name="T35" fmla="*/ 2667 h 3854"/>
                <a:gd name="T36" fmla="*/ 838 w 4217"/>
                <a:gd name="T37" fmla="*/ 3484 h 3854"/>
                <a:gd name="T38" fmla="*/ 1161 w 4217"/>
                <a:gd name="T39" fmla="*/ 3781 h 3854"/>
                <a:gd name="T40" fmla="*/ 1535 w 4217"/>
                <a:gd name="T41" fmla="*/ 3363 h 3854"/>
                <a:gd name="T42" fmla="*/ 1600 w 4217"/>
                <a:gd name="T43" fmla="*/ 2712 h 3854"/>
                <a:gd name="T44" fmla="*/ 1855 w 4217"/>
                <a:gd name="T45" fmla="*/ 3086 h 3854"/>
                <a:gd name="T46" fmla="*/ 2105 w 4217"/>
                <a:gd name="T47" fmla="*/ 3729 h 3854"/>
                <a:gd name="T48" fmla="*/ 2505 w 4217"/>
                <a:gd name="T49" fmla="*/ 2528 h 3854"/>
                <a:gd name="T50" fmla="*/ 3093 w 4217"/>
                <a:gd name="T51" fmla="*/ 2438 h 3854"/>
                <a:gd name="T52" fmla="*/ 3163 w 4217"/>
                <a:gd name="T53" fmla="*/ 3723 h 3854"/>
                <a:gd name="T54" fmla="*/ 3344 w 4217"/>
                <a:gd name="T55" fmla="*/ 3728 h 3854"/>
                <a:gd name="T56" fmla="*/ 3421 w 4217"/>
                <a:gd name="T57" fmla="*/ 2435 h 3854"/>
                <a:gd name="T58" fmla="*/ 4036 w 4217"/>
                <a:gd name="T59" fmla="*/ 2528 h 3854"/>
                <a:gd name="T60" fmla="*/ 4116 w 4217"/>
                <a:gd name="T61" fmla="*/ 2291 h 3854"/>
                <a:gd name="T62" fmla="*/ 1041 w 4217"/>
                <a:gd name="T63" fmla="*/ 2302 h 3854"/>
                <a:gd name="T64" fmla="*/ 1306 w 4217"/>
                <a:gd name="T65" fmla="*/ 2251 h 3854"/>
                <a:gd name="T66" fmla="*/ 1169 w 4217"/>
                <a:gd name="T67" fmla="*/ 2461 h 3854"/>
                <a:gd name="T68" fmla="*/ 1551 w 4217"/>
                <a:gd name="T69" fmla="*/ 1494 h 3854"/>
                <a:gd name="T70" fmla="*/ 1248 w 4217"/>
                <a:gd name="T71" fmla="*/ 2003 h 3854"/>
                <a:gd name="T72" fmla="*/ 796 w 4217"/>
                <a:gd name="T73" fmla="*/ 1737 h 3854"/>
                <a:gd name="T74" fmla="*/ 1366 w 4217"/>
                <a:gd name="T75" fmla="*/ 927 h 3854"/>
                <a:gd name="T76" fmla="*/ 1048 w 4217"/>
                <a:gd name="T77" fmla="*/ 1069 h 3854"/>
                <a:gd name="T78" fmla="*/ 796 w 4217"/>
                <a:gd name="T79" fmla="*/ 1112 h 3854"/>
                <a:gd name="T80" fmla="*/ 1071 w 4217"/>
                <a:gd name="T81" fmla="*/ 3368 h 3854"/>
                <a:gd name="T82" fmla="*/ 1166 w 4217"/>
                <a:gd name="T83" fmla="*/ 3474 h 3854"/>
                <a:gd name="T84" fmla="*/ 3079 w 4217"/>
                <a:gd name="T85" fmla="*/ 1972 h 3854"/>
                <a:gd name="T86" fmla="*/ 3462 w 4217"/>
                <a:gd name="T87" fmla="*/ 1866 h 3854"/>
                <a:gd name="T88" fmla="*/ 3265 w 4217"/>
                <a:gd name="T89" fmla="*/ 2197 h 3854"/>
                <a:gd name="T90" fmla="*/ 3764 w 4217"/>
                <a:gd name="T91" fmla="*/ 508 h 3854"/>
                <a:gd name="T92" fmla="*/ 3011 w 4217"/>
                <a:gd name="T93" fmla="*/ 490 h 3854"/>
                <a:gd name="T94" fmla="*/ 3034 w 4217"/>
                <a:gd name="T95" fmla="*/ 250 h 3854"/>
                <a:gd name="T96" fmla="*/ 3764 w 4217"/>
                <a:gd name="T97" fmla="*/ 956 h 3854"/>
                <a:gd name="T98" fmla="*/ 3378 w 4217"/>
                <a:gd name="T99" fmla="*/ 1628 h 3854"/>
                <a:gd name="T100" fmla="*/ 2777 w 4217"/>
                <a:gd name="T101" fmla="*/ 1276 h 3854"/>
                <a:gd name="T102" fmla="*/ 3112 w 4217"/>
                <a:gd name="T103" fmla="*/ 3292 h 3854"/>
                <a:gd name="T104" fmla="*/ 3260 w 4217"/>
                <a:gd name="T105" fmla="*/ 3458 h 38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217" h="3854">
                  <a:moveTo>
                    <a:pt x="4116" y="2291"/>
                  </a:moveTo>
                  <a:lnTo>
                    <a:pt x="3885" y="2213"/>
                  </a:lnTo>
                  <a:cubicBezTo>
                    <a:pt x="3846" y="2200"/>
                    <a:pt x="3811" y="2178"/>
                    <a:pt x="3783" y="2148"/>
                  </a:cubicBezTo>
                  <a:cubicBezTo>
                    <a:pt x="3783" y="2148"/>
                    <a:pt x="3783" y="2148"/>
                    <a:pt x="3783" y="2148"/>
                  </a:cubicBezTo>
                  <a:cubicBezTo>
                    <a:pt x="3737" y="2100"/>
                    <a:pt x="3712" y="2038"/>
                    <a:pt x="3712" y="1972"/>
                  </a:cubicBezTo>
                  <a:lnTo>
                    <a:pt x="3712" y="1717"/>
                  </a:lnTo>
                  <a:lnTo>
                    <a:pt x="3795" y="1667"/>
                  </a:lnTo>
                  <a:cubicBezTo>
                    <a:pt x="3930" y="1584"/>
                    <a:pt x="4014" y="1435"/>
                    <a:pt x="4014" y="1276"/>
                  </a:cubicBezTo>
                  <a:lnTo>
                    <a:pt x="4014" y="866"/>
                  </a:lnTo>
                  <a:lnTo>
                    <a:pt x="4014" y="865"/>
                  </a:lnTo>
                  <a:lnTo>
                    <a:pt x="4014" y="508"/>
                  </a:lnTo>
                  <a:cubicBezTo>
                    <a:pt x="4014" y="228"/>
                    <a:pt x="3787" y="0"/>
                    <a:pt x="3507" y="0"/>
                  </a:cubicBezTo>
                  <a:lnTo>
                    <a:pt x="3034" y="0"/>
                  </a:lnTo>
                  <a:cubicBezTo>
                    <a:pt x="2755" y="0"/>
                    <a:pt x="2527" y="228"/>
                    <a:pt x="2527" y="508"/>
                  </a:cubicBezTo>
                  <a:lnTo>
                    <a:pt x="2527" y="816"/>
                  </a:lnTo>
                  <a:lnTo>
                    <a:pt x="2527" y="817"/>
                  </a:lnTo>
                  <a:lnTo>
                    <a:pt x="2527" y="1276"/>
                  </a:lnTo>
                  <a:cubicBezTo>
                    <a:pt x="2527" y="1435"/>
                    <a:pt x="2611" y="1584"/>
                    <a:pt x="2746" y="1667"/>
                  </a:cubicBezTo>
                  <a:lnTo>
                    <a:pt x="2829" y="1718"/>
                  </a:lnTo>
                  <a:lnTo>
                    <a:pt x="2829" y="1972"/>
                  </a:lnTo>
                  <a:cubicBezTo>
                    <a:pt x="2829" y="2042"/>
                    <a:pt x="2800" y="2110"/>
                    <a:pt x="2748" y="2158"/>
                  </a:cubicBezTo>
                  <a:cubicBezTo>
                    <a:pt x="2721" y="2183"/>
                    <a:pt x="2690" y="2202"/>
                    <a:pt x="2656" y="2213"/>
                  </a:cubicBezTo>
                  <a:lnTo>
                    <a:pt x="2425" y="2291"/>
                  </a:lnTo>
                  <a:cubicBezTo>
                    <a:pt x="2256" y="2348"/>
                    <a:pt x="2109" y="2459"/>
                    <a:pt x="2008" y="2603"/>
                  </a:cubicBezTo>
                  <a:cubicBezTo>
                    <a:pt x="1964" y="2577"/>
                    <a:pt x="1917" y="2555"/>
                    <a:pt x="1868" y="2539"/>
                  </a:cubicBezTo>
                  <a:lnTo>
                    <a:pt x="1680" y="2475"/>
                  </a:lnTo>
                  <a:cubicBezTo>
                    <a:pt x="1652" y="2466"/>
                    <a:pt x="1627" y="2450"/>
                    <a:pt x="1606" y="2429"/>
                  </a:cubicBezTo>
                  <a:cubicBezTo>
                    <a:pt x="1574" y="2394"/>
                    <a:pt x="1556" y="2349"/>
                    <a:pt x="1556" y="2302"/>
                  </a:cubicBezTo>
                  <a:lnTo>
                    <a:pt x="1556" y="2108"/>
                  </a:lnTo>
                  <a:lnTo>
                    <a:pt x="1612" y="2074"/>
                  </a:lnTo>
                  <a:cubicBezTo>
                    <a:pt x="1728" y="2003"/>
                    <a:pt x="1801" y="1874"/>
                    <a:pt x="1801" y="1737"/>
                  </a:cubicBezTo>
                  <a:lnTo>
                    <a:pt x="1801" y="1404"/>
                  </a:lnTo>
                  <a:lnTo>
                    <a:pt x="1801" y="1403"/>
                  </a:lnTo>
                  <a:lnTo>
                    <a:pt x="1801" y="1112"/>
                  </a:lnTo>
                  <a:cubicBezTo>
                    <a:pt x="1801" y="872"/>
                    <a:pt x="1606" y="677"/>
                    <a:pt x="1366" y="677"/>
                  </a:cubicBezTo>
                  <a:lnTo>
                    <a:pt x="981" y="677"/>
                  </a:lnTo>
                  <a:cubicBezTo>
                    <a:pt x="741" y="677"/>
                    <a:pt x="546" y="872"/>
                    <a:pt x="546" y="1112"/>
                  </a:cubicBezTo>
                  <a:lnTo>
                    <a:pt x="546" y="1363"/>
                  </a:lnTo>
                  <a:lnTo>
                    <a:pt x="546" y="1363"/>
                  </a:lnTo>
                  <a:lnTo>
                    <a:pt x="546" y="1737"/>
                  </a:lnTo>
                  <a:cubicBezTo>
                    <a:pt x="546" y="1874"/>
                    <a:pt x="618" y="2003"/>
                    <a:pt x="735" y="2074"/>
                  </a:cubicBezTo>
                  <a:lnTo>
                    <a:pt x="791" y="2108"/>
                  </a:lnTo>
                  <a:lnTo>
                    <a:pt x="791" y="2302"/>
                  </a:lnTo>
                  <a:cubicBezTo>
                    <a:pt x="791" y="2353"/>
                    <a:pt x="770" y="2402"/>
                    <a:pt x="733" y="2436"/>
                  </a:cubicBezTo>
                  <a:cubicBezTo>
                    <a:pt x="714" y="2454"/>
                    <a:pt x="692" y="2467"/>
                    <a:pt x="667" y="2475"/>
                  </a:cubicBezTo>
                  <a:lnTo>
                    <a:pt x="479" y="2539"/>
                  </a:lnTo>
                  <a:cubicBezTo>
                    <a:pt x="193" y="2635"/>
                    <a:pt x="0" y="2903"/>
                    <a:pt x="0" y="3206"/>
                  </a:cubicBezTo>
                  <a:lnTo>
                    <a:pt x="0" y="3729"/>
                  </a:lnTo>
                  <a:cubicBezTo>
                    <a:pt x="0" y="3798"/>
                    <a:pt x="56" y="3854"/>
                    <a:pt x="125" y="3854"/>
                  </a:cubicBezTo>
                  <a:cubicBezTo>
                    <a:pt x="194" y="3854"/>
                    <a:pt x="250" y="3798"/>
                    <a:pt x="250" y="3729"/>
                  </a:cubicBezTo>
                  <a:lnTo>
                    <a:pt x="250" y="3206"/>
                  </a:lnTo>
                  <a:cubicBezTo>
                    <a:pt x="250" y="3011"/>
                    <a:pt x="374" y="2838"/>
                    <a:pt x="559" y="2775"/>
                  </a:cubicBezTo>
                  <a:lnTo>
                    <a:pt x="747" y="2712"/>
                  </a:lnTo>
                  <a:cubicBezTo>
                    <a:pt x="780" y="2701"/>
                    <a:pt x="812" y="2686"/>
                    <a:pt x="842" y="2667"/>
                  </a:cubicBezTo>
                  <a:cubicBezTo>
                    <a:pt x="894" y="2682"/>
                    <a:pt x="946" y="2693"/>
                    <a:pt x="999" y="2701"/>
                  </a:cubicBezTo>
                  <a:lnTo>
                    <a:pt x="811" y="3366"/>
                  </a:lnTo>
                  <a:cubicBezTo>
                    <a:pt x="800" y="3407"/>
                    <a:pt x="810" y="3452"/>
                    <a:pt x="838" y="3484"/>
                  </a:cubicBezTo>
                  <a:lnTo>
                    <a:pt x="1068" y="3740"/>
                  </a:lnTo>
                  <a:cubicBezTo>
                    <a:pt x="1091" y="3766"/>
                    <a:pt x="1124" y="3781"/>
                    <a:pt x="1158" y="3781"/>
                  </a:cubicBezTo>
                  <a:lnTo>
                    <a:pt x="1161" y="3781"/>
                  </a:lnTo>
                  <a:cubicBezTo>
                    <a:pt x="1195" y="3781"/>
                    <a:pt x="1227" y="3768"/>
                    <a:pt x="1250" y="3745"/>
                  </a:cubicBezTo>
                  <a:lnTo>
                    <a:pt x="1504" y="3488"/>
                  </a:lnTo>
                  <a:cubicBezTo>
                    <a:pt x="1537" y="3455"/>
                    <a:pt x="1549" y="3407"/>
                    <a:pt x="1535" y="3363"/>
                  </a:cubicBezTo>
                  <a:lnTo>
                    <a:pt x="1326" y="2697"/>
                  </a:lnTo>
                  <a:cubicBezTo>
                    <a:pt x="1382" y="2688"/>
                    <a:pt x="1437" y="2674"/>
                    <a:pt x="1491" y="2657"/>
                  </a:cubicBezTo>
                  <a:cubicBezTo>
                    <a:pt x="1525" y="2681"/>
                    <a:pt x="1561" y="2699"/>
                    <a:pt x="1600" y="2712"/>
                  </a:cubicBezTo>
                  <a:lnTo>
                    <a:pt x="1788" y="2775"/>
                  </a:lnTo>
                  <a:cubicBezTo>
                    <a:pt x="1826" y="2788"/>
                    <a:pt x="1862" y="2806"/>
                    <a:pt x="1895" y="2828"/>
                  </a:cubicBezTo>
                  <a:cubicBezTo>
                    <a:pt x="1868" y="2911"/>
                    <a:pt x="1855" y="2997"/>
                    <a:pt x="1855" y="3086"/>
                  </a:cubicBezTo>
                  <a:lnTo>
                    <a:pt x="1855" y="3729"/>
                  </a:lnTo>
                  <a:cubicBezTo>
                    <a:pt x="1855" y="3798"/>
                    <a:pt x="1911" y="3854"/>
                    <a:pt x="1980" y="3854"/>
                  </a:cubicBezTo>
                  <a:cubicBezTo>
                    <a:pt x="2049" y="3854"/>
                    <a:pt x="2105" y="3798"/>
                    <a:pt x="2105" y="3729"/>
                  </a:cubicBezTo>
                  <a:lnTo>
                    <a:pt x="2105" y="3086"/>
                  </a:lnTo>
                  <a:cubicBezTo>
                    <a:pt x="2105" y="3000"/>
                    <a:pt x="2123" y="2918"/>
                    <a:pt x="2158" y="2840"/>
                  </a:cubicBezTo>
                  <a:cubicBezTo>
                    <a:pt x="2225" y="2693"/>
                    <a:pt x="2352" y="2579"/>
                    <a:pt x="2505" y="2528"/>
                  </a:cubicBezTo>
                  <a:lnTo>
                    <a:pt x="2736" y="2450"/>
                  </a:lnTo>
                  <a:cubicBezTo>
                    <a:pt x="2779" y="2435"/>
                    <a:pt x="2820" y="2415"/>
                    <a:pt x="2858" y="2390"/>
                  </a:cubicBezTo>
                  <a:cubicBezTo>
                    <a:pt x="2935" y="2413"/>
                    <a:pt x="3014" y="2429"/>
                    <a:pt x="3093" y="2438"/>
                  </a:cubicBezTo>
                  <a:lnTo>
                    <a:pt x="2853" y="3290"/>
                  </a:lnTo>
                  <a:cubicBezTo>
                    <a:pt x="2841" y="3331"/>
                    <a:pt x="2851" y="3376"/>
                    <a:pt x="2880" y="3408"/>
                  </a:cubicBezTo>
                  <a:lnTo>
                    <a:pt x="3163" y="3723"/>
                  </a:lnTo>
                  <a:cubicBezTo>
                    <a:pt x="3186" y="3749"/>
                    <a:pt x="3218" y="3764"/>
                    <a:pt x="3253" y="3765"/>
                  </a:cubicBezTo>
                  <a:cubicBezTo>
                    <a:pt x="3254" y="3765"/>
                    <a:pt x="3255" y="3765"/>
                    <a:pt x="3256" y="3765"/>
                  </a:cubicBezTo>
                  <a:cubicBezTo>
                    <a:pt x="3289" y="3765"/>
                    <a:pt x="3321" y="3751"/>
                    <a:pt x="3344" y="3728"/>
                  </a:cubicBezTo>
                  <a:lnTo>
                    <a:pt x="3657" y="3412"/>
                  </a:lnTo>
                  <a:cubicBezTo>
                    <a:pt x="3690" y="3379"/>
                    <a:pt x="3702" y="3331"/>
                    <a:pt x="3688" y="3287"/>
                  </a:cubicBezTo>
                  <a:lnTo>
                    <a:pt x="3421" y="2435"/>
                  </a:lnTo>
                  <a:cubicBezTo>
                    <a:pt x="3504" y="2423"/>
                    <a:pt x="3586" y="2404"/>
                    <a:pt x="3666" y="2377"/>
                  </a:cubicBezTo>
                  <a:cubicBezTo>
                    <a:pt x="3708" y="2408"/>
                    <a:pt x="3756" y="2433"/>
                    <a:pt x="3805" y="2450"/>
                  </a:cubicBezTo>
                  <a:lnTo>
                    <a:pt x="4036" y="2528"/>
                  </a:lnTo>
                  <a:cubicBezTo>
                    <a:pt x="4050" y="2532"/>
                    <a:pt x="4063" y="2534"/>
                    <a:pt x="4076" y="2534"/>
                  </a:cubicBezTo>
                  <a:cubicBezTo>
                    <a:pt x="4129" y="2534"/>
                    <a:pt x="4177" y="2501"/>
                    <a:pt x="4195" y="2449"/>
                  </a:cubicBezTo>
                  <a:cubicBezTo>
                    <a:pt x="4217" y="2384"/>
                    <a:pt x="4182" y="2313"/>
                    <a:pt x="4116" y="2291"/>
                  </a:cubicBezTo>
                  <a:close/>
                  <a:moveTo>
                    <a:pt x="1169" y="2461"/>
                  </a:moveTo>
                  <a:cubicBezTo>
                    <a:pt x="1117" y="2462"/>
                    <a:pt x="1066" y="2459"/>
                    <a:pt x="1015" y="2450"/>
                  </a:cubicBezTo>
                  <a:cubicBezTo>
                    <a:pt x="1032" y="2403"/>
                    <a:pt x="1041" y="2353"/>
                    <a:pt x="1041" y="2302"/>
                  </a:cubicBezTo>
                  <a:lnTo>
                    <a:pt x="1041" y="2251"/>
                  </a:lnTo>
                  <a:cubicBezTo>
                    <a:pt x="1084" y="2266"/>
                    <a:pt x="1129" y="2274"/>
                    <a:pt x="1173" y="2274"/>
                  </a:cubicBezTo>
                  <a:cubicBezTo>
                    <a:pt x="1218" y="2274"/>
                    <a:pt x="1263" y="2266"/>
                    <a:pt x="1306" y="2251"/>
                  </a:cubicBezTo>
                  <a:lnTo>
                    <a:pt x="1306" y="2302"/>
                  </a:lnTo>
                  <a:cubicBezTo>
                    <a:pt x="1306" y="2350"/>
                    <a:pt x="1314" y="2398"/>
                    <a:pt x="1329" y="2442"/>
                  </a:cubicBezTo>
                  <a:cubicBezTo>
                    <a:pt x="1276" y="2453"/>
                    <a:pt x="1223" y="2460"/>
                    <a:pt x="1169" y="2461"/>
                  </a:cubicBezTo>
                  <a:close/>
                  <a:moveTo>
                    <a:pt x="796" y="1440"/>
                  </a:moveTo>
                  <a:lnTo>
                    <a:pt x="1021" y="1323"/>
                  </a:lnTo>
                  <a:lnTo>
                    <a:pt x="1551" y="1494"/>
                  </a:lnTo>
                  <a:lnTo>
                    <a:pt x="1551" y="1737"/>
                  </a:lnTo>
                  <a:cubicBezTo>
                    <a:pt x="1551" y="1787"/>
                    <a:pt x="1524" y="1835"/>
                    <a:pt x="1482" y="1861"/>
                  </a:cubicBezTo>
                  <a:lnTo>
                    <a:pt x="1248" y="2003"/>
                  </a:lnTo>
                  <a:cubicBezTo>
                    <a:pt x="1202" y="2031"/>
                    <a:pt x="1145" y="2031"/>
                    <a:pt x="1099" y="2003"/>
                  </a:cubicBezTo>
                  <a:lnTo>
                    <a:pt x="865" y="1861"/>
                  </a:lnTo>
                  <a:cubicBezTo>
                    <a:pt x="823" y="1835"/>
                    <a:pt x="796" y="1787"/>
                    <a:pt x="796" y="1737"/>
                  </a:cubicBezTo>
                  <a:lnTo>
                    <a:pt x="796" y="1440"/>
                  </a:lnTo>
                  <a:close/>
                  <a:moveTo>
                    <a:pt x="981" y="927"/>
                  </a:moveTo>
                  <a:lnTo>
                    <a:pt x="1366" y="927"/>
                  </a:lnTo>
                  <a:cubicBezTo>
                    <a:pt x="1468" y="927"/>
                    <a:pt x="1551" y="1010"/>
                    <a:pt x="1551" y="1112"/>
                  </a:cubicBezTo>
                  <a:lnTo>
                    <a:pt x="1551" y="1231"/>
                  </a:lnTo>
                  <a:lnTo>
                    <a:pt x="1048" y="1069"/>
                  </a:lnTo>
                  <a:cubicBezTo>
                    <a:pt x="1016" y="1059"/>
                    <a:pt x="981" y="1062"/>
                    <a:pt x="952" y="1077"/>
                  </a:cubicBezTo>
                  <a:lnTo>
                    <a:pt x="796" y="1158"/>
                  </a:lnTo>
                  <a:lnTo>
                    <a:pt x="796" y="1112"/>
                  </a:lnTo>
                  <a:cubicBezTo>
                    <a:pt x="796" y="1010"/>
                    <a:pt x="879" y="927"/>
                    <a:pt x="981" y="927"/>
                  </a:cubicBezTo>
                  <a:close/>
                  <a:moveTo>
                    <a:pt x="1166" y="3474"/>
                  </a:moveTo>
                  <a:lnTo>
                    <a:pt x="1071" y="3368"/>
                  </a:lnTo>
                  <a:lnTo>
                    <a:pt x="1167" y="3026"/>
                  </a:lnTo>
                  <a:lnTo>
                    <a:pt x="1274" y="3366"/>
                  </a:lnTo>
                  <a:lnTo>
                    <a:pt x="1166" y="3474"/>
                  </a:lnTo>
                  <a:close/>
                  <a:moveTo>
                    <a:pt x="3265" y="2197"/>
                  </a:moveTo>
                  <a:cubicBezTo>
                    <a:pt x="3188" y="2198"/>
                    <a:pt x="3111" y="2192"/>
                    <a:pt x="3035" y="2177"/>
                  </a:cubicBezTo>
                  <a:cubicBezTo>
                    <a:pt x="3064" y="2113"/>
                    <a:pt x="3079" y="2043"/>
                    <a:pt x="3079" y="1972"/>
                  </a:cubicBezTo>
                  <a:lnTo>
                    <a:pt x="3079" y="1866"/>
                  </a:lnTo>
                  <a:cubicBezTo>
                    <a:pt x="3140" y="1895"/>
                    <a:pt x="3205" y="1909"/>
                    <a:pt x="3271" y="1909"/>
                  </a:cubicBezTo>
                  <a:cubicBezTo>
                    <a:pt x="3336" y="1909"/>
                    <a:pt x="3401" y="1894"/>
                    <a:pt x="3462" y="1866"/>
                  </a:cubicBezTo>
                  <a:lnTo>
                    <a:pt x="3462" y="1972"/>
                  </a:lnTo>
                  <a:cubicBezTo>
                    <a:pt x="3462" y="2039"/>
                    <a:pt x="3475" y="2105"/>
                    <a:pt x="3501" y="2165"/>
                  </a:cubicBezTo>
                  <a:cubicBezTo>
                    <a:pt x="3424" y="2185"/>
                    <a:pt x="3345" y="2195"/>
                    <a:pt x="3265" y="2197"/>
                  </a:cubicBezTo>
                  <a:close/>
                  <a:moveTo>
                    <a:pt x="3034" y="250"/>
                  </a:moveTo>
                  <a:lnTo>
                    <a:pt x="3507" y="250"/>
                  </a:lnTo>
                  <a:cubicBezTo>
                    <a:pt x="3649" y="250"/>
                    <a:pt x="3764" y="366"/>
                    <a:pt x="3764" y="508"/>
                  </a:cubicBezTo>
                  <a:lnTo>
                    <a:pt x="3764" y="693"/>
                  </a:lnTo>
                  <a:lnTo>
                    <a:pt x="3107" y="482"/>
                  </a:lnTo>
                  <a:cubicBezTo>
                    <a:pt x="3075" y="471"/>
                    <a:pt x="3041" y="474"/>
                    <a:pt x="3011" y="490"/>
                  </a:cubicBezTo>
                  <a:lnTo>
                    <a:pt x="2777" y="612"/>
                  </a:lnTo>
                  <a:lnTo>
                    <a:pt x="2777" y="508"/>
                  </a:lnTo>
                  <a:cubicBezTo>
                    <a:pt x="2777" y="366"/>
                    <a:pt x="2892" y="250"/>
                    <a:pt x="3034" y="250"/>
                  </a:cubicBezTo>
                  <a:close/>
                  <a:moveTo>
                    <a:pt x="2777" y="894"/>
                  </a:moveTo>
                  <a:lnTo>
                    <a:pt x="3080" y="736"/>
                  </a:lnTo>
                  <a:lnTo>
                    <a:pt x="3764" y="956"/>
                  </a:lnTo>
                  <a:lnTo>
                    <a:pt x="3764" y="1276"/>
                  </a:lnTo>
                  <a:cubicBezTo>
                    <a:pt x="3764" y="1348"/>
                    <a:pt x="3726" y="1416"/>
                    <a:pt x="3665" y="1453"/>
                  </a:cubicBezTo>
                  <a:lnTo>
                    <a:pt x="3378" y="1628"/>
                  </a:lnTo>
                  <a:cubicBezTo>
                    <a:pt x="3312" y="1669"/>
                    <a:pt x="3230" y="1669"/>
                    <a:pt x="3163" y="1628"/>
                  </a:cubicBezTo>
                  <a:lnTo>
                    <a:pt x="2876" y="1453"/>
                  </a:lnTo>
                  <a:cubicBezTo>
                    <a:pt x="2815" y="1416"/>
                    <a:pt x="2777" y="1348"/>
                    <a:pt x="2777" y="1276"/>
                  </a:cubicBezTo>
                  <a:lnTo>
                    <a:pt x="2777" y="894"/>
                  </a:lnTo>
                  <a:close/>
                  <a:moveTo>
                    <a:pt x="3260" y="3458"/>
                  </a:moveTo>
                  <a:lnTo>
                    <a:pt x="3112" y="3292"/>
                  </a:lnTo>
                  <a:lnTo>
                    <a:pt x="3262" y="2762"/>
                  </a:lnTo>
                  <a:lnTo>
                    <a:pt x="3427" y="3290"/>
                  </a:lnTo>
                  <a:lnTo>
                    <a:pt x="3260" y="3458"/>
                  </a:lnTo>
                  <a:close/>
                  <a:moveTo>
                    <a:pt x="3260" y="345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324">
              <a:extLst>
                <a:ext uri="{FF2B5EF4-FFF2-40B4-BE49-F238E27FC236}">
                  <a16:creationId xmlns:a16="http://schemas.microsoft.com/office/drawing/2014/main" id="{270447CC-611B-4684-B601-034F7E13FB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4" y="3175"/>
              <a:ext cx="524" cy="391"/>
            </a:xfrm>
            <a:custGeom>
              <a:avLst/>
              <a:gdLst>
                <a:gd name="T0" fmla="*/ 8509 w 8558"/>
                <a:gd name="T1" fmla="*/ 6144 h 6391"/>
                <a:gd name="T2" fmla="*/ 5650 w 8558"/>
                <a:gd name="T3" fmla="*/ 3284 h 6391"/>
                <a:gd name="T4" fmla="*/ 5649 w 8558"/>
                <a:gd name="T5" fmla="*/ 3284 h 6391"/>
                <a:gd name="T6" fmla="*/ 4640 w 8558"/>
                <a:gd name="T7" fmla="*/ 2274 h 6391"/>
                <a:gd name="T8" fmla="*/ 4404 w 8558"/>
                <a:gd name="T9" fmla="*/ 2143 h 6391"/>
                <a:gd name="T10" fmla="*/ 4404 w 8558"/>
                <a:gd name="T11" fmla="*/ 1355 h 6391"/>
                <a:gd name="T12" fmla="*/ 5775 w 8558"/>
                <a:gd name="T13" fmla="*/ 1355 h 6391"/>
                <a:gd name="T14" fmla="*/ 5939 w 8558"/>
                <a:gd name="T15" fmla="*/ 1242 h 6391"/>
                <a:gd name="T16" fmla="*/ 5891 w 8558"/>
                <a:gd name="T17" fmla="*/ 1049 h 6391"/>
                <a:gd name="T18" fmla="*/ 5566 w 8558"/>
                <a:gd name="T19" fmla="*/ 762 h 6391"/>
                <a:gd name="T20" fmla="*/ 5891 w 8558"/>
                <a:gd name="T21" fmla="*/ 476 h 6391"/>
                <a:gd name="T22" fmla="*/ 5939 w 8558"/>
                <a:gd name="T23" fmla="*/ 282 h 6391"/>
                <a:gd name="T24" fmla="*/ 5775 w 8558"/>
                <a:gd name="T25" fmla="*/ 169 h 6391"/>
                <a:gd name="T26" fmla="*/ 4404 w 8558"/>
                <a:gd name="T27" fmla="*/ 169 h 6391"/>
                <a:gd name="T28" fmla="*/ 4404 w 8558"/>
                <a:gd name="T29" fmla="*/ 125 h 6391"/>
                <a:gd name="T30" fmla="*/ 4279 w 8558"/>
                <a:gd name="T31" fmla="*/ 0 h 6391"/>
                <a:gd name="T32" fmla="*/ 4154 w 8558"/>
                <a:gd name="T33" fmla="*/ 125 h 6391"/>
                <a:gd name="T34" fmla="*/ 4154 w 8558"/>
                <a:gd name="T35" fmla="*/ 2152 h 6391"/>
                <a:gd name="T36" fmla="*/ 3951 w 8558"/>
                <a:gd name="T37" fmla="*/ 2274 h 6391"/>
                <a:gd name="T38" fmla="*/ 3507 w 8558"/>
                <a:gd name="T39" fmla="*/ 2719 h 6391"/>
                <a:gd name="T40" fmla="*/ 3507 w 8558"/>
                <a:gd name="T41" fmla="*/ 2895 h 6391"/>
                <a:gd name="T42" fmla="*/ 3684 w 8558"/>
                <a:gd name="T43" fmla="*/ 2895 h 6391"/>
                <a:gd name="T44" fmla="*/ 4128 w 8558"/>
                <a:gd name="T45" fmla="*/ 2451 h 6391"/>
                <a:gd name="T46" fmla="*/ 4295 w 8558"/>
                <a:gd name="T47" fmla="*/ 2381 h 6391"/>
                <a:gd name="T48" fmla="*/ 4463 w 8558"/>
                <a:gd name="T49" fmla="*/ 2451 h 6391"/>
                <a:gd name="T50" fmla="*/ 5364 w 8558"/>
                <a:gd name="T51" fmla="*/ 3352 h 6391"/>
                <a:gd name="T52" fmla="*/ 4977 w 8558"/>
                <a:gd name="T53" fmla="*/ 3608 h 6391"/>
                <a:gd name="T54" fmla="*/ 4514 w 8558"/>
                <a:gd name="T55" fmla="*/ 3283 h 6391"/>
                <a:gd name="T56" fmla="*/ 4367 w 8558"/>
                <a:gd name="T57" fmla="*/ 3286 h 6391"/>
                <a:gd name="T58" fmla="*/ 3942 w 8558"/>
                <a:gd name="T59" fmla="*/ 3606 h 6391"/>
                <a:gd name="T60" fmla="*/ 3535 w 8558"/>
                <a:gd name="T61" fmla="*/ 3334 h 6391"/>
                <a:gd name="T62" fmla="*/ 3420 w 8558"/>
                <a:gd name="T63" fmla="*/ 3321 h 6391"/>
                <a:gd name="T64" fmla="*/ 3154 w 8558"/>
                <a:gd name="T65" fmla="*/ 3425 h 6391"/>
                <a:gd name="T66" fmla="*/ 3287 w 8558"/>
                <a:gd name="T67" fmla="*/ 3292 h 6391"/>
                <a:gd name="T68" fmla="*/ 3287 w 8558"/>
                <a:gd name="T69" fmla="*/ 3115 h 6391"/>
                <a:gd name="T70" fmla="*/ 3111 w 8558"/>
                <a:gd name="T71" fmla="*/ 3115 h 6391"/>
                <a:gd name="T72" fmla="*/ 2556 w 8558"/>
                <a:gd name="T73" fmla="*/ 3669 h 6391"/>
                <a:gd name="T74" fmla="*/ 2556 w 8558"/>
                <a:gd name="T75" fmla="*/ 3670 h 6391"/>
                <a:gd name="T76" fmla="*/ 49 w 8558"/>
                <a:gd name="T77" fmla="*/ 6178 h 6391"/>
                <a:gd name="T78" fmla="*/ 49 w 8558"/>
                <a:gd name="T79" fmla="*/ 6354 h 6391"/>
                <a:gd name="T80" fmla="*/ 137 w 8558"/>
                <a:gd name="T81" fmla="*/ 6391 h 6391"/>
                <a:gd name="T82" fmla="*/ 225 w 8558"/>
                <a:gd name="T83" fmla="*/ 6354 h 6391"/>
                <a:gd name="T84" fmla="*/ 2713 w 8558"/>
                <a:gd name="T85" fmla="*/ 3866 h 6391"/>
                <a:gd name="T86" fmla="*/ 3450 w 8558"/>
                <a:gd name="T87" fmla="*/ 3578 h 6391"/>
                <a:gd name="T88" fmla="*/ 3877 w 8558"/>
                <a:gd name="T89" fmla="*/ 3863 h 6391"/>
                <a:gd name="T90" fmla="*/ 4022 w 8558"/>
                <a:gd name="T91" fmla="*/ 3859 h 6391"/>
                <a:gd name="T92" fmla="*/ 4445 w 8558"/>
                <a:gd name="T93" fmla="*/ 3540 h 6391"/>
                <a:gd name="T94" fmla="*/ 4903 w 8558"/>
                <a:gd name="T95" fmla="*/ 3861 h 6391"/>
                <a:gd name="T96" fmla="*/ 5044 w 8558"/>
                <a:gd name="T97" fmla="*/ 3863 h 6391"/>
                <a:gd name="T98" fmla="*/ 5545 w 8558"/>
                <a:gd name="T99" fmla="*/ 3533 h 6391"/>
                <a:gd name="T100" fmla="*/ 8332 w 8558"/>
                <a:gd name="T101" fmla="*/ 6321 h 6391"/>
                <a:gd name="T102" fmla="*/ 8420 w 8558"/>
                <a:gd name="T103" fmla="*/ 6357 h 6391"/>
                <a:gd name="T104" fmla="*/ 8509 w 8558"/>
                <a:gd name="T105" fmla="*/ 6321 h 6391"/>
                <a:gd name="T106" fmla="*/ 8509 w 8558"/>
                <a:gd name="T107" fmla="*/ 6144 h 6391"/>
                <a:gd name="T108" fmla="*/ 5578 w 8558"/>
                <a:gd name="T109" fmla="*/ 419 h 6391"/>
                <a:gd name="T110" fmla="*/ 5337 w 8558"/>
                <a:gd name="T111" fmla="*/ 631 h 6391"/>
                <a:gd name="T112" fmla="*/ 5278 w 8558"/>
                <a:gd name="T113" fmla="*/ 762 h 6391"/>
                <a:gd name="T114" fmla="*/ 5337 w 8558"/>
                <a:gd name="T115" fmla="*/ 894 h 6391"/>
                <a:gd name="T116" fmla="*/ 5578 w 8558"/>
                <a:gd name="T117" fmla="*/ 1105 h 6391"/>
                <a:gd name="T118" fmla="*/ 4404 w 8558"/>
                <a:gd name="T119" fmla="*/ 1105 h 6391"/>
                <a:gd name="T120" fmla="*/ 4404 w 8558"/>
                <a:gd name="T121" fmla="*/ 419 h 6391"/>
                <a:gd name="T122" fmla="*/ 5578 w 8558"/>
                <a:gd name="T123" fmla="*/ 419 h 6391"/>
                <a:gd name="T124" fmla="*/ 5578 w 8558"/>
                <a:gd name="T125" fmla="*/ 419 h 6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58" h="6391">
                  <a:moveTo>
                    <a:pt x="8509" y="6144"/>
                  </a:moveTo>
                  <a:lnTo>
                    <a:pt x="5650" y="3284"/>
                  </a:lnTo>
                  <a:cubicBezTo>
                    <a:pt x="5650" y="3284"/>
                    <a:pt x="5649" y="3284"/>
                    <a:pt x="5649" y="3284"/>
                  </a:cubicBezTo>
                  <a:lnTo>
                    <a:pt x="4640" y="2274"/>
                  </a:lnTo>
                  <a:cubicBezTo>
                    <a:pt x="4574" y="2208"/>
                    <a:pt x="4492" y="2163"/>
                    <a:pt x="4404" y="2143"/>
                  </a:cubicBezTo>
                  <a:lnTo>
                    <a:pt x="4404" y="1355"/>
                  </a:lnTo>
                  <a:lnTo>
                    <a:pt x="5775" y="1355"/>
                  </a:lnTo>
                  <a:cubicBezTo>
                    <a:pt x="5849" y="1355"/>
                    <a:pt x="5913" y="1311"/>
                    <a:pt x="5939" y="1242"/>
                  </a:cubicBezTo>
                  <a:cubicBezTo>
                    <a:pt x="5966" y="1173"/>
                    <a:pt x="5947" y="1097"/>
                    <a:pt x="5891" y="1049"/>
                  </a:cubicBezTo>
                  <a:lnTo>
                    <a:pt x="5566" y="762"/>
                  </a:lnTo>
                  <a:lnTo>
                    <a:pt x="5891" y="476"/>
                  </a:lnTo>
                  <a:cubicBezTo>
                    <a:pt x="5947" y="427"/>
                    <a:pt x="5966" y="351"/>
                    <a:pt x="5939" y="282"/>
                  </a:cubicBezTo>
                  <a:cubicBezTo>
                    <a:pt x="5913" y="213"/>
                    <a:pt x="5849" y="169"/>
                    <a:pt x="5775" y="169"/>
                  </a:cubicBezTo>
                  <a:lnTo>
                    <a:pt x="4404" y="169"/>
                  </a:lnTo>
                  <a:lnTo>
                    <a:pt x="4404" y="125"/>
                  </a:lnTo>
                  <a:cubicBezTo>
                    <a:pt x="4404" y="56"/>
                    <a:pt x="4348" y="0"/>
                    <a:pt x="4279" y="0"/>
                  </a:cubicBezTo>
                  <a:cubicBezTo>
                    <a:pt x="4210" y="0"/>
                    <a:pt x="4154" y="56"/>
                    <a:pt x="4154" y="125"/>
                  </a:cubicBezTo>
                  <a:lnTo>
                    <a:pt x="4154" y="2152"/>
                  </a:lnTo>
                  <a:cubicBezTo>
                    <a:pt x="4078" y="2175"/>
                    <a:pt x="4009" y="2216"/>
                    <a:pt x="3951" y="2274"/>
                  </a:cubicBezTo>
                  <a:lnTo>
                    <a:pt x="3507" y="2719"/>
                  </a:lnTo>
                  <a:cubicBezTo>
                    <a:pt x="3458" y="2767"/>
                    <a:pt x="3458" y="2846"/>
                    <a:pt x="3507" y="2895"/>
                  </a:cubicBezTo>
                  <a:cubicBezTo>
                    <a:pt x="3556" y="2944"/>
                    <a:pt x="3635" y="2944"/>
                    <a:pt x="3684" y="2895"/>
                  </a:cubicBezTo>
                  <a:lnTo>
                    <a:pt x="4128" y="2451"/>
                  </a:lnTo>
                  <a:cubicBezTo>
                    <a:pt x="4173" y="2406"/>
                    <a:pt x="4232" y="2381"/>
                    <a:pt x="4295" y="2381"/>
                  </a:cubicBezTo>
                  <a:cubicBezTo>
                    <a:pt x="4359" y="2381"/>
                    <a:pt x="4418" y="2406"/>
                    <a:pt x="4463" y="2451"/>
                  </a:cubicBezTo>
                  <a:lnTo>
                    <a:pt x="5364" y="3352"/>
                  </a:lnTo>
                  <a:lnTo>
                    <a:pt x="4977" y="3608"/>
                  </a:lnTo>
                  <a:lnTo>
                    <a:pt x="4514" y="3283"/>
                  </a:lnTo>
                  <a:cubicBezTo>
                    <a:pt x="4469" y="3252"/>
                    <a:pt x="4410" y="3253"/>
                    <a:pt x="4367" y="3286"/>
                  </a:cubicBezTo>
                  <a:lnTo>
                    <a:pt x="3942" y="3606"/>
                  </a:lnTo>
                  <a:lnTo>
                    <a:pt x="3535" y="3334"/>
                  </a:lnTo>
                  <a:cubicBezTo>
                    <a:pt x="3501" y="3311"/>
                    <a:pt x="3458" y="3306"/>
                    <a:pt x="3420" y="3321"/>
                  </a:cubicBezTo>
                  <a:lnTo>
                    <a:pt x="3154" y="3425"/>
                  </a:lnTo>
                  <a:lnTo>
                    <a:pt x="3287" y="3292"/>
                  </a:lnTo>
                  <a:cubicBezTo>
                    <a:pt x="3336" y="3243"/>
                    <a:pt x="3336" y="3164"/>
                    <a:pt x="3287" y="3115"/>
                  </a:cubicBezTo>
                  <a:cubicBezTo>
                    <a:pt x="3238" y="3066"/>
                    <a:pt x="3159" y="3066"/>
                    <a:pt x="3111" y="3115"/>
                  </a:cubicBezTo>
                  <a:lnTo>
                    <a:pt x="2556" y="3669"/>
                  </a:lnTo>
                  <a:cubicBezTo>
                    <a:pt x="2556" y="3669"/>
                    <a:pt x="2556" y="3670"/>
                    <a:pt x="2556" y="3670"/>
                  </a:cubicBezTo>
                  <a:lnTo>
                    <a:pt x="49" y="6178"/>
                  </a:lnTo>
                  <a:cubicBezTo>
                    <a:pt x="0" y="6226"/>
                    <a:pt x="0" y="6306"/>
                    <a:pt x="49" y="6354"/>
                  </a:cubicBezTo>
                  <a:cubicBezTo>
                    <a:pt x="73" y="6379"/>
                    <a:pt x="105" y="6391"/>
                    <a:pt x="137" y="6391"/>
                  </a:cubicBezTo>
                  <a:cubicBezTo>
                    <a:pt x="169" y="6391"/>
                    <a:pt x="201" y="6379"/>
                    <a:pt x="225" y="6354"/>
                  </a:cubicBezTo>
                  <a:lnTo>
                    <a:pt x="2713" y="3866"/>
                  </a:lnTo>
                  <a:lnTo>
                    <a:pt x="3450" y="3578"/>
                  </a:lnTo>
                  <a:lnTo>
                    <a:pt x="3877" y="3863"/>
                  </a:lnTo>
                  <a:cubicBezTo>
                    <a:pt x="3921" y="3893"/>
                    <a:pt x="3979" y="3891"/>
                    <a:pt x="4022" y="3859"/>
                  </a:cubicBezTo>
                  <a:lnTo>
                    <a:pt x="4445" y="3540"/>
                  </a:lnTo>
                  <a:lnTo>
                    <a:pt x="4903" y="3861"/>
                  </a:lnTo>
                  <a:cubicBezTo>
                    <a:pt x="4945" y="3891"/>
                    <a:pt x="5001" y="3892"/>
                    <a:pt x="5044" y="3863"/>
                  </a:cubicBezTo>
                  <a:lnTo>
                    <a:pt x="5545" y="3533"/>
                  </a:lnTo>
                  <a:lnTo>
                    <a:pt x="8332" y="6321"/>
                  </a:lnTo>
                  <a:cubicBezTo>
                    <a:pt x="8356" y="6345"/>
                    <a:pt x="8388" y="6357"/>
                    <a:pt x="8420" y="6357"/>
                  </a:cubicBezTo>
                  <a:cubicBezTo>
                    <a:pt x="8452" y="6357"/>
                    <a:pt x="8484" y="6345"/>
                    <a:pt x="8509" y="6321"/>
                  </a:cubicBezTo>
                  <a:cubicBezTo>
                    <a:pt x="8558" y="6272"/>
                    <a:pt x="8558" y="6193"/>
                    <a:pt x="8509" y="6144"/>
                  </a:cubicBezTo>
                  <a:close/>
                  <a:moveTo>
                    <a:pt x="5578" y="419"/>
                  </a:moveTo>
                  <a:lnTo>
                    <a:pt x="5337" y="631"/>
                  </a:lnTo>
                  <a:cubicBezTo>
                    <a:pt x="5300" y="664"/>
                    <a:pt x="5278" y="712"/>
                    <a:pt x="5278" y="762"/>
                  </a:cubicBezTo>
                  <a:cubicBezTo>
                    <a:pt x="5278" y="813"/>
                    <a:pt x="5300" y="860"/>
                    <a:pt x="5337" y="894"/>
                  </a:cubicBezTo>
                  <a:lnTo>
                    <a:pt x="5578" y="1105"/>
                  </a:lnTo>
                  <a:lnTo>
                    <a:pt x="4404" y="1105"/>
                  </a:lnTo>
                  <a:lnTo>
                    <a:pt x="4404" y="419"/>
                  </a:lnTo>
                  <a:lnTo>
                    <a:pt x="5578" y="419"/>
                  </a:lnTo>
                  <a:close/>
                  <a:moveTo>
                    <a:pt x="5578" y="41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9" name="Picture 2">
            <a:extLst>
              <a:ext uri="{FF2B5EF4-FFF2-40B4-BE49-F238E27FC236}">
                <a16:creationId xmlns:a16="http://schemas.microsoft.com/office/drawing/2014/main" id="{13A7E9AC-DEAD-47A8-9C2B-CB8791803EF8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21" r="521"/>
          <a:stretch/>
        </p:blipFill>
        <p:spPr bwMode="auto">
          <a:xfrm>
            <a:off x="10811994" y="624763"/>
            <a:ext cx="612000" cy="612000"/>
          </a:xfrm>
          <a:prstGeom prst="flowChartConnector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10239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2C234D8-4B10-4565-B34C-568C6035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200" dirty="0"/>
              <a:t>ISO 37001: 2016 “</a:t>
            </a:r>
            <a:r>
              <a:rPr lang="ru-RU" sz="2200" dirty="0" err="1"/>
              <a:t>Порахўрликка</a:t>
            </a:r>
            <a:r>
              <a:rPr lang="ru-RU" sz="2200" dirty="0"/>
              <a:t> </a:t>
            </a:r>
            <a:r>
              <a:rPr lang="ru-RU" sz="2200" dirty="0" err="1"/>
              <a:t>қарши</a:t>
            </a:r>
            <a:r>
              <a:rPr lang="ru-RU" sz="2200" dirty="0"/>
              <a:t> </a:t>
            </a:r>
            <a:r>
              <a:rPr lang="ru-RU" sz="2200" dirty="0" err="1"/>
              <a:t>бошқарув</a:t>
            </a:r>
            <a:r>
              <a:rPr lang="ru-RU" sz="2200" dirty="0"/>
              <a:t> </a:t>
            </a:r>
            <a:r>
              <a:rPr lang="ru-RU" sz="2200" dirty="0" err="1"/>
              <a:t>тизимлари</a:t>
            </a:r>
            <a:r>
              <a:rPr lang="ru-RU" sz="2200" dirty="0"/>
              <a:t>”: коррупцияга </a:t>
            </a:r>
            <a:r>
              <a:rPr lang="ru-RU" sz="2200" dirty="0" err="1"/>
              <a:t>қарши</a:t>
            </a:r>
            <a:r>
              <a:rPr lang="ru-RU" sz="2200" dirty="0"/>
              <a:t> </a:t>
            </a:r>
            <a:r>
              <a:rPr lang="ru-RU" sz="2200" dirty="0" err="1"/>
              <a:t>курашиш</a:t>
            </a:r>
            <a:r>
              <a:rPr lang="ru-RU" sz="2200" dirty="0"/>
              <a:t> </a:t>
            </a:r>
            <a:r>
              <a:rPr lang="ru-RU" sz="2200" dirty="0" err="1"/>
              <a:t>тизимини</a:t>
            </a:r>
            <a:r>
              <a:rPr lang="ru-RU" sz="2200" dirty="0"/>
              <a:t> мониторинг </a:t>
            </a:r>
            <a:r>
              <a:rPr lang="ru-RU" sz="2200" dirty="0" err="1"/>
              <a:t>ва</a:t>
            </a:r>
            <a:r>
              <a:rPr lang="ru-RU" sz="2200" dirty="0"/>
              <a:t> </a:t>
            </a:r>
            <a:r>
              <a:rPr lang="ru-RU" sz="2200" dirty="0" err="1"/>
              <a:t>назорат</a:t>
            </a:r>
            <a:r>
              <a:rPr lang="ru-RU" sz="2200" dirty="0"/>
              <a:t> </a:t>
            </a:r>
            <a:r>
              <a:rPr lang="ru-RU" sz="2200" dirty="0" err="1"/>
              <a:t>қилиш</a:t>
            </a:r>
            <a:r>
              <a:rPr lang="ru-RU" sz="2200" dirty="0"/>
              <a:t> (2/4)</a:t>
            </a:r>
            <a:endParaRPr lang="en-US" sz="2200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07BD8D5-26E2-4565-A566-AC5E0692D22A}"/>
              </a:ext>
            </a:extLst>
          </p:cNvPr>
          <p:cNvGrpSpPr/>
          <p:nvPr/>
        </p:nvGrpSpPr>
        <p:grpSpPr>
          <a:xfrm>
            <a:off x="443080" y="1282693"/>
            <a:ext cx="11306008" cy="434975"/>
            <a:chOff x="3784798" y="1289128"/>
            <a:chExt cx="7964290" cy="463165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08486289-5EC2-40ED-AFAB-6896E2367CC6}"/>
                </a:ext>
              </a:extLst>
            </p:cNvPr>
            <p:cNvSpPr/>
            <p:nvPr/>
          </p:nvSpPr>
          <p:spPr>
            <a:xfrm>
              <a:off x="3921193" y="1371686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0457FCDB-0A5E-44C9-9025-50224A47C5F2}"/>
                </a:ext>
              </a:extLst>
            </p:cNvPr>
            <p:cNvSpPr/>
            <p:nvPr/>
          </p:nvSpPr>
          <p:spPr>
            <a:xfrm>
              <a:off x="3784798" y="1289128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мплаенс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ўлинмалари</a:t>
              </a:r>
              <a:endParaRPr lang="ru-RU" sz="16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13" name="object 15">
            <a:extLst>
              <a:ext uri="{FF2B5EF4-FFF2-40B4-BE49-F238E27FC236}">
                <a16:creationId xmlns:a16="http://schemas.microsoft.com/office/drawing/2014/main" id="{7219A081-CBCD-4458-8DDC-BF4F6745C7AF}"/>
              </a:ext>
            </a:extLst>
          </p:cNvPr>
          <p:cNvSpPr txBox="1"/>
          <p:nvPr/>
        </p:nvSpPr>
        <p:spPr>
          <a:xfrm>
            <a:off x="1271992" y="1822775"/>
            <a:ext cx="4752571" cy="1487226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Мониторинг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мақсади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мплаенс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изими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амарадорлик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ражас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ниқла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.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Ўз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измат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вқеид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шахсий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фой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л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мконият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злаёт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одим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омонид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уқуқбузарлик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оди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этилиш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лд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л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шунингдек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порахўрлик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олатлар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ниқла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мкон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еради</a:t>
            </a:r>
            <a:endParaRPr lang="ru-RU" sz="14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4" name="object 12">
            <a:extLst>
              <a:ext uri="{FF2B5EF4-FFF2-40B4-BE49-F238E27FC236}">
                <a16:creationId xmlns:a16="http://schemas.microsoft.com/office/drawing/2014/main" id="{671C4E94-F2DE-4129-B02B-66E2CDD4DB7E}"/>
              </a:ext>
            </a:extLst>
          </p:cNvPr>
          <p:cNvSpPr/>
          <p:nvPr/>
        </p:nvSpPr>
        <p:spPr>
          <a:xfrm>
            <a:off x="456832" y="177459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5" name="Group 571">
            <a:extLst>
              <a:ext uri="{FF2B5EF4-FFF2-40B4-BE49-F238E27FC236}">
                <a16:creationId xmlns:a16="http://schemas.microsoft.com/office/drawing/2014/main" id="{409E1ABB-2E92-4F24-AB4F-7C65B35A8DC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9" y="1838450"/>
            <a:ext cx="457001" cy="565730"/>
            <a:chOff x="2312" y="2357"/>
            <a:chExt cx="269" cy="333"/>
          </a:xfrm>
          <a:solidFill>
            <a:schemeClr val="bg2">
              <a:lumMod val="25000"/>
            </a:schemeClr>
          </a:solidFill>
        </p:grpSpPr>
        <p:sp>
          <p:nvSpPr>
            <p:cNvPr id="16" name="Freeform 572">
              <a:extLst>
                <a:ext uri="{FF2B5EF4-FFF2-40B4-BE49-F238E27FC236}">
                  <a16:creationId xmlns:a16="http://schemas.microsoft.com/office/drawing/2014/main" id="{16721EC6-B542-4A86-A03F-589BFEA275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3" y="2363"/>
              <a:ext cx="208" cy="209"/>
            </a:xfrm>
            <a:custGeom>
              <a:avLst/>
              <a:gdLst>
                <a:gd name="T0" fmla="*/ 2494 w 3835"/>
                <a:gd name="T1" fmla="*/ 1217 h 3836"/>
                <a:gd name="T2" fmla="*/ 2103 w 3835"/>
                <a:gd name="T3" fmla="*/ 1608 h 3836"/>
                <a:gd name="T4" fmla="*/ 439 w 3835"/>
                <a:gd name="T5" fmla="*/ 1701 h 3836"/>
                <a:gd name="T6" fmla="*/ 472 w 3835"/>
                <a:gd name="T7" fmla="*/ 3366 h 3836"/>
                <a:gd name="T8" fmla="*/ 2138 w 3835"/>
                <a:gd name="T9" fmla="*/ 3396 h 3836"/>
                <a:gd name="T10" fmla="*/ 2227 w 3835"/>
                <a:gd name="T11" fmla="*/ 1731 h 3836"/>
                <a:gd name="T12" fmla="*/ 2618 w 3835"/>
                <a:gd name="T13" fmla="*/ 1341 h 3836"/>
                <a:gd name="T14" fmla="*/ 3046 w 3835"/>
                <a:gd name="T15" fmla="*/ 1447 h 3836"/>
                <a:gd name="T16" fmla="*/ 3129 w 3835"/>
                <a:gd name="T17" fmla="*/ 1424 h 3836"/>
                <a:gd name="T18" fmla="*/ 3783 w 3835"/>
                <a:gd name="T19" fmla="*/ 771 h 3836"/>
                <a:gd name="T20" fmla="*/ 3729 w 3835"/>
                <a:gd name="T21" fmla="*/ 622 h 3836"/>
                <a:gd name="T22" fmla="*/ 3260 w 3835"/>
                <a:gd name="T23" fmla="*/ 575 h 3836"/>
                <a:gd name="T24" fmla="*/ 3213 w 3835"/>
                <a:gd name="T25" fmla="*/ 105 h 3836"/>
                <a:gd name="T26" fmla="*/ 3064 w 3835"/>
                <a:gd name="T27" fmla="*/ 52 h 3836"/>
                <a:gd name="T28" fmla="*/ 2410 w 3835"/>
                <a:gd name="T29" fmla="*/ 706 h 3836"/>
                <a:gd name="T30" fmla="*/ 2387 w 3835"/>
                <a:gd name="T31" fmla="*/ 789 h 3836"/>
                <a:gd name="T32" fmla="*/ 2494 w 3835"/>
                <a:gd name="T33" fmla="*/ 1217 h 3836"/>
                <a:gd name="T34" fmla="*/ 2370 w 3835"/>
                <a:gd name="T35" fmla="*/ 2516 h 3836"/>
                <a:gd name="T36" fmla="*/ 1547 w 3835"/>
                <a:gd name="T37" fmla="*/ 3545 h 3836"/>
                <a:gd name="T38" fmla="*/ 365 w 3835"/>
                <a:gd name="T39" fmla="*/ 2962 h 3836"/>
                <a:gd name="T40" fmla="*/ 680 w 3835"/>
                <a:gd name="T41" fmla="*/ 1682 h 3836"/>
                <a:gd name="T42" fmla="*/ 1997 w 3835"/>
                <a:gd name="T43" fmla="*/ 1714 h 3836"/>
                <a:gd name="T44" fmla="*/ 1611 w 3835"/>
                <a:gd name="T45" fmla="*/ 2100 h 3836"/>
                <a:gd name="T46" fmla="*/ 929 w 3835"/>
                <a:gd name="T47" fmla="*/ 2191 h 3836"/>
                <a:gd name="T48" fmla="*/ 961 w 3835"/>
                <a:gd name="T49" fmla="*/ 2877 h 3836"/>
                <a:gd name="T50" fmla="*/ 1648 w 3835"/>
                <a:gd name="T51" fmla="*/ 2906 h 3836"/>
                <a:gd name="T52" fmla="*/ 1735 w 3835"/>
                <a:gd name="T53" fmla="*/ 2224 h 3836"/>
                <a:gd name="T54" fmla="*/ 2121 w 3835"/>
                <a:gd name="T55" fmla="*/ 1838 h 3836"/>
                <a:gd name="T56" fmla="*/ 2370 w 3835"/>
                <a:gd name="T57" fmla="*/ 2516 h 3836"/>
                <a:gd name="T58" fmla="*/ 1678 w 3835"/>
                <a:gd name="T59" fmla="*/ 2516 h 3836"/>
                <a:gd name="T60" fmla="*/ 1412 w 3835"/>
                <a:gd name="T61" fmla="*/ 2863 h 3836"/>
                <a:gd name="T62" fmla="*/ 1009 w 3835"/>
                <a:gd name="T63" fmla="*/ 2694 h 3836"/>
                <a:gd name="T64" fmla="*/ 1069 w 3835"/>
                <a:gd name="T65" fmla="*/ 2261 h 3836"/>
                <a:gd name="T66" fmla="*/ 1503 w 3835"/>
                <a:gd name="T67" fmla="*/ 2209 h 3836"/>
                <a:gd name="T68" fmla="*/ 1257 w 3835"/>
                <a:gd name="T69" fmla="*/ 2455 h 3836"/>
                <a:gd name="T70" fmla="*/ 1257 w 3835"/>
                <a:gd name="T71" fmla="*/ 2578 h 3836"/>
                <a:gd name="T72" fmla="*/ 1380 w 3835"/>
                <a:gd name="T73" fmla="*/ 2578 h 3836"/>
                <a:gd name="T74" fmla="*/ 1627 w 3835"/>
                <a:gd name="T75" fmla="*/ 2332 h 3836"/>
                <a:gd name="T76" fmla="*/ 1678 w 3835"/>
                <a:gd name="T77" fmla="*/ 2516 h 3836"/>
                <a:gd name="T78" fmla="*/ 3040 w 3835"/>
                <a:gd name="T79" fmla="*/ 1266 h 3836"/>
                <a:gd name="T80" fmla="*/ 2762 w 3835"/>
                <a:gd name="T81" fmla="*/ 1196 h 3836"/>
                <a:gd name="T82" fmla="*/ 3212 w 3835"/>
                <a:gd name="T83" fmla="*/ 746 h 3836"/>
                <a:gd name="T84" fmla="*/ 3528 w 3835"/>
                <a:gd name="T85" fmla="*/ 778 h 3836"/>
                <a:gd name="T86" fmla="*/ 3040 w 3835"/>
                <a:gd name="T87" fmla="*/ 1266 h 3836"/>
                <a:gd name="T88" fmla="*/ 3057 w 3835"/>
                <a:gd name="T89" fmla="*/ 307 h 3836"/>
                <a:gd name="T90" fmla="*/ 3089 w 3835"/>
                <a:gd name="T91" fmla="*/ 622 h 3836"/>
                <a:gd name="T92" fmla="*/ 2639 w 3835"/>
                <a:gd name="T93" fmla="*/ 1072 h 3836"/>
                <a:gd name="T94" fmla="*/ 2569 w 3835"/>
                <a:gd name="T95" fmla="*/ 795 h 3836"/>
                <a:gd name="T96" fmla="*/ 3057 w 3835"/>
                <a:gd name="T97" fmla="*/ 307 h 3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835" h="3836">
                  <a:moveTo>
                    <a:pt x="2494" y="1217"/>
                  </a:moveTo>
                  <a:lnTo>
                    <a:pt x="2103" y="1608"/>
                  </a:lnTo>
                  <a:cubicBezTo>
                    <a:pt x="1614" y="1186"/>
                    <a:pt x="878" y="1227"/>
                    <a:pt x="439" y="1701"/>
                  </a:cubicBezTo>
                  <a:cubicBezTo>
                    <a:pt x="0" y="2174"/>
                    <a:pt x="15" y="2910"/>
                    <a:pt x="472" y="3366"/>
                  </a:cubicBezTo>
                  <a:cubicBezTo>
                    <a:pt x="930" y="3823"/>
                    <a:pt x="1666" y="3836"/>
                    <a:pt x="2138" y="3396"/>
                  </a:cubicBezTo>
                  <a:cubicBezTo>
                    <a:pt x="2611" y="2955"/>
                    <a:pt x="2650" y="2220"/>
                    <a:pt x="2227" y="1731"/>
                  </a:cubicBezTo>
                  <a:lnTo>
                    <a:pt x="2618" y="1341"/>
                  </a:lnTo>
                  <a:lnTo>
                    <a:pt x="3046" y="1447"/>
                  </a:lnTo>
                  <a:cubicBezTo>
                    <a:pt x="3075" y="1455"/>
                    <a:pt x="3107" y="1446"/>
                    <a:pt x="3129" y="1424"/>
                  </a:cubicBezTo>
                  <a:lnTo>
                    <a:pt x="3783" y="771"/>
                  </a:lnTo>
                  <a:cubicBezTo>
                    <a:pt x="3835" y="718"/>
                    <a:pt x="3803" y="629"/>
                    <a:pt x="3729" y="622"/>
                  </a:cubicBezTo>
                  <a:lnTo>
                    <a:pt x="3260" y="575"/>
                  </a:lnTo>
                  <a:lnTo>
                    <a:pt x="3213" y="105"/>
                  </a:lnTo>
                  <a:cubicBezTo>
                    <a:pt x="3206" y="32"/>
                    <a:pt x="3117" y="0"/>
                    <a:pt x="3064" y="52"/>
                  </a:cubicBezTo>
                  <a:lnTo>
                    <a:pt x="2410" y="706"/>
                  </a:lnTo>
                  <a:cubicBezTo>
                    <a:pt x="2389" y="728"/>
                    <a:pt x="2380" y="759"/>
                    <a:pt x="2387" y="789"/>
                  </a:cubicBezTo>
                  <a:lnTo>
                    <a:pt x="2494" y="1217"/>
                  </a:lnTo>
                  <a:close/>
                  <a:moveTo>
                    <a:pt x="2370" y="2516"/>
                  </a:moveTo>
                  <a:cubicBezTo>
                    <a:pt x="2371" y="3010"/>
                    <a:pt x="2028" y="3437"/>
                    <a:pt x="1547" y="3545"/>
                  </a:cubicBezTo>
                  <a:cubicBezTo>
                    <a:pt x="1065" y="3652"/>
                    <a:pt x="574" y="3409"/>
                    <a:pt x="365" y="2962"/>
                  </a:cubicBezTo>
                  <a:cubicBezTo>
                    <a:pt x="157" y="2514"/>
                    <a:pt x="288" y="1982"/>
                    <a:pt x="680" y="1682"/>
                  </a:cubicBezTo>
                  <a:cubicBezTo>
                    <a:pt x="1072" y="1383"/>
                    <a:pt x="1620" y="1396"/>
                    <a:pt x="1997" y="1714"/>
                  </a:cubicBezTo>
                  <a:lnTo>
                    <a:pt x="1611" y="2100"/>
                  </a:lnTo>
                  <a:cubicBezTo>
                    <a:pt x="1395" y="1949"/>
                    <a:pt x="1098" y="1988"/>
                    <a:pt x="929" y="2191"/>
                  </a:cubicBezTo>
                  <a:cubicBezTo>
                    <a:pt x="760" y="2393"/>
                    <a:pt x="774" y="2691"/>
                    <a:pt x="961" y="2877"/>
                  </a:cubicBezTo>
                  <a:cubicBezTo>
                    <a:pt x="1148" y="3064"/>
                    <a:pt x="1446" y="3076"/>
                    <a:pt x="1648" y="2906"/>
                  </a:cubicBezTo>
                  <a:cubicBezTo>
                    <a:pt x="1849" y="2736"/>
                    <a:pt x="1887" y="2439"/>
                    <a:pt x="1735" y="2224"/>
                  </a:cubicBezTo>
                  <a:lnTo>
                    <a:pt x="2121" y="1838"/>
                  </a:lnTo>
                  <a:cubicBezTo>
                    <a:pt x="2282" y="2027"/>
                    <a:pt x="2370" y="2268"/>
                    <a:pt x="2370" y="2516"/>
                  </a:cubicBezTo>
                  <a:close/>
                  <a:moveTo>
                    <a:pt x="1678" y="2516"/>
                  </a:moveTo>
                  <a:cubicBezTo>
                    <a:pt x="1678" y="2679"/>
                    <a:pt x="1569" y="2821"/>
                    <a:pt x="1412" y="2863"/>
                  </a:cubicBezTo>
                  <a:cubicBezTo>
                    <a:pt x="1255" y="2905"/>
                    <a:pt x="1089" y="2835"/>
                    <a:pt x="1009" y="2694"/>
                  </a:cubicBezTo>
                  <a:cubicBezTo>
                    <a:pt x="928" y="2553"/>
                    <a:pt x="953" y="2375"/>
                    <a:pt x="1069" y="2261"/>
                  </a:cubicBezTo>
                  <a:cubicBezTo>
                    <a:pt x="1185" y="2147"/>
                    <a:pt x="1363" y="2126"/>
                    <a:pt x="1503" y="2209"/>
                  </a:cubicBezTo>
                  <a:lnTo>
                    <a:pt x="1257" y="2455"/>
                  </a:lnTo>
                  <a:cubicBezTo>
                    <a:pt x="1222" y="2489"/>
                    <a:pt x="1222" y="2544"/>
                    <a:pt x="1257" y="2578"/>
                  </a:cubicBezTo>
                  <a:cubicBezTo>
                    <a:pt x="1291" y="2612"/>
                    <a:pt x="1346" y="2612"/>
                    <a:pt x="1380" y="2578"/>
                  </a:cubicBezTo>
                  <a:lnTo>
                    <a:pt x="1627" y="2332"/>
                  </a:lnTo>
                  <a:cubicBezTo>
                    <a:pt x="1660" y="2388"/>
                    <a:pt x="1678" y="2451"/>
                    <a:pt x="1678" y="2516"/>
                  </a:cubicBezTo>
                  <a:close/>
                  <a:moveTo>
                    <a:pt x="3040" y="1266"/>
                  </a:moveTo>
                  <a:lnTo>
                    <a:pt x="2762" y="1196"/>
                  </a:lnTo>
                  <a:lnTo>
                    <a:pt x="3212" y="746"/>
                  </a:lnTo>
                  <a:lnTo>
                    <a:pt x="3528" y="778"/>
                  </a:lnTo>
                  <a:lnTo>
                    <a:pt x="3040" y="1266"/>
                  </a:lnTo>
                  <a:close/>
                  <a:moveTo>
                    <a:pt x="3057" y="307"/>
                  </a:moveTo>
                  <a:lnTo>
                    <a:pt x="3089" y="622"/>
                  </a:lnTo>
                  <a:lnTo>
                    <a:pt x="2639" y="1072"/>
                  </a:lnTo>
                  <a:lnTo>
                    <a:pt x="2569" y="795"/>
                  </a:lnTo>
                  <a:lnTo>
                    <a:pt x="3057" y="30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573">
              <a:extLst>
                <a:ext uri="{FF2B5EF4-FFF2-40B4-BE49-F238E27FC236}">
                  <a16:creationId xmlns:a16="http://schemas.microsoft.com/office/drawing/2014/main" id="{FD97244B-01FA-4C37-9CCB-0C4248B49E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5" y="2408"/>
              <a:ext cx="193" cy="282"/>
            </a:xfrm>
            <a:custGeom>
              <a:avLst/>
              <a:gdLst>
                <a:gd name="T0" fmla="*/ 686 w 3539"/>
                <a:gd name="T1" fmla="*/ 2944 h 5188"/>
                <a:gd name="T2" fmla="*/ 1029 w 3539"/>
                <a:gd name="T3" fmla="*/ 3731 h 5188"/>
                <a:gd name="T4" fmla="*/ 1029 w 3539"/>
                <a:gd name="T5" fmla="*/ 4540 h 5188"/>
                <a:gd name="T6" fmla="*/ 1353 w 3539"/>
                <a:gd name="T7" fmla="*/ 4864 h 5188"/>
                <a:gd name="T8" fmla="*/ 1758 w 3539"/>
                <a:gd name="T9" fmla="*/ 4864 h 5188"/>
                <a:gd name="T10" fmla="*/ 1758 w 3539"/>
                <a:gd name="T11" fmla="*/ 5113 h 5188"/>
                <a:gd name="T12" fmla="*/ 1833 w 3539"/>
                <a:gd name="T13" fmla="*/ 5188 h 5188"/>
                <a:gd name="T14" fmla="*/ 1908 w 3539"/>
                <a:gd name="T15" fmla="*/ 5113 h 5188"/>
                <a:gd name="T16" fmla="*/ 1908 w 3539"/>
                <a:gd name="T17" fmla="*/ 4864 h 5188"/>
                <a:gd name="T18" fmla="*/ 2312 w 3539"/>
                <a:gd name="T19" fmla="*/ 4864 h 5188"/>
                <a:gd name="T20" fmla="*/ 2637 w 3539"/>
                <a:gd name="T21" fmla="*/ 4540 h 5188"/>
                <a:gd name="T22" fmla="*/ 2637 w 3539"/>
                <a:gd name="T23" fmla="*/ 3730 h 5188"/>
                <a:gd name="T24" fmla="*/ 2988 w 3539"/>
                <a:gd name="T25" fmla="*/ 2936 h 5188"/>
                <a:gd name="T26" fmla="*/ 3527 w 3539"/>
                <a:gd name="T27" fmla="*/ 1651 h 5188"/>
                <a:gd name="T28" fmla="*/ 3171 w 3539"/>
                <a:gd name="T29" fmla="*/ 657 h 5188"/>
                <a:gd name="T30" fmla="*/ 3052 w 3539"/>
                <a:gd name="T31" fmla="*/ 749 h 5188"/>
                <a:gd name="T32" fmla="*/ 3377 w 3539"/>
                <a:gd name="T33" fmla="*/ 1654 h 5188"/>
                <a:gd name="T34" fmla="*/ 2886 w 3539"/>
                <a:gd name="T35" fmla="*/ 2826 h 5188"/>
                <a:gd name="T36" fmla="*/ 2489 w 3539"/>
                <a:gd name="T37" fmla="*/ 3656 h 5188"/>
                <a:gd name="T38" fmla="*/ 1176 w 3539"/>
                <a:gd name="T39" fmla="*/ 3656 h 5188"/>
                <a:gd name="T40" fmla="*/ 788 w 3539"/>
                <a:gd name="T41" fmla="*/ 2833 h 5188"/>
                <a:gd name="T42" fmla="*/ 393 w 3539"/>
                <a:gd name="T43" fmla="*/ 1135 h 5188"/>
                <a:gd name="T44" fmla="*/ 1833 w 3539"/>
                <a:gd name="T45" fmla="*/ 150 h 5188"/>
                <a:gd name="T46" fmla="*/ 1847 w 3539"/>
                <a:gd name="T47" fmla="*/ 150 h 5188"/>
                <a:gd name="T48" fmla="*/ 2757 w 3539"/>
                <a:gd name="T49" fmla="*/ 459 h 5188"/>
                <a:gd name="T50" fmla="*/ 2862 w 3539"/>
                <a:gd name="T51" fmla="*/ 444 h 5188"/>
                <a:gd name="T52" fmla="*/ 2847 w 3539"/>
                <a:gd name="T53" fmla="*/ 339 h 5188"/>
                <a:gd name="T54" fmla="*/ 1848 w 3539"/>
                <a:gd name="T55" fmla="*/ 1 h 5188"/>
                <a:gd name="T56" fmla="*/ 1833 w 3539"/>
                <a:gd name="T57" fmla="*/ 0 h 5188"/>
                <a:gd name="T58" fmla="*/ 253 w 3539"/>
                <a:gd name="T59" fmla="*/ 1080 h 5188"/>
                <a:gd name="T60" fmla="*/ 686 w 3539"/>
                <a:gd name="T61" fmla="*/ 2944 h 5188"/>
                <a:gd name="T62" fmla="*/ 2312 w 3539"/>
                <a:gd name="T63" fmla="*/ 4714 h 5188"/>
                <a:gd name="T64" fmla="*/ 1353 w 3539"/>
                <a:gd name="T65" fmla="*/ 4714 h 5188"/>
                <a:gd name="T66" fmla="*/ 1179 w 3539"/>
                <a:gd name="T67" fmla="*/ 4540 h 5188"/>
                <a:gd name="T68" fmla="*/ 1179 w 3539"/>
                <a:gd name="T69" fmla="*/ 4508 h 5188"/>
                <a:gd name="T70" fmla="*/ 2038 w 3539"/>
                <a:gd name="T71" fmla="*/ 4508 h 5188"/>
                <a:gd name="T72" fmla="*/ 2113 w 3539"/>
                <a:gd name="T73" fmla="*/ 4433 h 5188"/>
                <a:gd name="T74" fmla="*/ 2038 w 3539"/>
                <a:gd name="T75" fmla="*/ 4358 h 5188"/>
                <a:gd name="T76" fmla="*/ 1179 w 3539"/>
                <a:gd name="T77" fmla="*/ 4358 h 5188"/>
                <a:gd name="T78" fmla="*/ 1179 w 3539"/>
                <a:gd name="T79" fmla="*/ 4152 h 5188"/>
                <a:gd name="T80" fmla="*/ 1390 w 3539"/>
                <a:gd name="T81" fmla="*/ 4152 h 5188"/>
                <a:gd name="T82" fmla="*/ 1465 w 3539"/>
                <a:gd name="T83" fmla="*/ 4077 h 5188"/>
                <a:gd name="T84" fmla="*/ 1390 w 3539"/>
                <a:gd name="T85" fmla="*/ 4002 h 5188"/>
                <a:gd name="T86" fmla="*/ 1179 w 3539"/>
                <a:gd name="T87" fmla="*/ 4002 h 5188"/>
                <a:gd name="T88" fmla="*/ 1179 w 3539"/>
                <a:gd name="T89" fmla="*/ 3806 h 5188"/>
                <a:gd name="T90" fmla="*/ 2487 w 3539"/>
                <a:gd name="T91" fmla="*/ 3806 h 5188"/>
                <a:gd name="T92" fmla="*/ 2487 w 3539"/>
                <a:gd name="T93" fmla="*/ 4002 h 5188"/>
                <a:gd name="T94" fmla="*/ 1648 w 3539"/>
                <a:gd name="T95" fmla="*/ 4002 h 5188"/>
                <a:gd name="T96" fmla="*/ 1573 w 3539"/>
                <a:gd name="T97" fmla="*/ 4077 h 5188"/>
                <a:gd name="T98" fmla="*/ 1648 w 3539"/>
                <a:gd name="T99" fmla="*/ 4152 h 5188"/>
                <a:gd name="T100" fmla="*/ 2487 w 3539"/>
                <a:gd name="T101" fmla="*/ 4152 h 5188"/>
                <a:gd name="T102" fmla="*/ 2487 w 3539"/>
                <a:gd name="T103" fmla="*/ 4358 h 5188"/>
                <a:gd name="T104" fmla="*/ 2296 w 3539"/>
                <a:gd name="T105" fmla="*/ 4358 h 5188"/>
                <a:gd name="T106" fmla="*/ 2221 w 3539"/>
                <a:gd name="T107" fmla="*/ 4433 h 5188"/>
                <a:gd name="T108" fmla="*/ 2296 w 3539"/>
                <a:gd name="T109" fmla="*/ 4508 h 5188"/>
                <a:gd name="T110" fmla="*/ 2487 w 3539"/>
                <a:gd name="T111" fmla="*/ 4508 h 5188"/>
                <a:gd name="T112" fmla="*/ 2487 w 3539"/>
                <a:gd name="T113" fmla="*/ 4540 h 5188"/>
                <a:gd name="T114" fmla="*/ 2312 w 3539"/>
                <a:gd name="T115" fmla="*/ 4714 h 5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39" h="5188">
                  <a:moveTo>
                    <a:pt x="686" y="2944"/>
                  </a:moveTo>
                  <a:cubicBezTo>
                    <a:pt x="905" y="3147"/>
                    <a:pt x="1030" y="3433"/>
                    <a:pt x="1029" y="3731"/>
                  </a:cubicBezTo>
                  <a:lnTo>
                    <a:pt x="1029" y="4540"/>
                  </a:lnTo>
                  <a:cubicBezTo>
                    <a:pt x="1029" y="4719"/>
                    <a:pt x="1174" y="4864"/>
                    <a:pt x="1353" y="4864"/>
                  </a:cubicBezTo>
                  <a:lnTo>
                    <a:pt x="1758" y="4864"/>
                  </a:lnTo>
                  <a:lnTo>
                    <a:pt x="1758" y="5113"/>
                  </a:lnTo>
                  <a:cubicBezTo>
                    <a:pt x="1758" y="5154"/>
                    <a:pt x="1791" y="5188"/>
                    <a:pt x="1833" y="5188"/>
                  </a:cubicBezTo>
                  <a:cubicBezTo>
                    <a:pt x="1874" y="5188"/>
                    <a:pt x="1908" y="5154"/>
                    <a:pt x="1908" y="5113"/>
                  </a:cubicBezTo>
                  <a:lnTo>
                    <a:pt x="1908" y="4864"/>
                  </a:lnTo>
                  <a:lnTo>
                    <a:pt x="2312" y="4864"/>
                  </a:lnTo>
                  <a:cubicBezTo>
                    <a:pt x="2491" y="4864"/>
                    <a:pt x="2636" y="4719"/>
                    <a:pt x="2637" y="4540"/>
                  </a:cubicBezTo>
                  <a:lnTo>
                    <a:pt x="2637" y="3730"/>
                  </a:lnTo>
                  <a:cubicBezTo>
                    <a:pt x="2639" y="3428"/>
                    <a:pt x="2766" y="3141"/>
                    <a:pt x="2988" y="2936"/>
                  </a:cubicBezTo>
                  <a:cubicBezTo>
                    <a:pt x="3343" y="2604"/>
                    <a:pt x="3539" y="2136"/>
                    <a:pt x="3527" y="1651"/>
                  </a:cubicBezTo>
                  <a:cubicBezTo>
                    <a:pt x="3518" y="1290"/>
                    <a:pt x="3393" y="941"/>
                    <a:pt x="3171" y="657"/>
                  </a:cubicBezTo>
                  <a:cubicBezTo>
                    <a:pt x="3109" y="578"/>
                    <a:pt x="2991" y="670"/>
                    <a:pt x="3052" y="749"/>
                  </a:cubicBezTo>
                  <a:cubicBezTo>
                    <a:pt x="3255" y="1008"/>
                    <a:pt x="3369" y="1325"/>
                    <a:pt x="3377" y="1654"/>
                  </a:cubicBezTo>
                  <a:cubicBezTo>
                    <a:pt x="3388" y="2097"/>
                    <a:pt x="3209" y="2524"/>
                    <a:pt x="2886" y="2826"/>
                  </a:cubicBezTo>
                  <a:cubicBezTo>
                    <a:pt x="2652" y="3042"/>
                    <a:pt x="2510" y="3339"/>
                    <a:pt x="2489" y="3656"/>
                  </a:cubicBezTo>
                  <a:lnTo>
                    <a:pt x="1176" y="3656"/>
                  </a:lnTo>
                  <a:cubicBezTo>
                    <a:pt x="1158" y="3342"/>
                    <a:pt x="1019" y="3047"/>
                    <a:pt x="788" y="2833"/>
                  </a:cubicBezTo>
                  <a:cubicBezTo>
                    <a:pt x="319" y="2403"/>
                    <a:pt x="162" y="1728"/>
                    <a:pt x="393" y="1135"/>
                  </a:cubicBezTo>
                  <a:cubicBezTo>
                    <a:pt x="624" y="541"/>
                    <a:pt x="1196" y="151"/>
                    <a:pt x="1833" y="150"/>
                  </a:cubicBezTo>
                  <a:lnTo>
                    <a:pt x="1847" y="150"/>
                  </a:lnTo>
                  <a:cubicBezTo>
                    <a:pt x="2176" y="153"/>
                    <a:pt x="2495" y="261"/>
                    <a:pt x="2757" y="459"/>
                  </a:cubicBezTo>
                  <a:cubicBezTo>
                    <a:pt x="2790" y="484"/>
                    <a:pt x="2837" y="477"/>
                    <a:pt x="2862" y="444"/>
                  </a:cubicBezTo>
                  <a:cubicBezTo>
                    <a:pt x="2887" y="411"/>
                    <a:pt x="2880" y="364"/>
                    <a:pt x="2847" y="339"/>
                  </a:cubicBezTo>
                  <a:cubicBezTo>
                    <a:pt x="2559" y="122"/>
                    <a:pt x="2209" y="3"/>
                    <a:pt x="1848" y="1"/>
                  </a:cubicBezTo>
                  <a:cubicBezTo>
                    <a:pt x="1843" y="0"/>
                    <a:pt x="1838" y="0"/>
                    <a:pt x="1833" y="0"/>
                  </a:cubicBezTo>
                  <a:cubicBezTo>
                    <a:pt x="1134" y="0"/>
                    <a:pt x="507" y="429"/>
                    <a:pt x="253" y="1080"/>
                  </a:cubicBezTo>
                  <a:cubicBezTo>
                    <a:pt x="0" y="1731"/>
                    <a:pt x="172" y="2471"/>
                    <a:pt x="686" y="2944"/>
                  </a:cubicBezTo>
                  <a:close/>
                  <a:moveTo>
                    <a:pt x="2312" y="4714"/>
                  </a:moveTo>
                  <a:lnTo>
                    <a:pt x="1353" y="4714"/>
                  </a:lnTo>
                  <a:cubicBezTo>
                    <a:pt x="1257" y="4714"/>
                    <a:pt x="1179" y="4636"/>
                    <a:pt x="1179" y="4540"/>
                  </a:cubicBezTo>
                  <a:lnTo>
                    <a:pt x="1179" y="4508"/>
                  </a:lnTo>
                  <a:lnTo>
                    <a:pt x="2038" y="4508"/>
                  </a:lnTo>
                  <a:cubicBezTo>
                    <a:pt x="2080" y="4508"/>
                    <a:pt x="2113" y="4474"/>
                    <a:pt x="2113" y="4433"/>
                  </a:cubicBezTo>
                  <a:cubicBezTo>
                    <a:pt x="2113" y="4391"/>
                    <a:pt x="2080" y="4358"/>
                    <a:pt x="2038" y="4358"/>
                  </a:cubicBezTo>
                  <a:lnTo>
                    <a:pt x="1179" y="4358"/>
                  </a:lnTo>
                  <a:lnTo>
                    <a:pt x="1179" y="4152"/>
                  </a:lnTo>
                  <a:lnTo>
                    <a:pt x="1390" y="4152"/>
                  </a:lnTo>
                  <a:cubicBezTo>
                    <a:pt x="1432" y="4152"/>
                    <a:pt x="1465" y="4118"/>
                    <a:pt x="1465" y="4077"/>
                  </a:cubicBezTo>
                  <a:cubicBezTo>
                    <a:pt x="1465" y="4035"/>
                    <a:pt x="1432" y="4002"/>
                    <a:pt x="1390" y="4002"/>
                  </a:cubicBezTo>
                  <a:lnTo>
                    <a:pt x="1179" y="4002"/>
                  </a:lnTo>
                  <a:lnTo>
                    <a:pt x="1179" y="3806"/>
                  </a:lnTo>
                  <a:lnTo>
                    <a:pt x="2487" y="3806"/>
                  </a:lnTo>
                  <a:lnTo>
                    <a:pt x="2487" y="4002"/>
                  </a:lnTo>
                  <a:lnTo>
                    <a:pt x="1648" y="4002"/>
                  </a:lnTo>
                  <a:cubicBezTo>
                    <a:pt x="1607" y="4002"/>
                    <a:pt x="1573" y="4035"/>
                    <a:pt x="1573" y="4077"/>
                  </a:cubicBezTo>
                  <a:cubicBezTo>
                    <a:pt x="1573" y="4118"/>
                    <a:pt x="1607" y="4152"/>
                    <a:pt x="1648" y="4152"/>
                  </a:cubicBezTo>
                  <a:lnTo>
                    <a:pt x="2487" y="4152"/>
                  </a:lnTo>
                  <a:lnTo>
                    <a:pt x="2487" y="4358"/>
                  </a:lnTo>
                  <a:lnTo>
                    <a:pt x="2296" y="4358"/>
                  </a:lnTo>
                  <a:cubicBezTo>
                    <a:pt x="2255" y="4358"/>
                    <a:pt x="2221" y="4391"/>
                    <a:pt x="2221" y="4433"/>
                  </a:cubicBezTo>
                  <a:cubicBezTo>
                    <a:pt x="2221" y="4474"/>
                    <a:pt x="2255" y="4508"/>
                    <a:pt x="2296" y="4508"/>
                  </a:cubicBezTo>
                  <a:lnTo>
                    <a:pt x="2487" y="4508"/>
                  </a:lnTo>
                  <a:lnTo>
                    <a:pt x="2487" y="4540"/>
                  </a:lnTo>
                  <a:cubicBezTo>
                    <a:pt x="2487" y="4636"/>
                    <a:pt x="2409" y="4714"/>
                    <a:pt x="2312" y="471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574">
              <a:extLst>
                <a:ext uri="{FF2B5EF4-FFF2-40B4-BE49-F238E27FC236}">
                  <a16:creationId xmlns:a16="http://schemas.microsoft.com/office/drawing/2014/main" id="{C0CE9B91-A04A-4A30-98F1-A3E24144C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4" y="2357"/>
              <a:ext cx="8" cy="36"/>
            </a:xfrm>
            <a:custGeom>
              <a:avLst/>
              <a:gdLst>
                <a:gd name="T0" fmla="*/ 75 w 150"/>
                <a:gd name="T1" fmla="*/ 649 h 649"/>
                <a:gd name="T2" fmla="*/ 150 w 150"/>
                <a:gd name="T3" fmla="*/ 574 h 649"/>
                <a:gd name="T4" fmla="*/ 150 w 150"/>
                <a:gd name="T5" fmla="*/ 75 h 649"/>
                <a:gd name="T6" fmla="*/ 75 w 150"/>
                <a:gd name="T7" fmla="*/ 0 h 649"/>
                <a:gd name="T8" fmla="*/ 0 w 150"/>
                <a:gd name="T9" fmla="*/ 75 h 649"/>
                <a:gd name="T10" fmla="*/ 0 w 150"/>
                <a:gd name="T11" fmla="*/ 574 h 649"/>
                <a:gd name="T12" fmla="*/ 75 w 150"/>
                <a:gd name="T13" fmla="*/ 649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649">
                  <a:moveTo>
                    <a:pt x="75" y="649"/>
                  </a:moveTo>
                  <a:cubicBezTo>
                    <a:pt x="116" y="649"/>
                    <a:pt x="150" y="615"/>
                    <a:pt x="150" y="574"/>
                  </a:cubicBezTo>
                  <a:lnTo>
                    <a:pt x="150" y="75"/>
                  </a:lnTo>
                  <a:cubicBezTo>
                    <a:pt x="150" y="34"/>
                    <a:pt x="116" y="0"/>
                    <a:pt x="75" y="0"/>
                  </a:cubicBezTo>
                  <a:cubicBezTo>
                    <a:pt x="33" y="0"/>
                    <a:pt x="0" y="34"/>
                    <a:pt x="0" y="75"/>
                  </a:cubicBezTo>
                  <a:lnTo>
                    <a:pt x="0" y="574"/>
                  </a:lnTo>
                  <a:cubicBezTo>
                    <a:pt x="0" y="615"/>
                    <a:pt x="33" y="649"/>
                    <a:pt x="75" y="64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575">
              <a:extLst>
                <a:ext uri="{FF2B5EF4-FFF2-40B4-BE49-F238E27FC236}">
                  <a16:creationId xmlns:a16="http://schemas.microsoft.com/office/drawing/2014/main" id="{C690675D-E3BD-449E-84AC-1AD9588D5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3" y="2486"/>
              <a:ext cx="35" cy="9"/>
            </a:xfrm>
            <a:custGeom>
              <a:avLst/>
              <a:gdLst>
                <a:gd name="T0" fmla="*/ 75 w 649"/>
                <a:gd name="T1" fmla="*/ 0 h 150"/>
                <a:gd name="T2" fmla="*/ 0 w 649"/>
                <a:gd name="T3" fmla="*/ 75 h 150"/>
                <a:gd name="T4" fmla="*/ 75 w 649"/>
                <a:gd name="T5" fmla="*/ 150 h 150"/>
                <a:gd name="T6" fmla="*/ 574 w 649"/>
                <a:gd name="T7" fmla="*/ 150 h 150"/>
                <a:gd name="T8" fmla="*/ 649 w 649"/>
                <a:gd name="T9" fmla="*/ 75 h 150"/>
                <a:gd name="T10" fmla="*/ 574 w 649"/>
                <a:gd name="T11" fmla="*/ 0 h 150"/>
                <a:gd name="T12" fmla="*/ 75 w 649"/>
                <a:gd name="T1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9" h="150">
                  <a:moveTo>
                    <a:pt x="75" y="0"/>
                  </a:moveTo>
                  <a:cubicBezTo>
                    <a:pt x="34" y="0"/>
                    <a:pt x="0" y="34"/>
                    <a:pt x="0" y="75"/>
                  </a:cubicBezTo>
                  <a:cubicBezTo>
                    <a:pt x="0" y="117"/>
                    <a:pt x="34" y="150"/>
                    <a:pt x="75" y="150"/>
                  </a:cubicBezTo>
                  <a:lnTo>
                    <a:pt x="574" y="150"/>
                  </a:lnTo>
                  <a:cubicBezTo>
                    <a:pt x="615" y="150"/>
                    <a:pt x="649" y="117"/>
                    <a:pt x="649" y="75"/>
                  </a:cubicBezTo>
                  <a:cubicBezTo>
                    <a:pt x="649" y="34"/>
                    <a:pt x="615" y="0"/>
                    <a:pt x="574" y="0"/>
                  </a:cubicBezTo>
                  <a:lnTo>
                    <a:pt x="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576">
              <a:extLst>
                <a:ext uri="{FF2B5EF4-FFF2-40B4-BE49-F238E27FC236}">
                  <a16:creationId xmlns:a16="http://schemas.microsoft.com/office/drawing/2014/main" id="{E8D5BCDC-3F6B-42CB-8EAF-D2279C90D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" y="2486"/>
              <a:ext cx="35" cy="9"/>
            </a:xfrm>
            <a:custGeom>
              <a:avLst/>
              <a:gdLst>
                <a:gd name="T0" fmla="*/ 75 w 648"/>
                <a:gd name="T1" fmla="*/ 150 h 150"/>
                <a:gd name="T2" fmla="*/ 573 w 648"/>
                <a:gd name="T3" fmla="*/ 150 h 150"/>
                <a:gd name="T4" fmla="*/ 648 w 648"/>
                <a:gd name="T5" fmla="*/ 75 h 150"/>
                <a:gd name="T6" fmla="*/ 573 w 648"/>
                <a:gd name="T7" fmla="*/ 0 h 150"/>
                <a:gd name="T8" fmla="*/ 75 w 648"/>
                <a:gd name="T9" fmla="*/ 0 h 150"/>
                <a:gd name="T10" fmla="*/ 0 w 648"/>
                <a:gd name="T11" fmla="*/ 75 h 150"/>
                <a:gd name="T12" fmla="*/ 75 w 648"/>
                <a:gd name="T13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8" h="150">
                  <a:moveTo>
                    <a:pt x="75" y="150"/>
                  </a:moveTo>
                  <a:lnTo>
                    <a:pt x="573" y="150"/>
                  </a:lnTo>
                  <a:cubicBezTo>
                    <a:pt x="614" y="150"/>
                    <a:pt x="648" y="117"/>
                    <a:pt x="648" y="75"/>
                  </a:cubicBezTo>
                  <a:cubicBezTo>
                    <a:pt x="648" y="34"/>
                    <a:pt x="614" y="0"/>
                    <a:pt x="573" y="0"/>
                  </a:cubicBezTo>
                  <a:lnTo>
                    <a:pt x="75" y="0"/>
                  </a:lnTo>
                  <a:cubicBezTo>
                    <a:pt x="33" y="0"/>
                    <a:pt x="0" y="34"/>
                    <a:pt x="0" y="75"/>
                  </a:cubicBezTo>
                  <a:cubicBezTo>
                    <a:pt x="0" y="117"/>
                    <a:pt x="33" y="150"/>
                    <a:pt x="75" y="15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577">
              <a:extLst>
                <a:ext uri="{FF2B5EF4-FFF2-40B4-BE49-F238E27FC236}">
                  <a16:creationId xmlns:a16="http://schemas.microsoft.com/office/drawing/2014/main" id="{7A5E52BB-1256-4BE6-8490-473BF3F456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3" y="2389"/>
              <a:ext cx="35" cy="34"/>
            </a:xfrm>
            <a:custGeom>
              <a:avLst/>
              <a:gdLst>
                <a:gd name="T0" fmla="*/ 459 w 636"/>
                <a:gd name="T1" fmla="*/ 566 h 637"/>
                <a:gd name="T2" fmla="*/ 565 w 636"/>
                <a:gd name="T3" fmla="*/ 460 h 637"/>
                <a:gd name="T4" fmla="*/ 176 w 636"/>
                <a:gd name="T5" fmla="*/ 71 h 637"/>
                <a:gd name="T6" fmla="*/ 70 w 636"/>
                <a:gd name="T7" fmla="*/ 177 h 637"/>
                <a:gd name="T8" fmla="*/ 459 w 636"/>
                <a:gd name="T9" fmla="*/ 566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6" h="637">
                  <a:moveTo>
                    <a:pt x="459" y="566"/>
                  </a:moveTo>
                  <a:cubicBezTo>
                    <a:pt x="530" y="637"/>
                    <a:pt x="636" y="530"/>
                    <a:pt x="565" y="460"/>
                  </a:cubicBezTo>
                  <a:lnTo>
                    <a:pt x="176" y="71"/>
                  </a:lnTo>
                  <a:cubicBezTo>
                    <a:pt x="106" y="0"/>
                    <a:pt x="0" y="106"/>
                    <a:pt x="70" y="177"/>
                  </a:cubicBezTo>
                  <a:lnTo>
                    <a:pt x="459" y="56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2" name="object 15">
            <a:extLst>
              <a:ext uri="{FF2B5EF4-FFF2-40B4-BE49-F238E27FC236}">
                <a16:creationId xmlns:a16="http://schemas.microsoft.com/office/drawing/2014/main" id="{05A9995F-1AB5-468F-BA26-AFE95FE73D98}"/>
              </a:ext>
            </a:extLst>
          </p:cNvPr>
          <p:cNvSpPr txBox="1"/>
          <p:nvPr/>
        </p:nvSpPr>
        <p:spPr>
          <a:xfrm>
            <a:off x="1271992" y="3803951"/>
            <a:ext cx="4752571" cy="22534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Даврийлиги: </a:t>
            </a:r>
            <a:r>
              <a:rPr lang="ru-RU" sz="1400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бир</a:t>
            </a:r>
            <a:r>
              <a:rPr lang="ru-RU" sz="1400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йилда</a:t>
            </a:r>
            <a:r>
              <a:rPr lang="ru-RU" sz="1400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камида</a:t>
            </a:r>
            <a:r>
              <a:rPr lang="ru-RU" sz="1400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бир</a:t>
            </a:r>
            <a:r>
              <a:rPr lang="ru-RU" sz="1400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маротаба</a:t>
            </a:r>
            <a:endParaRPr lang="ru-RU"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23" name="object 12">
            <a:extLst>
              <a:ext uri="{FF2B5EF4-FFF2-40B4-BE49-F238E27FC236}">
                <a16:creationId xmlns:a16="http://schemas.microsoft.com/office/drawing/2014/main" id="{EC62B724-740B-4DEE-9D2F-FB5F6B4715DA}"/>
              </a:ext>
            </a:extLst>
          </p:cNvPr>
          <p:cNvSpPr/>
          <p:nvPr/>
        </p:nvSpPr>
        <p:spPr>
          <a:xfrm>
            <a:off x="456832" y="3617688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1" name="Group 379">
            <a:extLst>
              <a:ext uri="{FF2B5EF4-FFF2-40B4-BE49-F238E27FC236}">
                <a16:creationId xmlns:a16="http://schemas.microsoft.com/office/drawing/2014/main" id="{0DEC1252-0E53-43BF-9096-0C8B59E579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3080" y="3700530"/>
            <a:ext cx="590071" cy="596415"/>
            <a:chOff x="1156" y="3368"/>
            <a:chExt cx="279" cy="282"/>
          </a:xfrm>
          <a:solidFill>
            <a:schemeClr val="bg2">
              <a:lumMod val="25000"/>
            </a:schemeClr>
          </a:solidFill>
        </p:grpSpPr>
        <p:sp>
          <p:nvSpPr>
            <p:cNvPr id="32" name="Freeform 380">
              <a:extLst>
                <a:ext uri="{FF2B5EF4-FFF2-40B4-BE49-F238E27FC236}">
                  <a16:creationId xmlns:a16="http://schemas.microsoft.com/office/drawing/2014/main" id="{22E83574-53E4-4A1C-86D3-28D7AC1212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69" y="3516"/>
              <a:ext cx="96" cy="93"/>
            </a:xfrm>
            <a:custGeom>
              <a:avLst/>
              <a:gdLst>
                <a:gd name="T0" fmla="*/ 2440 w 2899"/>
                <a:gd name="T1" fmla="*/ 437 h 2811"/>
                <a:gd name="T2" fmla="*/ 2262 w 2899"/>
                <a:gd name="T3" fmla="*/ 444 h 2811"/>
                <a:gd name="T4" fmla="*/ 2269 w 2899"/>
                <a:gd name="T5" fmla="*/ 621 h 2811"/>
                <a:gd name="T6" fmla="*/ 2341 w 2899"/>
                <a:gd name="T7" fmla="*/ 693 h 2811"/>
                <a:gd name="T8" fmla="*/ 2631 w 2899"/>
                <a:gd name="T9" fmla="*/ 1496 h 2811"/>
                <a:gd name="T10" fmla="*/ 2269 w 2899"/>
                <a:gd name="T11" fmla="*/ 2269 h 2811"/>
                <a:gd name="T12" fmla="*/ 694 w 2899"/>
                <a:gd name="T13" fmla="*/ 2197 h 2811"/>
                <a:gd name="T14" fmla="*/ 765 w 2899"/>
                <a:gd name="T15" fmla="*/ 622 h 2811"/>
                <a:gd name="T16" fmla="*/ 1835 w 2899"/>
                <a:gd name="T17" fmla="*/ 376 h 2811"/>
                <a:gd name="T18" fmla="*/ 1991 w 2899"/>
                <a:gd name="T19" fmla="*/ 292 h 2811"/>
                <a:gd name="T20" fmla="*/ 1906 w 2899"/>
                <a:gd name="T21" fmla="*/ 135 h 2811"/>
                <a:gd name="T22" fmla="*/ 596 w 2899"/>
                <a:gd name="T23" fmla="*/ 436 h 2811"/>
                <a:gd name="T24" fmla="*/ 508 w 2899"/>
                <a:gd name="T25" fmla="*/ 2366 h 2811"/>
                <a:gd name="T26" fmla="*/ 1518 w 2899"/>
                <a:gd name="T27" fmla="*/ 2811 h 2811"/>
                <a:gd name="T28" fmla="*/ 2439 w 2899"/>
                <a:gd name="T29" fmla="*/ 2454 h 2811"/>
                <a:gd name="T30" fmla="*/ 2882 w 2899"/>
                <a:gd name="T31" fmla="*/ 1507 h 2811"/>
                <a:gd name="T32" fmla="*/ 2526 w 2899"/>
                <a:gd name="T33" fmla="*/ 523 h 2811"/>
                <a:gd name="T34" fmla="*/ 2440 w 2899"/>
                <a:gd name="T35" fmla="*/ 437 h 2811"/>
                <a:gd name="T36" fmla="*/ 2440 w 2899"/>
                <a:gd name="T37" fmla="*/ 437 h 2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99" h="2811">
                  <a:moveTo>
                    <a:pt x="2440" y="437"/>
                  </a:moveTo>
                  <a:cubicBezTo>
                    <a:pt x="2389" y="390"/>
                    <a:pt x="2310" y="393"/>
                    <a:pt x="2262" y="444"/>
                  </a:cubicBezTo>
                  <a:cubicBezTo>
                    <a:pt x="2215" y="494"/>
                    <a:pt x="2218" y="574"/>
                    <a:pt x="2269" y="621"/>
                  </a:cubicBezTo>
                  <a:cubicBezTo>
                    <a:pt x="2294" y="645"/>
                    <a:pt x="2318" y="669"/>
                    <a:pt x="2341" y="693"/>
                  </a:cubicBezTo>
                  <a:cubicBezTo>
                    <a:pt x="2541" y="913"/>
                    <a:pt x="2645" y="1198"/>
                    <a:pt x="2631" y="1496"/>
                  </a:cubicBezTo>
                  <a:cubicBezTo>
                    <a:pt x="2618" y="1793"/>
                    <a:pt x="2489" y="2068"/>
                    <a:pt x="2269" y="2269"/>
                  </a:cubicBezTo>
                  <a:cubicBezTo>
                    <a:pt x="1815" y="2683"/>
                    <a:pt x="1108" y="2651"/>
                    <a:pt x="694" y="2197"/>
                  </a:cubicBezTo>
                  <a:cubicBezTo>
                    <a:pt x="279" y="1743"/>
                    <a:pt x="311" y="1037"/>
                    <a:pt x="765" y="622"/>
                  </a:cubicBezTo>
                  <a:cubicBezTo>
                    <a:pt x="1057" y="356"/>
                    <a:pt x="1456" y="264"/>
                    <a:pt x="1835" y="376"/>
                  </a:cubicBezTo>
                  <a:cubicBezTo>
                    <a:pt x="1901" y="396"/>
                    <a:pt x="1971" y="358"/>
                    <a:pt x="1991" y="292"/>
                  </a:cubicBezTo>
                  <a:cubicBezTo>
                    <a:pt x="2011" y="225"/>
                    <a:pt x="1973" y="155"/>
                    <a:pt x="1906" y="135"/>
                  </a:cubicBezTo>
                  <a:cubicBezTo>
                    <a:pt x="1450" y="0"/>
                    <a:pt x="947" y="115"/>
                    <a:pt x="596" y="436"/>
                  </a:cubicBezTo>
                  <a:cubicBezTo>
                    <a:pt x="39" y="944"/>
                    <a:pt x="0" y="1811"/>
                    <a:pt x="508" y="2366"/>
                  </a:cubicBezTo>
                  <a:cubicBezTo>
                    <a:pt x="777" y="2661"/>
                    <a:pt x="1147" y="2811"/>
                    <a:pt x="1518" y="2811"/>
                  </a:cubicBezTo>
                  <a:cubicBezTo>
                    <a:pt x="1847" y="2811"/>
                    <a:pt x="2177" y="2693"/>
                    <a:pt x="2439" y="2454"/>
                  </a:cubicBezTo>
                  <a:cubicBezTo>
                    <a:pt x="2708" y="2208"/>
                    <a:pt x="2866" y="1872"/>
                    <a:pt x="2882" y="1507"/>
                  </a:cubicBezTo>
                  <a:cubicBezTo>
                    <a:pt x="2899" y="1143"/>
                    <a:pt x="2772" y="793"/>
                    <a:pt x="2526" y="523"/>
                  </a:cubicBezTo>
                  <a:cubicBezTo>
                    <a:pt x="2498" y="493"/>
                    <a:pt x="2470" y="465"/>
                    <a:pt x="2440" y="437"/>
                  </a:cubicBezTo>
                  <a:close/>
                  <a:moveTo>
                    <a:pt x="2440" y="437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81">
              <a:extLst>
                <a:ext uri="{FF2B5EF4-FFF2-40B4-BE49-F238E27FC236}">
                  <a16:creationId xmlns:a16="http://schemas.microsoft.com/office/drawing/2014/main" id="{7188EDB1-C808-49B4-B57C-945593A10C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5" y="3452"/>
              <a:ext cx="49" cy="49"/>
            </a:xfrm>
            <a:custGeom>
              <a:avLst/>
              <a:gdLst>
                <a:gd name="T0" fmla="*/ 882 w 1469"/>
                <a:gd name="T1" fmla="*/ 15 h 1469"/>
                <a:gd name="T2" fmla="*/ 734 w 1469"/>
                <a:gd name="T3" fmla="*/ 0 h 1469"/>
                <a:gd name="T4" fmla="*/ 586 w 1469"/>
                <a:gd name="T5" fmla="*/ 15 h 1469"/>
                <a:gd name="T6" fmla="*/ 0 w 1469"/>
                <a:gd name="T7" fmla="*/ 735 h 1469"/>
                <a:gd name="T8" fmla="*/ 734 w 1469"/>
                <a:gd name="T9" fmla="*/ 1469 h 1469"/>
                <a:gd name="T10" fmla="*/ 1469 w 1469"/>
                <a:gd name="T11" fmla="*/ 735 h 1469"/>
                <a:gd name="T12" fmla="*/ 882 w 1469"/>
                <a:gd name="T13" fmla="*/ 15 h 1469"/>
                <a:gd name="T14" fmla="*/ 734 w 1469"/>
                <a:gd name="T15" fmla="*/ 1218 h 1469"/>
                <a:gd name="T16" fmla="*/ 252 w 1469"/>
                <a:gd name="T17" fmla="*/ 735 h 1469"/>
                <a:gd name="T18" fmla="*/ 734 w 1469"/>
                <a:gd name="T19" fmla="*/ 252 h 1469"/>
                <a:gd name="T20" fmla="*/ 1217 w 1469"/>
                <a:gd name="T21" fmla="*/ 735 h 1469"/>
                <a:gd name="T22" fmla="*/ 734 w 1469"/>
                <a:gd name="T23" fmla="*/ 1218 h 1469"/>
                <a:gd name="T24" fmla="*/ 734 w 1469"/>
                <a:gd name="T25" fmla="*/ 1218 h 1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69" h="1469">
                  <a:moveTo>
                    <a:pt x="882" y="15"/>
                  </a:moveTo>
                  <a:cubicBezTo>
                    <a:pt x="834" y="6"/>
                    <a:pt x="785" y="0"/>
                    <a:pt x="734" y="0"/>
                  </a:cubicBezTo>
                  <a:cubicBezTo>
                    <a:pt x="684" y="0"/>
                    <a:pt x="634" y="6"/>
                    <a:pt x="586" y="15"/>
                  </a:cubicBezTo>
                  <a:cubicBezTo>
                    <a:pt x="252" y="84"/>
                    <a:pt x="0" y="380"/>
                    <a:pt x="0" y="735"/>
                  </a:cubicBezTo>
                  <a:cubicBezTo>
                    <a:pt x="0" y="1140"/>
                    <a:pt x="329" y="1469"/>
                    <a:pt x="734" y="1469"/>
                  </a:cubicBezTo>
                  <a:cubicBezTo>
                    <a:pt x="1139" y="1469"/>
                    <a:pt x="1469" y="1140"/>
                    <a:pt x="1469" y="735"/>
                  </a:cubicBezTo>
                  <a:cubicBezTo>
                    <a:pt x="1469" y="380"/>
                    <a:pt x="1217" y="84"/>
                    <a:pt x="882" y="15"/>
                  </a:cubicBezTo>
                  <a:close/>
                  <a:moveTo>
                    <a:pt x="734" y="1218"/>
                  </a:moveTo>
                  <a:cubicBezTo>
                    <a:pt x="468" y="1218"/>
                    <a:pt x="252" y="1001"/>
                    <a:pt x="252" y="735"/>
                  </a:cubicBezTo>
                  <a:cubicBezTo>
                    <a:pt x="252" y="468"/>
                    <a:pt x="468" y="252"/>
                    <a:pt x="734" y="252"/>
                  </a:cubicBezTo>
                  <a:cubicBezTo>
                    <a:pt x="1001" y="252"/>
                    <a:pt x="1217" y="468"/>
                    <a:pt x="1217" y="735"/>
                  </a:cubicBezTo>
                  <a:cubicBezTo>
                    <a:pt x="1217" y="1001"/>
                    <a:pt x="1001" y="1218"/>
                    <a:pt x="734" y="1218"/>
                  </a:cubicBezTo>
                  <a:close/>
                  <a:moveTo>
                    <a:pt x="734" y="121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82">
              <a:extLst>
                <a:ext uri="{FF2B5EF4-FFF2-40B4-BE49-F238E27FC236}">
                  <a16:creationId xmlns:a16="http://schemas.microsoft.com/office/drawing/2014/main" id="{924EC5FA-16B8-4881-98D8-09055C0292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6" y="3368"/>
              <a:ext cx="279" cy="282"/>
            </a:xfrm>
            <a:custGeom>
              <a:avLst/>
              <a:gdLst>
                <a:gd name="T0" fmla="*/ 7982 w 8433"/>
                <a:gd name="T1" fmla="*/ 1329 h 8517"/>
                <a:gd name="T2" fmla="*/ 6247 w 8433"/>
                <a:gd name="T3" fmla="*/ 251 h 8517"/>
                <a:gd name="T4" fmla="*/ 6247 w 8433"/>
                <a:gd name="T5" fmla="*/ 0 h 8517"/>
                <a:gd name="T6" fmla="*/ 3586 w 8433"/>
                <a:gd name="T7" fmla="*/ 1250 h 8517"/>
                <a:gd name="T8" fmla="*/ 2858 w 8433"/>
                <a:gd name="T9" fmla="*/ 733 h 8517"/>
                <a:gd name="T10" fmla="*/ 1598 w 8433"/>
                <a:gd name="T11" fmla="*/ 1359 h 8517"/>
                <a:gd name="T12" fmla="*/ 409 w 8433"/>
                <a:gd name="T13" fmla="*/ 1962 h 8517"/>
                <a:gd name="T14" fmla="*/ 367 w 8433"/>
                <a:gd name="T15" fmla="*/ 2583 h 8517"/>
                <a:gd name="T16" fmla="*/ 551 w 8433"/>
                <a:gd name="T17" fmla="*/ 3958 h 8517"/>
                <a:gd name="T18" fmla="*/ 516 w 8433"/>
                <a:gd name="T19" fmla="*/ 4839 h 8517"/>
                <a:gd name="T20" fmla="*/ 1850 w 8433"/>
                <a:gd name="T21" fmla="*/ 5256 h 8517"/>
                <a:gd name="T22" fmla="*/ 2324 w 8433"/>
                <a:gd name="T23" fmla="*/ 6117 h 8517"/>
                <a:gd name="T24" fmla="*/ 2951 w 8433"/>
                <a:gd name="T25" fmla="*/ 6767 h 8517"/>
                <a:gd name="T26" fmla="*/ 3237 w 8433"/>
                <a:gd name="T27" fmla="*/ 7901 h 8517"/>
                <a:gd name="T28" fmla="*/ 4132 w 8433"/>
                <a:gd name="T29" fmla="*/ 8097 h 8517"/>
                <a:gd name="T30" fmla="*/ 5413 w 8433"/>
                <a:gd name="T31" fmla="*/ 8419 h 8517"/>
                <a:gd name="T32" fmla="*/ 5916 w 8433"/>
                <a:gd name="T33" fmla="*/ 8022 h 8517"/>
                <a:gd name="T34" fmla="*/ 7049 w 8433"/>
                <a:gd name="T35" fmla="*/ 7345 h 8517"/>
                <a:gd name="T36" fmla="*/ 7124 w 8433"/>
                <a:gd name="T37" fmla="*/ 6708 h 8517"/>
                <a:gd name="T38" fmla="*/ 7188 w 8433"/>
                <a:gd name="T39" fmla="*/ 5307 h 8517"/>
                <a:gd name="T40" fmla="*/ 7074 w 8433"/>
                <a:gd name="T41" fmla="*/ 4397 h 8517"/>
                <a:gd name="T42" fmla="*/ 2350 w 8433"/>
                <a:gd name="T43" fmla="*/ 5557 h 8517"/>
                <a:gd name="T44" fmla="*/ 2012 w 8433"/>
                <a:gd name="T45" fmla="*/ 5045 h 8517"/>
                <a:gd name="T46" fmla="*/ 1147 w 8433"/>
                <a:gd name="T47" fmla="*/ 5114 h 8517"/>
                <a:gd name="T48" fmla="*/ 890 w 8433"/>
                <a:gd name="T49" fmla="*/ 4300 h 8517"/>
                <a:gd name="T50" fmla="*/ 367 w 8433"/>
                <a:gd name="T51" fmla="*/ 3707 h 8517"/>
                <a:gd name="T52" fmla="*/ 633 w 8433"/>
                <a:gd name="T53" fmla="*/ 2835 h 8517"/>
                <a:gd name="T54" fmla="*/ 694 w 8433"/>
                <a:gd name="T55" fmla="*/ 2044 h 8517"/>
                <a:gd name="T56" fmla="*/ 1311 w 8433"/>
                <a:gd name="T57" fmla="*/ 1427 h 8517"/>
                <a:gd name="T58" fmla="*/ 2101 w 8433"/>
                <a:gd name="T59" fmla="*/ 1342 h 8517"/>
                <a:gd name="T60" fmla="*/ 2974 w 8433"/>
                <a:gd name="T61" fmla="*/ 1100 h 8517"/>
                <a:gd name="T62" fmla="*/ 3602 w 8433"/>
                <a:gd name="T63" fmla="*/ 1590 h 8517"/>
                <a:gd name="T64" fmla="*/ 4132 w 8433"/>
                <a:gd name="T65" fmla="*/ 1632 h 8517"/>
                <a:gd name="T66" fmla="*/ 4328 w 8433"/>
                <a:gd name="T67" fmla="*/ 3795 h 8517"/>
                <a:gd name="T68" fmla="*/ 3874 w 8433"/>
                <a:gd name="T69" fmla="*/ 3271 h 8517"/>
                <a:gd name="T70" fmla="*/ 2830 w 8433"/>
                <a:gd name="T71" fmla="*/ 4575 h 8517"/>
                <a:gd name="T72" fmla="*/ 2743 w 8433"/>
                <a:gd name="T73" fmla="*/ 5104 h 8517"/>
                <a:gd name="T74" fmla="*/ 3535 w 8433"/>
                <a:gd name="T75" fmla="*/ 3697 h 8517"/>
                <a:gd name="T76" fmla="*/ 2537 w 8433"/>
                <a:gd name="T77" fmla="*/ 4356 h 8517"/>
                <a:gd name="T78" fmla="*/ 7177 w 8433"/>
                <a:gd name="T79" fmla="*/ 5558 h 8517"/>
                <a:gd name="T80" fmla="*/ 7136 w 8433"/>
                <a:gd name="T81" fmla="*/ 6457 h 8517"/>
                <a:gd name="T82" fmla="*/ 6583 w 8433"/>
                <a:gd name="T83" fmla="*/ 7045 h 8517"/>
                <a:gd name="T84" fmla="*/ 6273 w 8433"/>
                <a:gd name="T85" fmla="*/ 7861 h 8517"/>
                <a:gd name="T86" fmla="*/ 5764 w 8433"/>
                <a:gd name="T87" fmla="*/ 7615 h 8517"/>
                <a:gd name="T88" fmla="*/ 5243 w 8433"/>
                <a:gd name="T89" fmla="*/ 8233 h 8517"/>
                <a:gd name="T90" fmla="*/ 4396 w 8433"/>
                <a:gd name="T91" fmla="*/ 7824 h 8517"/>
                <a:gd name="T92" fmla="*/ 3595 w 8433"/>
                <a:gd name="T93" fmla="*/ 7739 h 8517"/>
                <a:gd name="T94" fmla="*/ 2987 w 8433"/>
                <a:gd name="T95" fmla="*/ 7074 h 8517"/>
                <a:gd name="T96" fmla="*/ 2959 w 8433"/>
                <a:gd name="T97" fmla="*/ 6267 h 8517"/>
                <a:gd name="T98" fmla="*/ 2605 w 8433"/>
                <a:gd name="T99" fmla="*/ 5472 h 8517"/>
                <a:gd name="T100" fmla="*/ 3110 w 8433"/>
                <a:gd name="T101" fmla="*/ 5281 h 8517"/>
                <a:gd name="T102" fmla="*/ 3070 w 8433"/>
                <a:gd name="T103" fmla="*/ 4479 h 8517"/>
                <a:gd name="T104" fmla="*/ 3766 w 8433"/>
                <a:gd name="T105" fmla="*/ 3960 h 8517"/>
                <a:gd name="T106" fmla="*/ 4575 w 8433"/>
                <a:gd name="T107" fmla="*/ 3899 h 8517"/>
                <a:gd name="T108" fmla="*/ 6646 w 8433"/>
                <a:gd name="T109" fmla="*/ 4336 h 8517"/>
                <a:gd name="T110" fmla="*/ 6697 w 8433"/>
                <a:gd name="T111" fmla="*/ 4906 h 8517"/>
                <a:gd name="T112" fmla="*/ 7177 w 8433"/>
                <a:gd name="T113" fmla="*/ 5558 h 8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433" h="8517">
                  <a:moveTo>
                    <a:pt x="8433" y="2186"/>
                  </a:moveTo>
                  <a:cubicBezTo>
                    <a:pt x="8433" y="1847"/>
                    <a:pt x="8357" y="1521"/>
                    <a:pt x="8207" y="1217"/>
                  </a:cubicBezTo>
                  <a:cubicBezTo>
                    <a:pt x="8177" y="1155"/>
                    <a:pt x="8101" y="1130"/>
                    <a:pt x="8039" y="1160"/>
                  </a:cubicBezTo>
                  <a:cubicBezTo>
                    <a:pt x="7977" y="1191"/>
                    <a:pt x="7951" y="1267"/>
                    <a:pt x="7982" y="1329"/>
                  </a:cubicBezTo>
                  <a:cubicBezTo>
                    <a:pt x="8115" y="1597"/>
                    <a:pt x="8182" y="1886"/>
                    <a:pt x="8182" y="2186"/>
                  </a:cubicBezTo>
                  <a:cubicBezTo>
                    <a:pt x="8182" y="3253"/>
                    <a:pt x="7314" y="4121"/>
                    <a:pt x="6247" y="4121"/>
                  </a:cubicBezTo>
                  <a:cubicBezTo>
                    <a:pt x="5180" y="4121"/>
                    <a:pt x="4312" y="3253"/>
                    <a:pt x="4312" y="2186"/>
                  </a:cubicBezTo>
                  <a:cubicBezTo>
                    <a:pt x="4312" y="1119"/>
                    <a:pt x="5180" y="251"/>
                    <a:pt x="6247" y="251"/>
                  </a:cubicBezTo>
                  <a:cubicBezTo>
                    <a:pt x="6781" y="251"/>
                    <a:pt x="7297" y="475"/>
                    <a:pt x="7661" y="866"/>
                  </a:cubicBezTo>
                  <a:cubicBezTo>
                    <a:pt x="7709" y="917"/>
                    <a:pt x="7788" y="919"/>
                    <a:pt x="7839" y="872"/>
                  </a:cubicBezTo>
                  <a:cubicBezTo>
                    <a:pt x="7890" y="825"/>
                    <a:pt x="7892" y="745"/>
                    <a:pt x="7845" y="694"/>
                  </a:cubicBezTo>
                  <a:cubicBezTo>
                    <a:pt x="7433" y="253"/>
                    <a:pt x="6851" y="0"/>
                    <a:pt x="6247" y="0"/>
                  </a:cubicBezTo>
                  <a:cubicBezTo>
                    <a:pt x="5332" y="0"/>
                    <a:pt x="4546" y="565"/>
                    <a:pt x="4221" y="1365"/>
                  </a:cubicBezTo>
                  <a:lnTo>
                    <a:pt x="4105" y="1249"/>
                  </a:lnTo>
                  <a:cubicBezTo>
                    <a:pt x="4036" y="1180"/>
                    <a:pt x="3944" y="1142"/>
                    <a:pt x="3846" y="1142"/>
                  </a:cubicBezTo>
                  <a:cubicBezTo>
                    <a:pt x="3747" y="1142"/>
                    <a:pt x="3655" y="1180"/>
                    <a:pt x="3586" y="1250"/>
                  </a:cubicBezTo>
                  <a:lnTo>
                    <a:pt x="3489" y="1347"/>
                  </a:lnTo>
                  <a:cubicBezTo>
                    <a:pt x="3404" y="1305"/>
                    <a:pt x="3316" y="1269"/>
                    <a:pt x="3225" y="1239"/>
                  </a:cubicBezTo>
                  <a:lnTo>
                    <a:pt x="3225" y="1100"/>
                  </a:lnTo>
                  <a:cubicBezTo>
                    <a:pt x="3225" y="898"/>
                    <a:pt x="3060" y="733"/>
                    <a:pt x="2858" y="733"/>
                  </a:cubicBezTo>
                  <a:lnTo>
                    <a:pt x="2217" y="733"/>
                  </a:lnTo>
                  <a:cubicBezTo>
                    <a:pt x="2015" y="733"/>
                    <a:pt x="1850" y="898"/>
                    <a:pt x="1850" y="1100"/>
                  </a:cubicBezTo>
                  <a:lnTo>
                    <a:pt x="1850" y="1251"/>
                  </a:lnTo>
                  <a:cubicBezTo>
                    <a:pt x="1764" y="1281"/>
                    <a:pt x="1680" y="1317"/>
                    <a:pt x="1598" y="1359"/>
                  </a:cubicBezTo>
                  <a:lnTo>
                    <a:pt x="1489" y="1249"/>
                  </a:lnTo>
                  <a:cubicBezTo>
                    <a:pt x="1346" y="1106"/>
                    <a:pt x="1113" y="1106"/>
                    <a:pt x="970" y="1249"/>
                  </a:cubicBezTo>
                  <a:lnTo>
                    <a:pt x="516" y="1703"/>
                  </a:lnTo>
                  <a:cubicBezTo>
                    <a:pt x="447" y="1772"/>
                    <a:pt x="409" y="1864"/>
                    <a:pt x="409" y="1962"/>
                  </a:cubicBezTo>
                  <a:cubicBezTo>
                    <a:pt x="409" y="2061"/>
                    <a:pt x="447" y="2153"/>
                    <a:pt x="516" y="2222"/>
                  </a:cubicBezTo>
                  <a:lnTo>
                    <a:pt x="637" y="2342"/>
                  </a:lnTo>
                  <a:cubicBezTo>
                    <a:pt x="599" y="2421"/>
                    <a:pt x="567" y="2501"/>
                    <a:pt x="540" y="2583"/>
                  </a:cubicBezTo>
                  <a:lnTo>
                    <a:pt x="367" y="2583"/>
                  </a:lnTo>
                  <a:cubicBezTo>
                    <a:pt x="164" y="2583"/>
                    <a:pt x="0" y="2748"/>
                    <a:pt x="0" y="2950"/>
                  </a:cubicBezTo>
                  <a:lnTo>
                    <a:pt x="0" y="3591"/>
                  </a:lnTo>
                  <a:cubicBezTo>
                    <a:pt x="0" y="3794"/>
                    <a:pt x="164" y="3958"/>
                    <a:pt x="367" y="3958"/>
                  </a:cubicBezTo>
                  <a:lnTo>
                    <a:pt x="551" y="3958"/>
                  </a:lnTo>
                  <a:cubicBezTo>
                    <a:pt x="579" y="4037"/>
                    <a:pt x="611" y="4113"/>
                    <a:pt x="648" y="4188"/>
                  </a:cubicBezTo>
                  <a:lnTo>
                    <a:pt x="516" y="4319"/>
                  </a:lnTo>
                  <a:cubicBezTo>
                    <a:pt x="447" y="4388"/>
                    <a:pt x="409" y="4481"/>
                    <a:pt x="409" y="4579"/>
                  </a:cubicBezTo>
                  <a:cubicBezTo>
                    <a:pt x="409" y="4677"/>
                    <a:pt x="447" y="4769"/>
                    <a:pt x="516" y="4839"/>
                  </a:cubicBezTo>
                  <a:lnTo>
                    <a:pt x="970" y="5292"/>
                  </a:lnTo>
                  <a:cubicBezTo>
                    <a:pt x="1113" y="5435"/>
                    <a:pt x="1346" y="5435"/>
                    <a:pt x="1489" y="5292"/>
                  </a:cubicBezTo>
                  <a:lnTo>
                    <a:pt x="1620" y="5160"/>
                  </a:lnTo>
                  <a:cubicBezTo>
                    <a:pt x="1695" y="5197"/>
                    <a:pt x="1771" y="5229"/>
                    <a:pt x="1850" y="5256"/>
                  </a:cubicBezTo>
                  <a:lnTo>
                    <a:pt x="1850" y="5442"/>
                  </a:lnTo>
                  <a:cubicBezTo>
                    <a:pt x="1850" y="5644"/>
                    <a:pt x="2015" y="5808"/>
                    <a:pt x="2217" y="5808"/>
                  </a:cubicBezTo>
                  <a:lnTo>
                    <a:pt x="2338" y="5808"/>
                  </a:lnTo>
                  <a:lnTo>
                    <a:pt x="2324" y="6117"/>
                  </a:lnTo>
                  <a:cubicBezTo>
                    <a:pt x="2320" y="6216"/>
                    <a:pt x="2354" y="6311"/>
                    <a:pt x="2421" y="6385"/>
                  </a:cubicBezTo>
                  <a:cubicBezTo>
                    <a:pt x="2489" y="6459"/>
                    <a:pt x="2581" y="6502"/>
                    <a:pt x="2680" y="6506"/>
                  </a:cubicBezTo>
                  <a:lnTo>
                    <a:pt x="2856" y="6514"/>
                  </a:lnTo>
                  <a:cubicBezTo>
                    <a:pt x="2883" y="6600"/>
                    <a:pt x="2914" y="6685"/>
                    <a:pt x="2951" y="6767"/>
                  </a:cubicBezTo>
                  <a:lnTo>
                    <a:pt x="2818" y="6888"/>
                  </a:lnTo>
                  <a:cubicBezTo>
                    <a:pt x="2744" y="6955"/>
                    <a:pt x="2702" y="7047"/>
                    <a:pt x="2697" y="7147"/>
                  </a:cubicBezTo>
                  <a:cubicBezTo>
                    <a:pt x="2693" y="7247"/>
                    <a:pt x="2727" y="7342"/>
                    <a:pt x="2794" y="7415"/>
                  </a:cubicBezTo>
                  <a:lnTo>
                    <a:pt x="3237" y="7901"/>
                  </a:lnTo>
                  <a:cubicBezTo>
                    <a:pt x="3376" y="8052"/>
                    <a:pt x="3612" y="8063"/>
                    <a:pt x="3764" y="7924"/>
                  </a:cubicBezTo>
                  <a:lnTo>
                    <a:pt x="3906" y="7795"/>
                  </a:lnTo>
                  <a:cubicBezTo>
                    <a:pt x="3981" y="7836"/>
                    <a:pt x="4060" y="7872"/>
                    <a:pt x="4141" y="7904"/>
                  </a:cubicBezTo>
                  <a:lnTo>
                    <a:pt x="4132" y="8097"/>
                  </a:lnTo>
                  <a:cubicBezTo>
                    <a:pt x="4123" y="8302"/>
                    <a:pt x="4283" y="8477"/>
                    <a:pt x="4488" y="8486"/>
                  </a:cubicBezTo>
                  <a:lnTo>
                    <a:pt x="5145" y="8516"/>
                  </a:lnTo>
                  <a:cubicBezTo>
                    <a:pt x="5150" y="8517"/>
                    <a:pt x="5156" y="8517"/>
                    <a:pt x="5162" y="8517"/>
                  </a:cubicBezTo>
                  <a:cubicBezTo>
                    <a:pt x="5255" y="8517"/>
                    <a:pt x="5343" y="8482"/>
                    <a:pt x="5413" y="8419"/>
                  </a:cubicBezTo>
                  <a:cubicBezTo>
                    <a:pt x="5486" y="8351"/>
                    <a:pt x="5529" y="8260"/>
                    <a:pt x="5534" y="8161"/>
                  </a:cubicBezTo>
                  <a:lnTo>
                    <a:pt x="5543" y="7968"/>
                  </a:lnTo>
                  <a:cubicBezTo>
                    <a:pt x="5626" y="7944"/>
                    <a:pt x="5707" y="7915"/>
                    <a:pt x="5787" y="7881"/>
                  </a:cubicBezTo>
                  <a:lnTo>
                    <a:pt x="5916" y="8022"/>
                  </a:lnTo>
                  <a:cubicBezTo>
                    <a:pt x="5983" y="8096"/>
                    <a:pt x="6075" y="8139"/>
                    <a:pt x="6175" y="8143"/>
                  </a:cubicBezTo>
                  <a:cubicBezTo>
                    <a:pt x="6274" y="8148"/>
                    <a:pt x="6369" y="8113"/>
                    <a:pt x="6443" y="8046"/>
                  </a:cubicBezTo>
                  <a:lnTo>
                    <a:pt x="6928" y="7603"/>
                  </a:lnTo>
                  <a:cubicBezTo>
                    <a:pt x="7002" y="7536"/>
                    <a:pt x="7045" y="7444"/>
                    <a:pt x="7049" y="7345"/>
                  </a:cubicBezTo>
                  <a:cubicBezTo>
                    <a:pt x="7054" y="7245"/>
                    <a:pt x="7019" y="7150"/>
                    <a:pt x="6952" y="7076"/>
                  </a:cubicBezTo>
                  <a:lnTo>
                    <a:pt x="6831" y="6944"/>
                  </a:lnTo>
                  <a:cubicBezTo>
                    <a:pt x="6875" y="6865"/>
                    <a:pt x="6914" y="6783"/>
                    <a:pt x="6948" y="6700"/>
                  </a:cubicBezTo>
                  <a:lnTo>
                    <a:pt x="7124" y="6708"/>
                  </a:lnTo>
                  <a:cubicBezTo>
                    <a:pt x="7223" y="6713"/>
                    <a:pt x="7319" y="6678"/>
                    <a:pt x="7392" y="6611"/>
                  </a:cubicBezTo>
                  <a:cubicBezTo>
                    <a:pt x="7466" y="6544"/>
                    <a:pt x="7509" y="6452"/>
                    <a:pt x="7514" y="6353"/>
                  </a:cubicBezTo>
                  <a:lnTo>
                    <a:pt x="7544" y="5696"/>
                  </a:lnTo>
                  <a:cubicBezTo>
                    <a:pt x="7553" y="5490"/>
                    <a:pt x="7394" y="5316"/>
                    <a:pt x="7188" y="5307"/>
                  </a:cubicBezTo>
                  <a:lnTo>
                    <a:pt x="7028" y="5299"/>
                  </a:lnTo>
                  <a:cubicBezTo>
                    <a:pt x="7003" y="5207"/>
                    <a:pt x="6971" y="5117"/>
                    <a:pt x="6934" y="5030"/>
                  </a:cubicBezTo>
                  <a:lnTo>
                    <a:pt x="7050" y="4924"/>
                  </a:lnTo>
                  <a:cubicBezTo>
                    <a:pt x="7202" y="4786"/>
                    <a:pt x="7212" y="4549"/>
                    <a:pt x="7074" y="4397"/>
                  </a:cubicBezTo>
                  <a:lnTo>
                    <a:pt x="6946" y="4258"/>
                  </a:lnTo>
                  <a:cubicBezTo>
                    <a:pt x="7810" y="3965"/>
                    <a:pt x="8433" y="3147"/>
                    <a:pt x="8433" y="2186"/>
                  </a:cubicBezTo>
                  <a:close/>
                  <a:moveTo>
                    <a:pt x="2354" y="5460"/>
                  </a:moveTo>
                  <a:lnTo>
                    <a:pt x="2350" y="5557"/>
                  </a:lnTo>
                  <a:lnTo>
                    <a:pt x="2217" y="5557"/>
                  </a:lnTo>
                  <a:cubicBezTo>
                    <a:pt x="2154" y="5557"/>
                    <a:pt x="2101" y="5504"/>
                    <a:pt x="2101" y="5442"/>
                  </a:cubicBezTo>
                  <a:lnTo>
                    <a:pt x="2101" y="5165"/>
                  </a:lnTo>
                  <a:cubicBezTo>
                    <a:pt x="2101" y="5110"/>
                    <a:pt x="2065" y="5061"/>
                    <a:pt x="2012" y="5045"/>
                  </a:cubicBezTo>
                  <a:cubicBezTo>
                    <a:pt x="1889" y="5008"/>
                    <a:pt x="1769" y="4958"/>
                    <a:pt x="1657" y="4896"/>
                  </a:cubicBezTo>
                  <a:cubicBezTo>
                    <a:pt x="1608" y="4869"/>
                    <a:pt x="1547" y="4878"/>
                    <a:pt x="1507" y="4917"/>
                  </a:cubicBezTo>
                  <a:lnTo>
                    <a:pt x="1311" y="5114"/>
                  </a:lnTo>
                  <a:cubicBezTo>
                    <a:pt x="1266" y="5159"/>
                    <a:pt x="1193" y="5159"/>
                    <a:pt x="1147" y="5114"/>
                  </a:cubicBezTo>
                  <a:lnTo>
                    <a:pt x="694" y="4661"/>
                  </a:lnTo>
                  <a:cubicBezTo>
                    <a:pt x="672" y="4639"/>
                    <a:pt x="660" y="4610"/>
                    <a:pt x="660" y="4579"/>
                  </a:cubicBezTo>
                  <a:cubicBezTo>
                    <a:pt x="660" y="4548"/>
                    <a:pt x="672" y="4519"/>
                    <a:pt x="694" y="4497"/>
                  </a:cubicBezTo>
                  <a:lnTo>
                    <a:pt x="890" y="4300"/>
                  </a:lnTo>
                  <a:cubicBezTo>
                    <a:pt x="930" y="4261"/>
                    <a:pt x="939" y="4200"/>
                    <a:pt x="912" y="4151"/>
                  </a:cubicBezTo>
                  <a:cubicBezTo>
                    <a:pt x="851" y="4039"/>
                    <a:pt x="800" y="3920"/>
                    <a:pt x="763" y="3796"/>
                  </a:cubicBezTo>
                  <a:cubicBezTo>
                    <a:pt x="747" y="3743"/>
                    <a:pt x="698" y="3707"/>
                    <a:pt x="643" y="3707"/>
                  </a:cubicBezTo>
                  <a:lnTo>
                    <a:pt x="367" y="3707"/>
                  </a:lnTo>
                  <a:cubicBezTo>
                    <a:pt x="303" y="3707"/>
                    <a:pt x="251" y="3655"/>
                    <a:pt x="251" y="3591"/>
                  </a:cubicBezTo>
                  <a:lnTo>
                    <a:pt x="251" y="2950"/>
                  </a:lnTo>
                  <a:cubicBezTo>
                    <a:pt x="251" y="2886"/>
                    <a:pt x="303" y="2835"/>
                    <a:pt x="367" y="2835"/>
                  </a:cubicBezTo>
                  <a:lnTo>
                    <a:pt x="633" y="2835"/>
                  </a:lnTo>
                  <a:cubicBezTo>
                    <a:pt x="689" y="2835"/>
                    <a:pt x="738" y="2797"/>
                    <a:pt x="754" y="2743"/>
                  </a:cubicBezTo>
                  <a:cubicBezTo>
                    <a:pt x="789" y="2617"/>
                    <a:pt x="839" y="2494"/>
                    <a:pt x="901" y="2377"/>
                  </a:cubicBezTo>
                  <a:cubicBezTo>
                    <a:pt x="927" y="2328"/>
                    <a:pt x="918" y="2268"/>
                    <a:pt x="879" y="2229"/>
                  </a:cubicBezTo>
                  <a:lnTo>
                    <a:pt x="694" y="2044"/>
                  </a:lnTo>
                  <a:cubicBezTo>
                    <a:pt x="672" y="2022"/>
                    <a:pt x="660" y="1993"/>
                    <a:pt x="660" y="1962"/>
                  </a:cubicBezTo>
                  <a:cubicBezTo>
                    <a:pt x="660" y="1931"/>
                    <a:pt x="672" y="1902"/>
                    <a:pt x="694" y="1881"/>
                  </a:cubicBezTo>
                  <a:lnTo>
                    <a:pt x="1148" y="1427"/>
                  </a:lnTo>
                  <a:cubicBezTo>
                    <a:pt x="1192" y="1382"/>
                    <a:pt x="1266" y="1382"/>
                    <a:pt x="1311" y="1427"/>
                  </a:cubicBezTo>
                  <a:lnTo>
                    <a:pt x="1486" y="1602"/>
                  </a:lnTo>
                  <a:cubicBezTo>
                    <a:pt x="1526" y="1642"/>
                    <a:pt x="1587" y="1650"/>
                    <a:pt x="1636" y="1623"/>
                  </a:cubicBezTo>
                  <a:cubicBezTo>
                    <a:pt x="1757" y="1555"/>
                    <a:pt x="1883" y="1501"/>
                    <a:pt x="2012" y="1463"/>
                  </a:cubicBezTo>
                  <a:cubicBezTo>
                    <a:pt x="2065" y="1447"/>
                    <a:pt x="2101" y="1398"/>
                    <a:pt x="2101" y="1342"/>
                  </a:cubicBezTo>
                  <a:lnTo>
                    <a:pt x="2101" y="1100"/>
                  </a:lnTo>
                  <a:cubicBezTo>
                    <a:pt x="2101" y="1036"/>
                    <a:pt x="2153" y="985"/>
                    <a:pt x="2217" y="985"/>
                  </a:cubicBezTo>
                  <a:lnTo>
                    <a:pt x="2858" y="985"/>
                  </a:lnTo>
                  <a:cubicBezTo>
                    <a:pt x="2921" y="985"/>
                    <a:pt x="2974" y="1037"/>
                    <a:pt x="2974" y="1100"/>
                  </a:cubicBezTo>
                  <a:lnTo>
                    <a:pt x="2974" y="1332"/>
                  </a:lnTo>
                  <a:cubicBezTo>
                    <a:pt x="2974" y="1388"/>
                    <a:pt x="3011" y="1437"/>
                    <a:pt x="3065" y="1453"/>
                  </a:cubicBezTo>
                  <a:cubicBezTo>
                    <a:pt x="3201" y="1491"/>
                    <a:pt x="3331" y="1545"/>
                    <a:pt x="3452" y="1611"/>
                  </a:cubicBezTo>
                  <a:cubicBezTo>
                    <a:pt x="3501" y="1638"/>
                    <a:pt x="3562" y="1630"/>
                    <a:pt x="3602" y="1590"/>
                  </a:cubicBezTo>
                  <a:lnTo>
                    <a:pt x="3764" y="1427"/>
                  </a:lnTo>
                  <a:cubicBezTo>
                    <a:pt x="3785" y="1406"/>
                    <a:pt x="3814" y="1394"/>
                    <a:pt x="3846" y="1394"/>
                  </a:cubicBezTo>
                  <a:cubicBezTo>
                    <a:pt x="3877" y="1394"/>
                    <a:pt x="3906" y="1406"/>
                    <a:pt x="3927" y="1427"/>
                  </a:cubicBezTo>
                  <a:lnTo>
                    <a:pt x="4132" y="1632"/>
                  </a:lnTo>
                  <a:cubicBezTo>
                    <a:pt x="4085" y="1809"/>
                    <a:pt x="4060" y="1995"/>
                    <a:pt x="4060" y="2186"/>
                  </a:cubicBezTo>
                  <a:cubicBezTo>
                    <a:pt x="4060" y="2640"/>
                    <a:pt x="4200" y="3062"/>
                    <a:pt x="4437" y="3412"/>
                  </a:cubicBezTo>
                  <a:cubicBezTo>
                    <a:pt x="4376" y="3476"/>
                    <a:pt x="4338" y="3561"/>
                    <a:pt x="4334" y="3653"/>
                  </a:cubicBezTo>
                  <a:lnTo>
                    <a:pt x="4328" y="3795"/>
                  </a:lnTo>
                  <a:cubicBezTo>
                    <a:pt x="4232" y="3823"/>
                    <a:pt x="4139" y="3857"/>
                    <a:pt x="4049" y="3897"/>
                  </a:cubicBezTo>
                  <a:lnTo>
                    <a:pt x="3952" y="3791"/>
                  </a:lnTo>
                  <a:cubicBezTo>
                    <a:pt x="3911" y="3746"/>
                    <a:pt x="3861" y="3713"/>
                    <a:pt x="3806" y="3692"/>
                  </a:cubicBezTo>
                  <a:cubicBezTo>
                    <a:pt x="3851" y="3557"/>
                    <a:pt x="3874" y="3416"/>
                    <a:pt x="3874" y="3271"/>
                  </a:cubicBezTo>
                  <a:cubicBezTo>
                    <a:pt x="3874" y="2534"/>
                    <a:pt x="3274" y="1934"/>
                    <a:pt x="2537" y="1934"/>
                  </a:cubicBezTo>
                  <a:cubicBezTo>
                    <a:pt x="1800" y="1934"/>
                    <a:pt x="1201" y="2534"/>
                    <a:pt x="1201" y="3271"/>
                  </a:cubicBezTo>
                  <a:cubicBezTo>
                    <a:pt x="1201" y="4007"/>
                    <a:pt x="1800" y="4607"/>
                    <a:pt x="2537" y="4607"/>
                  </a:cubicBezTo>
                  <a:cubicBezTo>
                    <a:pt x="2636" y="4607"/>
                    <a:pt x="2734" y="4596"/>
                    <a:pt x="2830" y="4575"/>
                  </a:cubicBezTo>
                  <a:cubicBezTo>
                    <a:pt x="2844" y="4635"/>
                    <a:pt x="2874" y="4690"/>
                    <a:pt x="2916" y="4736"/>
                  </a:cubicBezTo>
                  <a:lnTo>
                    <a:pt x="3022" y="4852"/>
                  </a:lnTo>
                  <a:cubicBezTo>
                    <a:pt x="2976" y="4936"/>
                    <a:pt x="2937" y="5023"/>
                    <a:pt x="2903" y="5112"/>
                  </a:cubicBezTo>
                  <a:lnTo>
                    <a:pt x="2743" y="5104"/>
                  </a:lnTo>
                  <a:cubicBezTo>
                    <a:pt x="2644" y="5100"/>
                    <a:pt x="2549" y="5135"/>
                    <a:pt x="2475" y="5202"/>
                  </a:cubicBezTo>
                  <a:cubicBezTo>
                    <a:pt x="2401" y="5269"/>
                    <a:pt x="2358" y="5361"/>
                    <a:pt x="2354" y="5460"/>
                  </a:cubicBezTo>
                  <a:close/>
                  <a:moveTo>
                    <a:pt x="3622" y="3271"/>
                  </a:moveTo>
                  <a:cubicBezTo>
                    <a:pt x="3622" y="3419"/>
                    <a:pt x="3593" y="3563"/>
                    <a:pt x="3535" y="3697"/>
                  </a:cubicBezTo>
                  <a:cubicBezTo>
                    <a:pt x="3495" y="3714"/>
                    <a:pt x="3458" y="3737"/>
                    <a:pt x="3425" y="3766"/>
                  </a:cubicBezTo>
                  <a:lnTo>
                    <a:pt x="2940" y="4210"/>
                  </a:lnTo>
                  <a:cubicBezTo>
                    <a:pt x="2909" y="4238"/>
                    <a:pt x="2884" y="4270"/>
                    <a:pt x="2865" y="4305"/>
                  </a:cubicBezTo>
                  <a:cubicBezTo>
                    <a:pt x="2759" y="4339"/>
                    <a:pt x="2649" y="4356"/>
                    <a:pt x="2537" y="4356"/>
                  </a:cubicBezTo>
                  <a:cubicBezTo>
                    <a:pt x="1939" y="4356"/>
                    <a:pt x="1452" y="3869"/>
                    <a:pt x="1452" y="3271"/>
                  </a:cubicBezTo>
                  <a:cubicBezTo>
                    <a:pt x="1452" y="2672"/>
                    <a:pt x="1939" y="2186"/>
                    <a:pt x="2537" y="2186"/>
                  </a:cubicBezTo>
                  <a:cubicBezTo>
                    <a:pt x="3136" y="2186"/>
                    <a:pt x="3622" y="2672"/>
                    <a:pt x="3622" y="3271"/>
                  </a:cubicBezTo>
                  <a:close/>
                  <a:moveTo>
                    <a:pt x="7177" y="5558"/>
                  </a:moveTo>
                  <a:cubicBezTo>
                    <a:pt x="7243" y="5561"/>
                    <a:pt x="7296" y="5619"/>
                    <a:pt x="7293" y="5684"/>
                  </a:cubicBezTo>
                  <a:lnTo>
                    <a:pt x="7263" y="6341"/>
                  </a:lnTo>
                  <a:cubicBezTo>
                    <a:pt x="7261" y="6373"/>
                    <a:pt x="7247" y="6403"/>
                    <a:pt x="7223" y="6425"/>
                  </a:cubicBezTo>
                  <a:cubicBezTo>
                    <a:pt x="7199" y="6447"/>
                    <a:pt x="7168" y="6458"/>
                    <a:pt x="7136" y="6457"/>
                  </a:cubicBezTo>
                  <a:lnTo>
                    <a:pt x="6869" y="6445"/>
                  </a:lnTo>
                  <a:cubicBezTo>
                    <a:pt x="6813" y="6442"/>
                    <a:pt x="6763" y="6476"/>
                    <a:pt x="6744" y="6528"/>
                  </a:cubicBezTo>
                  <a:cubicBezTo>
                    <a:pt x="6699" y="6655"/>
                    <a:pt x="6640" y="6778"/>
                    <a:pt x="6569" y="6894"/>
                  </a:cubicBezTo>
                  <a:cubicBezTo>
                    <a:pt x="6539" y="6942"/>
                    <a:pt x="6545" y="7003"/>
                    <a:pt x="6583" y="7045"/>
                  </a:cubicBezTo>
                  <a:lnTo>
                    <a:pt x="6766" y="7245"/>
                  </a:lnTo>
                  <a:cubicBezTo>
                    <a:pt x="6788" y="7269"/>
                    <a:pt x="6799" y="7301"/>
                    <a:pt x="6798" y="7333"/>
                  </a:cubicBezTo>
                  <a:cubicBezTo>
                    <a:pt x="6796" y="7366"/>
                    <a:pt x="6783" y="7396"/>
                    <a:pt x="6759" y="7417"/>
                  </a:cubicBezTo>
                  <a:lnTo>
                    <a:pt x="6273" y="7861"/>
                  </a:lnTo>
                  <a:cubicBezTo>
                    <a:pt x="6250" y="7882"/>
                    <a:pt x="6218" y="7893"/>
                    <a:pt x="6186" y="7892"/>
                  </a:cubicBezTo>
                  <a:cubicBezTo>
                    <a:pt x="6153" y="7890"/>
                    <a:pt x="6124" y="7877"/>
                    <a:pt x="6102" y="7853"/>
                  </a:cubicBezTo>
                  <a:lnTo>
                    <a:pt x="5911" y="7644"/>
                  </a:lnTo>
                  <a:cubicBezTo>
                    <a:pt x="5874" y="7603"/>
                    <a:pt x="5814" y="7591"/>
                    <a:pt x="5764" y="7615"/>
                  </a:cubicBezTo>
                  <a:cubicBezTo>
                    <a:pt x="5645" y="7672"/>
                    <a:pt x="5519" y="7717"/>
                    <a:pt x="5392" y="7748"/>
                  </a:cubicBezTo>
                  <a:cubicBezTo>
                    <a:pt x="5337" y="7761"/>
                    <a:pt x="5298" y="7808"/>
                    <a:pt x="5296" y="7864"/>
                  </a:cubicBezTo>
                  <a:lnTo>
                    <a:pt x="5283" y="8149"/>
                  </a:lnTo>
                  <a:cubicBezTo>
                    <a:pt x="5281" y="8181"/>
                    <a:pt x="5267" y="8211"/>
                    <a:pt x="5243" y="8233"/>
                  </a:cubicBezTo>
                  <a:cubicBezTo>
                    <a:pt x="5219" y="8255"/>
                    <a:pt x="5188" y="8267"/>
                    <a:pt x="5156" y="8265"/>
                  </a:cubicBezTo>
                  <a:lnTo>
                    <a:pt x="4499" y="8235"/>
                  </a:lnTo>
                  <a:cubicBezTo>
                    <a:pt x="4433" y="8232"/>
                    <a:pt x="4381" y="8174"/>
                    <a:pt x="4383" y="8108"/>
                  </a:cubicBezTo>
                  <a:lnTo>
                    <a:pt x="4396" y="7824"/>
                  </a:lnTo>
                  <a:cubicBezTo>
                    <a:pt x="4399" y="7768"/>
                    <a:pt x="4364" y="7717"/>
                    <a:pt x="4312" y="7699"/>
                  </a:cubicBezTo>
                  <a:cubicBezTo>
                    <a:pt x="4184" y="7655"/>
                    <a:pt x="4064" y="7599"/>
                    <a:pt x="3953" y="7533"/>
                  </a:cubicBezTo>
                  <a:cubicBezTo>
                    <a:pt x="3905" y="7504"/>
                    <a:pt x="3844" y="7510"/>
                    <a:pt x="3803" y="7548"/>
                  </a:cubicBezTo>
                  <a:lnTo>
                    <a:pt x="3595" y="7739"/>
                  </a:lnTo>
                  <a:cubicBezTo>
                    <a:pt x="3545" y="7784"/>
                    <a:pt x="3468" y="7780"/>
                    <a:pt x="3423" y="7731"/>
                  </a:cubicBezTo>
                  <a:lnTo>
                    <a:pt x="2980" y="7246"/>
                  </a:lnTo>
                  <a:cubicBezTo>
                    <a:pt x="2958" y="7222"/>
                    <a:pt x="2947" y="7191"/>
                    <a:pt x="2948" y="7158"/>
                  </a:cubicBezTo>
                  <a:cubicBezTo>
                    <a:pt x="2950" y="7126"/>
                    <a:pt x="2964" y="7096"/>
                    <a:pt x="2987" y="7074"/>
                  </a:cubicBezTo>
                  <a:lnTo>
                    <a:pt x="3189" y="6891"/>
                  </a:lnTo>
                  <a:cubicBezTo>
                    <a:pt x="3230" y="6853"/>
                    <a:pt x="3241" y="6792"/>
                    <a:pt x="3216" y="6742"/>
                  </a:cubicBezTo>
                  <a:cubicBezTo>
                    <a:pt x="3156" y="6621"/>
                    <a:pt x="3108" y="6493"/>
                    <a:pt x="3075" y="6361"/>
                  </a:cubicBezTo>
                  <a:cubicBezTo>
                    <a:pt x="3061" y="6308"/>
                    <a:pt x="3014" y="6270"/>
                    <a:pt x="2959" y="6267"/>
                  </a:cubicBezTo>
                  <a:lnTo>
                    <a:pt x="2691" y="6255"/>
                  </a:lnTo>
                  <a:cubicBezTo>
                    <a:pt x="2659" y="6254"/>
                    <a:pt x="2629" y="6240"/>
                    <a:pt x="2607" y="6215"/>
                  </a:cubicBezTo>
                  <a:cubicBezTo>
                    <a:pt x="2585" y="6191"/>
                    <a:pt x="2574" y="6160"/>
                    <a:pt x="2575" y="6128"/>
                  </a:cubicBezTo>
                  <a:lnTo>
                    <a:pt x="2605" y="5472"/>
                  </a:lnTo>
                  <a:cubicBezTo>
                    <a:pt x="2607" y="5439"/>
                    <a:pt x="2621" y="5409"/>
                    <a:pt x="2645" y="5387"/>
                  </a:cubicBezTo>
                  <a:cubicBezTo>
                    <a:pt x="2669" y="5365"/>
                    <a:pt x="2700" y="5354"/>
                    <a:pt x="2732" y="5355"/>
                  </a:cubicBezTo>
                  <a:lnTo>
                    <a:pt x="2985" y="5367"/>
                  </a:lnTo>
                  <a:cubicBezTo>
                    <a:pt x="3041" y="5370"/>
                    <a:pt x="3093" y="5334"/>
                    <a:pt x="3110" y="5281"/>
                  </a:cubicBezTo>
                  <a:cubicBezTo>
                    <a:pt x="3154" y="5148"/>
                    <a:pt x="3212" y="5020"/>
                    <a:pt x="3284" y="4899"/>
                  </a:cubicBezTo>
                  <a:cubicBezTo>
                    <a:pt x="3312" y="4852"/>
                    <a:pt x="3306" y="4791"/>
                    <a:pt x="3269" y="4750"/>
                  </a:cubicBezTo>
                  <a:lnTo>
                    <a:pt x="3102" y="4567"/>
                  </a:lnTo>
                  <a:cubicBezTo>
                    <a:pt x="3080" y="4543"/>
                    <a:pt x="3069" y="4512"/>
                    <a:pt x="3070" y="4479"/>
                  </a:cubicBezTo>
                  <a:cubicBezTo>
                    <a:pt x="3072" y="4447"/>
                    <a:pt x="3086" y="4417"/>
                    <a:pt x="3109" y="4395"/>
                  </a:cubicBezTo>
                  <a:lnTo>
                    <a:pt x="3595" y="3952"/>
                  </a:lnTo>
                  <a:cubicBezTo>
                    <a:pt x="3619" y="3930"/>
                    <a:pt x="3650" y="3919"/>
                    <a:pt x="3682" y="3921"/>
                  </a:cubicBezTo>
                  <a:cubicBezTo>
                    <a:pt x="3715" y="3922"/>
                    <a:pt x="3745" y="3936"/>
                    <a:pt x="3766" y="3960"/>
                  </a:cubicBezTo>
                  <a:lnTo>
                    <a:pt x="3926" y="4135"/>
                  </a:lnTo>
                  <a:cubicBezTo>
                    <a:pt x="3964" y="4177"/>
                    <a:pt x="4025" y="4188"/>
                    <a:pt x="4076" y="4163"/>
                  </a:cubicBezTo>
                  <a:cubicBezTo>
                    <a:pt x="4202" y="4100"/>
                    <a:pt x="4338" y="4050"/>
                    <a:pt x="4479" y="4015"/>
                  </a:cubicBezTo>
                  <a:cubicBezTo>
                    <a:pt x="4533" y="4002"/>
                    <a:pt x="4572" y="3954"/>
                    <a:pt x="4575" y="3899"/>
                  </a:cubicBezTo>
                  <a:lnTo>
                    <a:pt x="4585" y="3664"/>
                  </a:lnTo>
                  <a:cubicBezTo>
                    <a:pt x="4586" y="3648"/>
                    <a:pt x="4590" y="3633"/>
                    <a:pt x="4597" y="3619"/>
                  </a:cubicBezTo>
                  <a:cubicBezTo>
                    <a:pt x="4998" y="4080"/>
                    <a:pt x="5589" y="4372"/>
                    <a:pt x="6247" y="4372"/>
                  </a:cubicBezTo>
                  <a:cubicBezTo>
                    <a:pt x="6383" y="4372"/>
                    <a:pt x="6517" y="4360"/>
                    <a:pt x="6646" y="4336"/>
                  </a:cubicBezTo>
                  <a:cubicBezTo>
                    <a:pt x="6655" y="4334"/>
                    <a:pt x="6664" y="4333"/>
                    <a:pt x="6673" y="4331"/>
                  </a:cubicBezTo>
                  <a:lnTo>
                    <a:pt x="6888" y="4567"/>
                  </a:lnTo>
                  <a:cubicBezTo>
                    <a:pt x="6933" y="4616"/>
                    <a:pt x="6930" y="4694"/>
                    <a:pt x="6880" y="4739"/>
                  </a:cubicBezTo>
                  <a:lnTo>
                    <a:pt x="6697" y="4906"/>
                  </a:lnTo>
                  <a:cubicBezTo>
                    <a:pt x="6656" y="4943"/>
                    <a:pt x="6645" y="5003"/>
                    <a:pt x="6669" y="5053"/>
                  </a:cubicBezTo>
                  <a:cubicBezTo>
                    <a:pt x="6729" y="5178"/>
                    <a:pt x="6775" y="5311"/>
                    <a:pt x="6807" y="5449"/>
                  </a:cubicBezTo>
                  <a:cubicBezTo>
                    <a:pt x="6820" y="5504"/>
                    <a:pt x="6867" y="5544"/>
                    <a:pt x="6924" y="5547"/>
                  </a:cubicBezTo>
                  <a:lnTo>
                    <a:pt x="7177" y="5558"/>
                  </a:lnTo>
                  <a:close/>
                  <a:moveTo>
                    <a:pt x="7177" y="555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83">
              <a:extLst>
                <a:ext uri="{FF2B5EF4-FFF2-40B4-BE49-F238E27FC236}">
                  <a16:creationId xmlns:a16="http://schemas.microsoft.com/office/drawing/2014/main" id="{51C3F9DC-6856-4240-80BB-7C3D4D9B0B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4" y="3538"/>
              <a:ext cx="50" cy="50"/>
            </a:xfrm>
            <a:custGeom>
              <a:avLst/>
              <a:gdLst>
                <a:gd name="T0" fmla="*/ 287 w 1507"/>
                <a:gd name="T1" fmla="*/ 174 h 1506"/>
                <a:gd name="T2" fmla="*/ 281 w 1507"/>
                <a:gd name="T3" fmla="*/ 179 h 1506"/>
                <a:gd name="T4" fmla="*/ 273 w 1507"/>
                <a:gd name="T5" fmla="*/ 186 h 1506"/>
                <a:gd name="T6" fmla="*/ 253 w 1507"/>
                <a:gd name="T7" fmla="*/ 204 h 1506"/>
                <a:gd name="T8" fmla="*/ 226 w 1507"/>
                <a:gd name="T9" fmla="*/ 230 h 1506"/>
                <a:gd name="T10" fmla="*/ 218 w 1507"/>
                <a:gd name="T11" fmla="*/ 237 h 1506"/>
                <a:gd name="T12" fmla="*/ 200 w 1507"/>
                <a:gd name="T13" fmla="*/ 257 h 1506"/>
                <a:gd name="T14" fmla="*/ 179 w 1507"/>
                <a:gd name="T15" fmla="*/ 281 h 1506"/>
                <a:gd name="T16" fmla="*/ 176 w 1507"/>
                <a:gd name="T17" fmla="*/ 285 h 1506"/>
                <a:gd name="T18" fmla="*/ 156 w 1507"/>
                <a:gd name="T19" fmla="*/ 311 h 1506"/>
                <a:gd name="T20" fmla="*/ 154 w 1507"/>
                <a:gd name="T21" fmla="*/ 314 h 1506"/>
                <a:gd name="T22" fmla="*/ 137 w 1507"/>
                <a:gd name="T23" fmla="*/ 337 h 1506"/>
                <a:gd name="T24" fmla="*/ 133 w 1507"/>
                <a:gd name="T25" fmla="*/ 344 h 1506"/>
                <a:gd name="T26" fmla="*/ 118 w 1507"/>
                <a:gd name="T27" fmla="*/ 366 h 1506"/>
                <a:gd name="T28" fmla="*/ 113 w 1507"/>
                <a:gd name="T29" fmla="*/ 375 h 1506"/>
                <a:gd name="T30" fmla="*/ 42 w 1507"/>
                <a:gd name="T31" fmla="*/ 535 h 1506"/>
                <a:gd name="T32" fmla="*/ 40 w 1507"/>
                <a:gd name="T33" fmla="*/ 541 h 1506"/>
                <a:gd name="T34" fmla="*/ 16 w 1507"/>
                <a:gd name="T35" fmla="*/ 648 h 1506"/>
                <a:gd name="T36" fmla="*/ 16 w 1507"/>
                <a:gd name="T37" fmla="*/ 649 h 1506"/>
                <a:gd name="T38" fmla="*/ 14 w 1507"/>
                <a:gd name="T39" fmla="*/ 665 h 1506"/>
                <a:gd name="T40" fmla="*/ 9 w 1507"/>
                <a:gd name="T41" fmla="*/ 723 h 1506"/>
                <a:gd name="T42" fmla="*/ 204 w 1507"/>
                <a:gd name="T43" fmla="*/ 1262 h 1506"/>
                <a:gd name="T44" fmla="*/ 759 w 1507"/>
                <a:gd name="T45" fmla="*/ 1506 h 1506"/>
                <a:gd name="T46" fmla="*/ 1263 w 1507"/>
                <a:gd name="T47" fmla="*/ 1311 h 1506"/>
                <a:gd name="T48" fmla="*/ 1291 w 1507"/>
                <a:gd name="T49" fmla="*/ 1284 h 1506"/>
                <a:gd name="T50" fmla="*/ 1507 w 1507"/>
                <a:gd name="T51" fmla="*/ 755 h 1506"/>
                <a:gd name="T52" fmla="*/ 1402 w 1507"/>
                <a:gd name="T53" fmla="*/ 374 h 1506"/>
                <a:gd name="T54" fmla="*/ 1311 w 1507"/>
                <a:gd name="T55" fmla="*/ 252 h 1506"/>
                <a:gd name="T56" fmla="*/ 792 w 1507"/>
                <a:gd name="T57" fmla="*/ 9 h 1506"/>
                <a:gd name="T58" fmla="*/ 287 w 1507"/>
                <a:gd name="T59" fmla="*/ 174 h 1506"/>
                <a:gd name="T60" fmla="*/ 1126 w 1507"/>
                <a:gd name="T61" fmla="*/ 421 h 1506"/>
                <a:gd name="T62" fmla="*/ 1094 w 1507"/>
                <a:gd name="T63" fmla="*/ 1125 h 1506"/>
                <a:gd name="T64" fmla="*/ 390 w 1507"/>
                <a:gd name="T65" fmla="*/ 1093 h 1506"/>
                <a:gd name="T66" fmla="*/ 261 w 1507"/>
                <a:gd name="T67" fmla="*/ 784 h 1506"/>
                <a:gd name="T68" fmla="*/ 260 w 1507"/>
                <a:gd name="T69" fmla="*/ 735 h 1506"/>
                <a:gd name="T70" fmla="*/ 422 w 1507"/>
                <a:gd name="T71" fmla="*/ 390 h 1506"/>
                <a:gd name="T72" fmla="*/ 422 w 1507"/>
                <a:gd name="T73" fmla="*/ 390 h 1506"/>
                <a:gd name="T74" fmla="*/ 758 w 1507"/>
                <a:gd name="T75" fmla="*/ 259 h 1506"/>
                <a:gd name="T76" fmla="*/ 781 w 1507"/>
                <a:gd name="T77" fmla="*/ 260 h 1506"/>
                <a:gd name="T78" fmla="*/ 1126 w 1507"/>
                <a:gd name="T79" fmla="*/ 421 h 1506"/>
                <a:gd name="T80" fmla="*/ 1126 w 1507"/>
                <a:gd name="T81" fmla="*/ 421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7" h="1506">
                  <a:moveTo>
                    <a:pt x="287" y="174"/>
                  </a:moveTo>
                  <a:cubicBezTo>
                    <a:pt x="285" y="176"/>
                    <a:pt x="283" y="178"/>
                    <a:pt x="281" y="179"/>
                  </a:cubicBezTo>
                  <a:cubicBezTo>
                    <a:pt x="278" y="182"/>
                    <a:pt x="276" y="184"/>
                    <a:pt x="273" y="186"/>
                  </a:cubicBezTo>
                  <a:cubicBezTo>
                    <a:pt x="266" y="192"/>
                    <a:pt x="260" y="198"/>
                    <a:pt x="253" y="204"/>
                  </a:cubicBezTo>
                  <a:cubicBezTo>
                    <a:pt x="244" y="212"/>
                    <a:pt x="235" y="221"/>
                    <a:pt x="226" y="230"/>
                  </a:cubicBezTo>
                  <a:cubicBezTo>
                    <a:pt x="223" y="232"/>
                    <a:pt x="221" y="235"/>
                    <a:pt x="218" y="237"/>
                  </a:cubicBezTo>
                  <a:cubicBezTo>
                    <a:pt x="212" y="244"/>
                    <a:pt x="206" y="250"/>
                    <a:pt x="200" y="257"/>
                  </a:cubicBezTo>
                  <a:cubicBezTo>
                    <a:pt x="193" y="265"/>
                    <a:pt x="186" y="273"/>
                    <a:pt x="179" y="281"/>
                  </a:cubicBezTo>
                  <a:cubicBezTo>
                    <a:pt x="178" y="282"/>
                    <a:pt x="177" y="283"/>
                    <a:pt x="176" y="285"/>
                  </a:cubicBezTo>
                  <a:cubicBezTo>
                    <a:pt x="169" y="293"/>
                    <a:pt x="162" y="302"/>
                    <a:pt x="156" y="311"/>
                  </a:cubicBezTo>
                  <a:cubicBezTo>
                    <a:pt x="155" y="312"/>
                    <a:pt x="154" y="313"/>
                    <a:pt x="154" y="314"/>
                  </a:cubicBezTo>
                  <a:cubicBezTo>
                    <a:pt x="148" y="322"/>
                    <a:pt x="143" y="329"/>
                    <a:pt x="137" y="337"/>
                  </a:cubicBezTo>
                  <a:cubicBezTo>
                    <a:pt x="136" y="339"/>
                    <a:pt x="134" y="342"/>
                    <a:pt x="133" y="344"/>
                  </a:cubicBezTo>
                  <a:cubicBezTo>
                    <a:pt x="128" y="351"/>
                    <a:pt x="123" y="359"/>
                    <a:pt x="118" y="366"/>
                  </a:cubicBezTo>
                  <a:cubicBezTo>
                    <a:pt x="117" y="369"/>
                    <a:pt x="115" y="372"/>
                    <a:pt x="113" y="375"/>
                  </a:cubicBezTo>
                  <a:cubicBezTo>
                    <a:pt x="83" y="425"/>
                    <a:pt x="59" y="479"/>
                    <a:pt x="42" y="535"/>
                  </a:cubicBezTo>
                  <a:cubicBezTo>
                    <a:pt x="41" y="537"/>
                    <a:pt x="41" y="539"/>
                    <a:pt x="40" y="541"/>
                  </a:cubicBezTo>
                  <a:cubicBezTo>
                    <a:pt x="30" y="576"/>
                    <a:pt x="22" y="612"/>
                    <a:pt x="16" y="648"/>
                  </a:cubicBezTo>
                  <a:cubicBezTo>
                    <a:pt x="16" y="648"/>
                    <a:pt x="16" y="649"/>
                    <a:pt x="16" y="649"/>
                  </a:cubicBezTo>
                  <a:cubicBezTo>
                    <a:pt x="15" y="654"/>
                    <a:pt x="15" y="660"/>
                    <a:pt x="14" y="665"/>
                  </a:cubicBezTo>
                  <a:cubicBezTo>
                    <a:pt x="12" y="684"/>
                    <a:pt x="10" y="704"/>
                    <a:pt x="9" y="723"/>
                  </a:cubicBezTo>
                  <a:cubicBezTo>
                    <a:pt x="0" y="923"/>
                    <a:pt x="69" y="1115"/>
                    <a:pt x="204" y="1262"/>
                  </a:cubicBezTo>
                  <a:cubicBezTo>
                    <a:pt x="352" y="1424"/>
                    <a:pt x="555" y="1506"/>
                    <a:pt x="759" y="1506"/>
                  </a:cubicBezTo>
                  <a:cubicBezTo>
                    <a:pt x="939" y="1506"/>
                    <a:pt x="1120" y="1442"/>
                    <a:pt x="1263" y="1311"/>
                  </a:cubicBezTo>
                  <a:cubicBezTo>
                    <a:pt x="1273" y="1302"/>
                    <a:pt x="1282" y="1293"/>
                    <a:pt x="1291" y="1284"/>
                  </a:cubicBezTo>
                  <a:cubicBezTo>
                    <a:pt x="1435" y="1139"/>
                    <a:pt x="1507" y="947"/>
                    <a:pt x="1507" y="755"/>
                  </a:cubicBezTo>
                  <a:cubicBezTo>
                    <a:pt x="1507" y="623"/>
                    <a:pt x="1472" y="491"/>
                    <a:pt x="1402" y="374"/>
                  </a:cubicBezTo>
                  <a:cubicBezTo>
                    <a:pt x="1376" y="331"/>
                    <a:pt x="1346" y="290"/>
                    <a:pt x="1311" y="252"/>
                  </a:cubicBezTo>
                  <a:cubicBezTo>
                    <a:pt x="1176" y="104"/>
                    <a:pt x="992" y="18"/>
                    <a:pt x="792" y="9"/>
                  </a:cubicBezTo>
                  <a:cubicBezTo>
                    <a:pt x="607" y="0"/>
                    <a:pt x="430" y="59"/>
                    <a:pt x="287" y="174"/>
                  </a:cubicBezTo>
                  <a:close/>
                  <a:moveTo>
                    <a:pt x="1126" y="421"/>
                  </a:moveTo>
                  <a:cubicBezTo>
                    <a:pt x="1311" y="624"/>
                    <a:pt x="1297" y="940"/>
                    <a:pt x="1094" y="1125"/>
                  </a:cubicBezTo>
                  <a:cubicBezTo>
                    <a:pt x="891" y="1310"/>
                    <a:pt x="575" y="1296"/>
                    <a:pt x="390" y="1093"/>
                  </a:cubicBezTo>
                  <a:cubicBezTo>
                    <a:pt x="312" y="1007"/>
                    <a:pt x="267" y="899"/>
                    <a:pt x="261" y="784"/>
                  </a:cubicBezTo>
                  <a:cubicBezTo>
                    <a:pt x="260" y="768"/>
                    <a:pt x="260" y="751"/>
                    <a:pt x="260" y="735"/>
                  </a:cubicBezTo>
                  <a:cubicBezTo>
                    <a:pt x="266" y="602"/>
                    <a:pt x="324" y="479"/>
                    <a:pt x="422" y="390"/>
                  </a:cubicBezTo>
                  <a:cubicBezTo>
                    <a:pt x="422" y="390"/>
                    <a:pt x="422" y="390"/>
                    <a:pt x="422" y="390"/>
                  </a:cubicBezTo>
                  <a:cubicBezTo>
                    <a:pt x="515" y="305"/>
                    <a:pt x="633" y="259"/>
                    <a:pt x="758" y="259"/>
                  </a:cubicBezTo>
                  <a:cubicBezTo>
                    <a:pt x="765" y="259"/>
                    <a:pt x="773" y="259"/>
                    <a:pt x="781" y="260"/>
                  </a:cubicBezTo>
                  <a:cubicBezTo>
                    <a:pt x="914" y="266"/>
                    <a:pt x="1036" y="323"/>
                    <a:pt x="1126" y="421"/>
                  </a:cubicBezTo>
                  <a:close/>
                  <a:moveTo>
                    <a:pt x="1126" y="42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84">
              <a:extLst>
                <a:ext uri="{FF2B5EF4-FFF2-40B4-BE49-F238E27FC236}">
                  <a16:creationId xmlns:a16="http://schemas.microsoft.com/office/drawing/2014/main" id="{CC90221B-016E-4E90-8835-7DE9102DBC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10" y="3388"/>
              <a:ext cx="105" cy="105"/>
            </a:xfrm>
            <a:custGeom>
              <a:avLst/>
              <a:gdLst>
                <a:gd name="T0" fmla="*/ 1583 w 3166"/>
                <a:gd name="T1" fmla="*/ 0 h 3166"/>
                <a:gd name="T2" fmla="*/ 0 w 3166"/>
                <a:gd name="T3" fmla="*/ 1583 h 3166"/>
                <a:gd name="T4" fmla="*/ 1583 w 3166"/>
                <a:gd name="T5" fmla="*/ 3166 h 3166"/>
                <a:gd name="T6" fmla="*/ 3166 w 3166"/>
                <a:gd name="T7" fmla="*/ 1583 h 3166"/>
                <a:gd name="T8" fmla="*/ 1583 w 3166"/>
                <a:gd name="T9" fmla="*/ 0 h 3166"/>
                <a:gd name="T10" fmla="*/ 2855 w 3166"/>
                <a:gd name="T11" fmla="*/ 1709 h 3166"/>
                <a:gd name="T12" fmla="*/ 2908 w 3166"/>
                <a:gd name="T13" fmla="*/ 1709 h 3166"/>
                <a:gd name="T14" fmla="*/ 1709 w 3166"/>
                <a:gd name="T15" fmla="*/ 2909 h 3166"/>
                <a:gd name="T16" fmla="*/ 1709 w 3166"/>
                <a:gd name="T17" fmla="*/ 2855 h 3166"/>
                <a:gd name="T18" fmla="*/ 1583 w 3166"/>
                <a:gd name="T19" fmla="*/ 2729 h 3166"/>
                <a:gd name="T20" fmla="*/ 1457 w 3166"/>
                <a:gd name="T21" fmla="*/ 2855 h 3166"/>
                <a:gd name="T22" fmla="*/ 1457 w 3166"/>
                <a:gd name="T23" fmla="*/ 2909 h 3166"/>
                <a:gd name="T24" fmla="*/ 258 w 3166"/>
                <a:gd name="T25" fmla="*/ 1709 h 3166"/>
                <a:gd name="T26" fmla="*/ 311 w 3166"/>
                <a:gd name="T27" fmla="*/ 1709 h 3166"/>
                <a:gd name="T28" fmla="*/ 437 w 3166"/>
                <a:gd name="T29" fmla="*/ 1583 h 3166"/>
                <a:gd name="T30" fmla="*/ 311 w 3166"/>
                <a:gd name="T31" fmla="*/ 1458 h 3166"/>
                <a:gd name="T32" fmla="*/ 258 w 3166"/>
                <a:gd name="T33" fmla="*/ 1458 h 3166"/>
                <a:gd name="T34" fmla="*/ 1457 w 3166"/>
                <a:gd name="T35" fmla="*/ 258 h 3166"/>
                <a:gd name="T36" fmla="*/ 1457 w 3166"/>
                <a:gd name="T37" fmla="*/ 312 h 3166"/>
                <a:gd name="T38" fmla="*/ 1583 w 3166"/>
                <a:gd name="T39" fmla="*/ 437 h 3166"/>
                <a:gd name="T40" fmla="*/ 1709 w 3166"/>
                <a:gd name="T41" fmla="*/ 312 h 3166"/>
                <a:gd name="T42" fmla="*/ 1709 w 3166"/>
                <a:gd name="T43" fmla="*/ 258 h 3166"/>
                <a:gd name="T44" fmla="*/ 2908 w 3166"/>
                <a:gd name="T45" fmla="*/ 1458 h 3166"/>
                <a:gd name="T46" fmla="*/ 2855 w 3166"/>
                <a:gd name="T47" fmla="*/ 1458 h 3166"/>
                <a:gd name="T48" fmla="*/ 2729 w 3166"/>
                <a:gd name="T49" fmla="*/ 1583 h 3166"/>
                <a:gd name="T50" fmla="*/ 2855 w 3166"/>
                <a:gd name="T51" fmla="*/ 1709 h 3166"/>
                <a:gd name="T52" fmla="*/ 2855 w 3166"/>
                <a:gd name="T53" fmla="*/ 1709 h 3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66" h="3166">
                  <a:moveTo>
                    <a:pt x="1583" y="0"/>
                  </a:moveTo>
                  <a:cubicBezTo>
                    <a:pt x="710" y="0"/>
                    <a:pt x="0" y="711"/>
                    <a:pt x="0" y="1583"/>
                  </a:cubicBezTo>
                  <a:cubicBezTo>
                    <a:pt x="0" y="2456"/>
                    <a:pt x="710" y="3166"/>
                    <a:pt x="1583" y="3166"/>
                  </a:cubicBezTo>
                  <a:cubicBezTo>
                    <a:pt x="2456" y="3166"/>
                    <a:pt x="3166" y="2456"/>
                    <a:pt x="3166" y="1583"/>
                  </a:cubicBezTo>
                  <a:cubicBezTo>
                    <a:pt x="3166" y="711"/>
                    <a:pt x="2456" y="0"/>
                    <a:pt x="1583" y="0"/>
                  </a:cubicBezTo>
                  <a:close/>
                  <a:moveTo>
                    <a:pt x="2855" y="1709"/>
                  </a:moveTo>
                  <a:lnTo>
                    <a:pt x="2908" y="1709"/>
                  </a:lnTo>
                  <a:cubicBezTo>
                    <a:pt x="2848" y="2343"/>
                    <a:pt x="2343" y="2849"/>
                    <a:pt x="1709" y="2909"/>
                  </a:cubicBezTo>
                  <a:lnTo>
                    <a:pt x="1709" y="2855"/>
                  </a:lnTo>
                  <a:cubicBezTo>
                    <a:pt x="1709" y="2786"/>
                    <a:pt x="1652" y="2729"/>
                    <a:pt x="1583" y="2729"/>
                  </a:cubicBezTo>
                  <a:cubicBezTo>
                    <a:pt x="1513" y="2729"/>
                    <a:pt x="1457" y="2786"/>
                    <a:pt x="1457" y="2855"/>
                  </a:cubicBezTo>
                  <a:lnTo>
                    <a:pt x="1457" y="2909"/>
                  </a:lnTo>
                  <a:cubicBezTo>
                    <a:pt x="823" y="2849"/>
                    <a:pt x="317" y="2343"/>
                    <a:pt x="258" y="1709"/>
                  </a:cubicBezTo>
                  <a:lnTo>
                    <a:pt x="311" y="1709"/>
                  </a:lnTo>
                  <a:cubicBezTo>
                    <a:pt x="381" y="1709"/>
                    <a:pt x="437" y="1653"/>
                    <a:pt x="437" y="1583"/>
                  </a:cubicBezTo>
                  <a:cubicBezTo>
                    <a:pt x="437" y="1514"/>
                    <a:pt x="381" y="1458"/>
                    <a:pt x="311" y="1458"/>
                  </a:cubicBezTo>
                  <a:lnTo>
                    <a:pt x="258" y="1458"/>
                  </a:lnTo>
                  <a:cubicBezTo>
                    <a:pt x="317" y="824"/>
                    <a:pt x="823" y="317"/>
                    <a:pt x="1457" y="258"/>
                  </a:cubicBezTo>
                  <a:lnTo>
                    <a:pt x="1457" y="312"/>
                  </a:lnTo>
                  <a:cubicBezTo>
                    <a:pt x="1457" y="381"/>
                    <a:pt x="1513" y="437"/>
                    <a:pt x="1583" y="437"/>
                  </a:cubicBezTo>
                  <a:cubicBezTo>
                    <a:pt x="1652" y="437"/>
                    <a:pt x="1709" y="381"/>
                    <a:pt x="1709" y="312"/>
                  </a:cubicBezTo>
                  <a:lnTo>
                    <a:pt x="1709" y="258"/>
                  </a:lnTo>
                  <a:cubicBezTo>
                    <a:pt x="2343" y="317"/>
                    <a:pt x="2848" y="824"/>
                    <a:pt x="2908" y="1458"/>
                  </a:cubicBezTo>
                  <a:lnTo>
                    <a:pt x="2855" y="1458"/>
                  </a:lnTo>
                  <a:cubicBezTo>
                    <a:pt x="2785" y="1458"/>
                    <a:pt x="2729" y="1514"/>
                    <a:pt x="2729" y="1583"/>
                  </a:cubicBezTo>
                  <a:cubicBezTo>
                    <a:pt x="2729" y="1653"/>
                    <a:pt x="2785" y="1709"/>
                    <a:pt x="2855" y="1709"/>
                  </a:cubicBezTo>
                  <a:close/>
                  <a:moveTo>
                    <a:pt x="2855" y="170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85">
              <a:extLst>
                <a:ext uri="{FF2B5EF4-FFF2-40B4-BE49-F238E27FC236}">
                  <a16:creationId xmlns:a16="http://schemas.microsoft.com/office/drawing/2014/main" id="{4D327A83-36A7-4F86-8AA6-3F57BADFD0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4" y="3416"/>
              <a:ext cx="23" cy="36"/>
            </a:xfrm>
            <a:custGeom>
              <a:avLst/>
              <a:gdLst>
                <a:gd name="T0" fmla="*/ 543 w 669"/>
                <a:gd name="T1" fmla="*/ 0 h 1086"/>
                <a:gd name="T2" fmla="*/ 417 w 669"/>
                <a:gd name="T3" fmla="*/ 125 h 1086"/>
                <a:gd name="T4" fmla="*/ 417 w 669"/>
                <a:gd name="T5" fmla="*/ 834 h 1086"/>
                <a:gd name="T6" fmla="*/ 126 w 669"/>
                <a:gd name="T7" fmla="*/ 834 h 1086"/>
                <a:gd name="T8" fmla="*/ 0 w 669"/>
                <a:gd name="T9" fmla="*/ 960 h 1086"/>
                <a:gd name="T10" fmla="*/ 126 w 669"/>
                <a:gd name="T11" fmla="*/ 1086 h 1086"/>
                <a:gd name="T12" fmla="*/ 543 w 669"/>
                <a:gd name="T13" fmla="*/ 1086 h 1086"/>
                <a:gd name="T14" fmla="*/ 669 w 669"/>
                <a:gd name="T15" fmla="*/ 960 h 1086"/>
                <a:gd name="T16" fmla="*/ 669 w 669"/>
                <a:gd name="T17" fmla="*/ 125 h 1086"/>
                <a:gd name="T18" fmla="*/ 543 w 669"/>
                <a:gd name="T19" fmla="*/ 0 h 1086"/>
                <a:gd name="T20" fmla="*/ 543 w 669"/>
                <a:gd name="T21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9" h="1086">
                  <a:moveTo>
                    <a:pt x="543" y="0"/>
                  </a:moveTo>
                  <a:cubicBezTo>
                    <a:pt x="473" y="0"/>
                    <a:pt x="417" y="56"/>
                    <a:pt x="417" y="125"/>
                  </a:cubicBezTo>
                  <a:lnTo>
                    <a:pt x="417" y="834"/>
                  </a:lnTo>
                  <a:lnTo>
                    <a:pt x="126" y="834"/>
                  </a:lnTo>
                  <a:cubicBezTo>
                    <a:pt x="56" y="834"/>
                    <a:pt x="0" y="891"/>
                    <a:pt x="0" y="960"/>
                  </a:cubicBezTo>
                  <a:cubicBezTo>
                    <a:pt x="0" y="1029"/>
                    <a:pt x="56" y="1086"/>
                    <a:pt x="126" y="1086"/>
                  </a:cubicBezTo>
                  <a:lnTo>
                    <a:pt x="543" y="1086"/>
                  </a:lnTo>
                  <a:cubicBezTo>
                    <a:pt x="612" y="1086"/>
                    <a:pt x="669" y="1029"/>
                    <a:pt x="669" y="960"/>
                  </a:cubicBezTo>
                  <a:lnTo>
                    <a:pt x="669" y="125"/>
                  </a:lnTo>
                  <a:cubicBezTo>
                    <a:pt x="669" y="56"/>
                    <a:pt x="612" y="0"/>
                    <a:pt x="543" y="0"/>
                  </a:cubicBezTo>
                  <a:close/>
                  <a:moveTo>
                    <a:pt x="543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8" name="object 15">
            <a:extLst>
              <a:ext uri="{FF2B5EF4-FFF2-40B4-BE49-F238E27FC236}">
                <a16:creationId xmlns:a16="http://schemas.microsoft.com/office/drawing/2014/main" id="{B593AEAD-BC46-465C-AEF7-38D8E227B36E}"/>
              </a:ext>
            </a:extLst>
          </p:cNvPr>
          <p:cNvSpPr txBox="1"/>
          <p:nvPr/>
        </p:nvSpPr>
        <p:spPr>
          <a:xfrm>
            <a:off x="1271992" y="4728061"/>
            <a:ext cx="4752571" cy="48695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Масъул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шахслар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</a:t>
            </a:r>
          </a:p>
          <a:p>
            <a:pPr marL="10319">
              <a:spcAft>
                <a:spcPts val="600"/>
              </a:spcAft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шкилот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ўз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нла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ол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ўрнатилад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39" name="object 12">
            <a:extLst>
              <a:ext uri="{FF2B5EF4-FFF2-40B4-BE49-F238E27FC236}">
                <a16:creationId xmlns:a16="http://schemas.microsoft.com/office/drawing/2014/main" id="{3CA99867-B184-49D7-AE7F-8B96692A9D6A}"/>
              </a:ext>
            </a:extLst>
          </p:cNvPr>
          <p:cNvSpPr/>
          <p:nvPr/>
        </p:nvSpPr>
        <p:spPr>
          <a:xfrm>
            <a:off x="456832" y="4638119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47" name="Group 248">
            <a:extLst>
              <a:ext uri="{FF2B5EF4-FFF2-40B4-BE49-F238E27FC236}">
                <a16:creationId xmlns:a16="http://schemas.microsoft.com/office/drawing/2014/main" id="{13050C37-AF45-43A6-8B89-FA5D61B869F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6153" y="4728061"/>
            <a:ext cx="584897" cy="530671"/>
            <a:chOff x="1780" y="300"/>
            <a:chExt cx="4088" cy="3709"/>
          </a:xfrm>
          <a:solidFill>
            <a:schemeClr val="bg2">
              <a:lumMod val="25000"/>
            </a:schemeClr>
          </a:solidFill>
        </p:grpSpPr>
        <p:sp>
          <p:nvSpPr>
            <p:cNvPr id="48" name="Freeform 249">
              <a:extLst>
                <a:ext uri="{FF2B5EF4-FFF2-40B4-BE49-F238E27FC236}">
                  <a16:creationId xmlns:a16="http://schemas.microsoft.com/office/drawing/2014/main" id="{DA1C5303-F7C4-43C8-803C-D53954BC87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0" y="300"/>
              <a:ext cx="4088" cy="3709"/>
            </a:xfrm>
            <a:custGeom>
              <a:avLst/>
              <a:gdLst>
                <a:gd name="T0" fmla="*/ 7231 w 8517"/>
                <a:gd name="T1" fmla="*/ 2632 h 7729"/>
                <a:gd name="T2" fmla="*/ 5932 w 8517"/>
                <a:gd name="T3" fmla="*/ 1311 h 7729"/>
                <a:gd name="T4" fmla="*/ 4661 w 8517"/>
                <a:gd name="T5" fmla="*/ 0 h 7729"/>
                <a:gd name="T6" fmla="*/ 2630 w 8517"/>
                <a:gd name="T7" fmla="*/ 1317 h 7729"/>
                <a:gd name="T8" fmla="*/ 941 w 8517"/>
                <a:gd name="T9" fmla="*/ 2243 h 7729"/>
                <a:gd name="T10" fmla="*/ 480 w 8517"/>
                <a:gd name="T11" fmla="*/ 3397 h 7729"/>
                <a:gd name="T12" fmla="*/ 1042 w 8517"/>
                <a:gd name="T13" fmla="*/ 5238 h 7729"/>
                <a:gd name="T14" fmla="*/ 1532 w 8517"/>
                <a:gd name="T15" fmla="*/ 7555 h 7729"/>
                <a:gd name="T16" fmla="*/ 2332 w 8517"/>
                <a:gd name="T17" fmla="*/ 6226 h 7729"/>
                <a:gd name="T18" fmla="*/ 2776 w 8517"/>
                <a:gd name="T19" fmla="*/ 7229 h 7729"/>
                <a:gd name="T20" fmla="*/ 3633 w 8517"/>
                <a:gd name="T21" fmla="*/ 7233 h 7729"/>
                <a:gd name="T22" fmla="*/ 4081 w 8517"/>
                <a:gd name="T23" fmla="*/ 6226 h 7729"/>
                <a:gd name="T24" fmla="*/ 4546 w 8517"/>
                <a:gd name="T25" fmla="*/ 7605 h 7729"/>
                <a:gd name="T26" fmla="*/ 4747 w 8517"/>
                <a:gd name="T27" fmla="*/ 6576 h 7729"/>
                <a:gd name="T28" fmla="*/ 5191 w 8517"/>
                <a:gd name="T29" fmla="*/ 7198 h 7729"/>
                <a:gd name="T30" fmla="*/ 5661 w 8517"/>
                <a:gd name="T31" fmla="*/ 7610 h 7729"/>
                <a:gd name="T32" fmla="*/ 6076 w 8517"/>
                <a:gd name="T33" fmla="*/ 6435 h 7729"/>
                <a:gd name="T34" fmla="*/ 6658 w 8517"/>
                <a:gd name="T35" fmla="*/ 7599 h 7729"/>
                <a:gd name="T36" fmla="*/ 7540 w 8517"/>
                <a:gd name="T37" fmla="*/ 6322 h 7729"/>
                <a:gd name="T38" fmla="*/ 8029 w 8517"/>
                <a:gd name="T39" fmla="*/ 5179 h 7729"/>
                <a:gd name="T40" fmla="*/ 3016 w 8517"/>
                <a:gd name="T41" fmla="*/ 3937 h 7729"/>
                <a:gd name="T42" fmla="*/ 3475 w 8517"/>
                <a:gd name="T43" fmla="*/ 3641 h 7729"/>
                <a:gd name="T44" fmla="*/ 3784 w 8517"/>
                <a:gd name="T45" fmla="*/ 4446 h 7729"/>
                <a:gd name="T46" fmla="*/ 2750 w 8517"/>
                <a:gd name="T47" fmla="*/ 5038 h 7729"/>
                <a:gd name="T48" fmla="*/ 2972 w 8517"/>
                <a:gd name="T49" fmla="*/ 5611 h 7729"/>
                <a:gd name="T50" fmla="*/ 3491 w 8517"/>
                <a:gd name="T51" fmla="*/ 5842 h 7729"/>
                <a:gd name="T52" fmla="*/ 3403 w 8517"/>
                <a:gd name="T53" fmla="*/ 7111 h 7729"/>
                <a:gd name="T54" fmla="*/ 5141 w 8517"/>
                <a:gd name="T55" fmla="*/ 4717 h 7729"/>
                <a:gd name="T56" fmla="*/ 6031 w 8517"/>
                <a:gd name="T57" fmla="*/ 4794 h 7729"/>
                <a:gd name="T58" fmla="*/ 5944 w 8517"/>
                <a:gd name="T59" fmla="*/ 5500 h 7729"/>
                <a:gd name="T60" fmla="*/ 5141 w 8517"/>
                <a:gd name="T61" fmla="*/ 4998 h 7729"/>
                <a:gd name="T62" fmla="*/ 5586 w 8517"/>
                <a:gd name="T63" fmla="*/ 5937 h 7729"/>
                <a:gd name="T64" fmla="*/ 5577 w 8517"/>
                <a:gd name="T65" fmla="*/ 7340 h 7729"/>
                <a:gd name="T66" fmla="*/ 8268 w 8517"/>
                <a:gd name="T67" fmla="*/ 4661 h 7729"/>
                <a:gd name="T68" fmla="*/ 7017 w 8517"/>
                <a:gd name="T69" fmla="*/ 6095 h 7729"/>
                <a:gd name="T70" fmla="*/ 6368 w 8517"/>
                <a:gd name="T71" fmla="*/ 6270 h 7729"/>
                <a:gd name="T72" fmla="*/ 6011 w 8517"/>
                <a:gd name="T73" fmla="*/ 6049 h 7729"/>
                <a:gd name="T74" fmla="*/ 6281 w 8517"/>
                <a:gd name="T75" fmla="*/ 4967 h 7729"/>
                <a:gd name="T76" fmla="*/ 4891 w 8517"/>
                <a:gd name="T77" fmla="*/ 4636 h 7729"/>
                <a:gd name="T78" fmla="*/ 5169 w 8517"/>
                <a:gd name="T79" fmla="*/ 5756 h 7729"/>
                <a:gd name="T80" fmla="*/ 4635 w 8517"/>
                <a:gd name="T81" fmla="*/ 6351 h 7729"/>
                <a:gd name="T82" fmla="*/ 3690 w 8517"/>
                <a:gd name="T83" fmla="*/ 5313 h 7729"/>
                <a:gd name="T84" fmla="*/ 4033 w 8517"/>
                <a:gd name="T85" fmla="*/ 3950 h 7729"/>
                <a:gd name="T86" fmla="*/ 2380 w 8517"/>
                <a:gd name="T87" fmla="*/ 4301 h 7729"/>
                <a:gd name="T88" fmla="*/ 2625 w 8517"/>
                <a:gd name="T89" fmla="*/ 5835 h 7729"/>
                <a:gd name="T90" fmla="*/ 1181 w 8517"/>
                <a:gd name="T91" fmla="*/ 6850 h 7729"/>
                <a:gd name="T92" fmla="*/ 1021 w 8517"/>
                <a:gd name="T93" fmla="*/ 4962 h 7729"/>
                <a:gd name="T94" fmla="*/ 1010 w 8517"/>
                <a:gd name="T95" fmla="*/ 3607 h 7729"/>
                <a:gd name="T96" fmla="*/ 1140 w 8517"/>
                <a:gd name="T97" fmla="*/ 1708 h 7729"/>
                <a:gd name="T98" fmla="*/ 3399 w 8517"/>
                <a:gd name="T99" fmla="*/ 1266 h 7729"/>
                <a:gd name="T100" fmla="*/ 4930 w 8517"/>
                <a:gd name="T101" fmla="*/ 503 h 7729"/>
                <a:gd name="T102" fmla="*/ 6484 w 8517"/>
                <a:gd name="T103" fmla="*/ 1167 h 7729"/>
                <a:gd name="T104" fmla="*/ 7006 w 8517"/>
                <a:gd name="T105" fmla="*/ 2795 h 7729"/>
                <a:gd name="T106" fmla="*/ 8268 w 8517"/>
                <a:gd name="T107" fmla="*/ 4661 h 7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17" h="7729">
                  <a:moveTo>
                    <a:pt x="8037" y="3397"/>
                  </a:moveTo>
                  <a:lnTo>
                    <a:pt x="7526" y="3358"/>
                  </a:lnTo>
                  <a:cubicBezTo>
                    <a:pt x="7509" y="3357"/>
                    <a:pt x="7495" y="3346"/>
                    <a:pt x="7491" y="3330"/>
                  </a:cubicBezTo>
                  <a:cubicBezTo>
                    <a:pt x="7426" y="3105"/>
                    <a:pt x="7337" y="2885"/>
                    <a:pt x="7226" y="2677"/>
                  </a:cubicBezTo>
                  <a:cubicBezTo>
                    <a:pt x="7218" y="2663"/>
                    <a:pt x="7220" y="2645"/>
                    <a:pt x="7231" y="2632"/>
                  </a:cubicBezTo>
                  <a:lnTo>
                    <a:pt x="7576" y="2243"/>
                  </a:lnTo>
                  <a:cubicBezTo>
                    <a:pt x="7757" y="2038"/>
                    <a:pt x="7748" y="1726"/>
                    <a:pt x="7554" y="1532"/>
                  </a:cubicBezTo>
                  <a:lnTo>
                    <a:pt x="7027" y="1004"/>
                  </a:lnTo>
                  <a:cubicBezTo>
                    <a:pt x="6836" y="814"/>
                    <a:pt x="6526" y="802"/>
                    <a:pt x="6321" y="977"/>
                  </a:cubicBezTo>
                  <a:lnTo>
                    <a:pt x="5932" y="1311"/>
                  </a:lnTo>
                  <a:cubicBezTo>
                    <a:pt x="5920" y="1322"/>
                    <a:pt x="5901" y="1324"/>
                    <a:pt x="5887" y="1316"/>
                  </a:cubicBezTo>
                  <a:cubicBezTo>
                    <a:pt x="5682" y="1202"/>
                    <a:pt x="5463" y="1110"/>
                    <a:pt x="5238" y="1042"/>
                  </a:cubicBezTo>
                  <a:cubicBezTo>
                    <a:pt x="5223" y="1037"/>
                    <a:pt x="5212" y="1022"/>
                    <a:pt x="5211" y="1006"/>
                  </a:cubicBezTo>
                  <a:lnTo>
                    <a:pt x="5179" y="488"/>
                  </a:lnTo>
                  <a:cubicBezTo>
                    <a:pt x="5162" y="214"/>
                    <a:pt x="4935" y="0"/>
                    <a:pt x="4661" y="0"/>
                  </a:cubicBezTo>
                  <a:lnTo>
                    <a:pt x="3915" y="0"/>
                  </a:lnTo>
                  <a:cubicBezTo>
                    <a:pt x="3645" y="0"/>
                    <a:pt x="3418" y="211"/>
                    <a:pt x="3397" y="480"/>
                  </a:cubicBezTo>
                  <a:lnTo>
                    <a:pt x="3358" y="991"/>
                  </a:lnTo>
                  <a:cubicBezTo>
                    <a:pt x="3357" y="1008"/>
                    <a:pt x="3346" y="1022"/>
                    <a:pt x="3330" y="1026"/>
                  </a:cubicBezTo>
                  <a:cubicBezTo>
                    <a:pt x="3087" y="1096"/>
                    <a:pt x="2851" y="1194"/>
                    <a:pt x="2630" y="1317"/>
                  </a:cubicBezTo>
                  <a:cubicBezTo>
                    <a:pt x="2616" y="1324"/>
                    <a:pt x="2598" y="1322"/>
                    <a:pt x="2585" y="1311"/>
                  </a:cubicBezTo>
                  <a:lnTo>
                    <a:pt x="2196" y="977"/>
                  </a:lnTo>
                  <a:cubicBezTo>
                    <a:pt x="1991" y="802"/>
                    <a:pt x="1682" y="814"/>
                    <a:pt x="1491" y="1004"/>
                  </a:cubicBezTo>
                  <a:lnTo>
                    <a:pt x="963" y="1532"/>
                  </a:lnTo>
                  <a:cubicBezTo>
                    <a:pt x="769" y="1726"/>
                    <a:pt x="760" y="2038"/>
                    <a:pt x="941" y="2243"/>
                  </a:cubicBezTo>
                  <a:lnTo>
                    <a:pt x="1286" y="2632"/>
                  </a:lnTo>
                  <a:cubicBezTo>
                    <a:pt x="1297" y="2645"/>
                    <a:pt x="1299" y="2663"/>
                    <a:pt x="1292" y="2677"/>
                  </a:cubicBezTo>
                  <a:cubicBezTo>
                    <a:pt x="1180" y="2885"/>
                    <a:pt x="1091" y="3105"/>
                    <a:pt x="1027" y="3330"/>
                  </a:cubicBezTo>
                  <a:cubicBezTo>
                    <a:pt x="1022" y="3346"/>
                    <a:pt x="1008" y="3357"/>
                    <a:pt x="991" y="3358"/>
                  </a:cubicBezTo>
                  <a:lnTo>
                    <a:pt x="480" y="3397"/>
                  </a:lnTo>
                  <a:cubicBezTo>
                    <a:pt x="211" y="3418"/>
                    <a:pt x="0" y="3645"/>
                    <a:pt x="0" y="3915"/>
                  </a:cubicBezTo>
                  <a:lnTo>
                    <a:pt x="0" y="4661"/>
                  </a:lnTo>
                  <a:cubicBezTo>
                    <a:pt x="0" y="4935"/>
                    <a:pt x="215" y="5163"/>
                    <a:pt x="488" y="5179"/>
                  </a:cubicBezTo>
                  <a:lnTo>
                    <a:pt x="1006" y="5211"/>
                  </a:lnTo>
                  <a:cubicBezTo>
                    <a:pt x="1023" y="5212"/>
                    <a:pt x="1037" y="5223"/>
                    <a:pt x="1042" y="5238"/>
                  </a:cubicBezTo>
                  <a:cubicBezTo>
                    <a:pt x="1110" y="5463"/>
                    <a:pt x="1203" y="5682"/>
                    <a:pt x="1316" y="5887"/>
                  </a:cubicBezTo>
                  <a:cubicBezTo>
                    <a:pt x="1324" y="5902"/>
                    <a:pt x="1322" y="5920"/>
                    <a:pt x="1311" y="5932"/>
                  </a:cubicBezTo>
                  <a:lnTo>
                    <a:pt x="977" y="6322"/>
                  </a:lnTo>
                  <a:cubicBezTo>
                    <a:pt x="802" y="6526"/>
                    <a:pt x="814" y="6836"/>
                    <a:pt x="1004" y="7027"/>
                  </a:cubicBezTo>
                  <a:lnTo>
                    <a:pt x="1532" y="7555"/>
                  </a:lnTo>
                  <a:cubicBezTo>
                    <a:pt x="1579" y="7602"/>
                    <a:pt x="1634" y="7639"/>
                    <a:pt x="1695" y="7665"/>
                  </a:cubicBezTo>
                  <a:cubicBezTo>
                    <a:pt x="1758" y="7692"/>
                    <a:pt x="1831" y="7663"/>
                    <a:pt x="1858" y="7599"/>
                  </a:cubicBezTo>
                  <a:cubicBezTo>
                    <a:pt x="1868" y="7576"/>
                    <a:pt x="1871" y="7552"/>
                    <a:pt x="1867" y="7529"/>
                  </a:cubicBezTo>
                  <a:lnTo>
                    <a:pt x="1867" y="6875"/>
                  </a:lnTo>
                  <a:cubicBezTo>
                    <a:pt x="1867" y="6580"/>
                    <a:pt x="2054" y="6319"/>
                    <a:pt x="2332" y="6226"/>
                  </a:cubicBezTo>
                  <a:lnTo>
                    <a:pt x="2594" y="6137"/>
                  </a:lnTo>
                  <a:cubicBezTo>
                    <a:pt x="2645" y="6121"/>
                    <a:pt x="2692" y="6097"/>
                    <a:pt x="2735" y="6067"/>
                  </a:cubicBezTo>
                  <a:cubicBezTo>
                    <a:pt x="2830" y="6096"/>
                    <a:pt x="2928" y="6116"/>
                    <a:pt x="3027" y="6126"/>
                  </a:cubicBezTo>
                  <a:lnTo>
                    <a:pt x="2749" y="7111"/>
                  </a:lnTo>
                  <a:cubicBezTo>
                    <a:pt x="2737" y="7152"/>
                    <a:pt x="2747" y="7197"/>
                    <a:pt x="2776" y="7229"/>
                  </a:cubicBezTo>
                  <a:lnTo>
                    <a:pt x="3097" y="7586"/>
                  </a:lnTo>
                  <a:cubicBezTo>
                    <a:pt x="3120" y="7612"/>
                    <a:pt x="3152" y="7627"/>
                    <a:pt x="3186" y="7628"/>
                  </a:cubicBezTo>
                  <a:lnTo>
                    <a:pt x="3190" y="7628"/>
                  </a:lnTo>
                  <a:cubicBezTo>
                    <a:pt x="3223" y="7628"/>
                    <a:pt x="3255" y="7615"/>
                    <a:pt x="3278" y="7591"/>
                  </a:cubicBezTo>
                  <a:lnTo>
                    <a:pt x="3633" y="7233"/>
                  </a:lnTo>
                  <a:cubicBezTo>
                    <a:pt x="3666" y="7200"/>
                    <a:pt x="3677" y="7152"/>
                    <a:pt x="3664" y="7108"/>
                  </a:cubicBezTo>
                  <a:lnTo>
                    <a:pt x="3355" y="6122"/>
                  </a:lnTo>
                  <a:cubicBezTo>
                    <a:pt x="3458" y="6109"/>
                    <a:pt x="3560" y="6086"/>
                    <a:pt x="3658" y="6052"/>
                  </a:cubicBezTo>
                  <a:cubicBezTo>
                    <a:pt x="3707" y="6089"/>
                    <a:pt x="3761" y="6118"/>
                    <a:pt x="3819" y="6137"/>
                  </a:cubicBezTo>
                  <a:lnTo>
                    <a:pt x="4081" y="6226"/>
                  </a:lnTo>
                  <a:cubicBezTo>
                    <a:pt x="4259" y="6286"/>
                    <a:pt x="4406" y="6418"/>
                    <a:pt x="4484" y="6589"/>
                  </a:cubicBezTo>
                  <a:cubicBezTo>
                    <a:pt x="4524" y="6676"/>
                    <a:pt x="4545" y="6768"/>
                    <a:pt x="4546" y="6862"/>
                  </a:cubicBezTo>
                  <a:cubicBezTo>
                    <a:pt x="4546" y="6865"/>
                    <a:pt x="4546" y="6867"/>
                    <a:pt x="4546" y="6869"/>
                  </a:cubicBezTo>
                  <a:cubicBezTo>
                    <a:pt x="4546" y="6871"/>
                    <a:pt x="4546" y="6873"/>
                    <a:pt x="4546" y="6875"/>
                  </a:cubicBezTo>
                  <a:lnTo>
                    <a:pt x="4546" y="7605"/>
                  </a:lnTo>
                  <a:cubicBezTo>
                    <a:pt x="4546" y="7673"/>
                    <a:pt x="4602" y="7729"/>
                    <a:pt x="4671" y="7729"/>
                  </a:cubicBezTo>
                  <a:cubicBezTo>
                    <a:pt x="4740" y="7729"/>
                    <a:pt x="4796" y="7673"/>
                    <a:pt x="4796" y="7605"/>
                  </a:cubicBezTo>
                  <a:lnTo>
                    <a:pt x="4796" y="6875"/>
                  </a:lnTo>
                  <a:cubicBezTo>
                    <a:pt x="4796" y="6868"/>
                    <a:pt x="4796" y="6862"/>
                    <a:pt x="4796" y="6856"/>
                  </a:cubicBezTo>
                  <a:cubicBezTo>
                    <a:pt x="4794" y="6760"/>
                    <a:pt x="4777" y="6666"/>
                    <a:pt x="4747" y="6576"/>
                  </a:cubicBezTo>
                  <a:cubicBezTo>
                    <a:pt x="4788" y="6547"/>
                    <a:pt x="4834" y="6523"/>
                    <a:pt x="4883" y="6507"/>
                  </a:cubicBezTo>
                  <a:lnTo>
                    <a:pt x="5096" y="6435"/>
                  </a:lnTo>
                  <a:cubicBezTo>
                    <a:pt x="5136" y="6422"/>
                    <a:pt x="5173" y="6404"/>
                    <a:pt x="5207" y="6381"/>
                  </a:cubicBezTo>
                  <a:cubicBezTo>
                    <a:pt x="5274" y="6401"/>
                    <a:pt x="5341" y="6415"/>
                    <a:pt x="5410" y="6424"/>
                  </a:cubicBezTo>
                  <a:lnTo>
                    <a:pt x="5191" y="7198"/>
                  </a:lnTo>
                  <a:cubicBezTo>
                    <a:pt x="5180" y="7239"/>
                    <a:pt x="5190" y="7283"/>
                    <a:pt x="5218" y="7315"/>
                  </a:cubicBezTo>
                  <a:lnTo>
                    <a:pt x="5479" y="7606"/>
                  </a:lnTo>
                  <a:cubicBezTo>
                    <a:pt x="5502" y="7631"/>
                    <a:pt x="5535" y="7646"/>
                    <a:pt x="5569" y="7647"/>
                  </a:cubicBezTo>
                  <a:cubicBezTo>
                    <a:pt x="5570" y="7647"/>
                    <a:pt x="5571" y="7647"/>
                    <a:pt x="5572" y="7647"/>
                  </a:cubicBezTo>
                  <a:cubicBezTo>
                    <a:pt x="5605" y="7647"/>
                    <a:pt x="5637" y="7634"/>
                    <a:pt x="5661" y="7610"/>
                  </a:cubicBezTo>
                  <a:lnTo>
                    <a:pt x="5949" y="7319"/>
                  </a:lnTo>
                  <a:cubicBezTo>
                    <a:pt x="5982" y="7286"/>
                    <a:pt x="5993" y="7238"/>
                    <a:pt x="5979" y="7194"/>
                  </a:cubicBezTo>
                  <a:lnTo>
                    <a:pt x="5737" y="6420"/>
                  </a:lnTo>
                  <a:cubicBezTo>
                    <a:pt x="5809" y="6409"/>
                    <a:pt x="5879" y="6393"/>
                    <a:pt x="5949" y="6369"/>
                  </a:cubicBezTo>
                  <a:cubicBezTo>
                    <a:pt x="5987" y="6398"/>
                    <a:pt x="6030" y="6420"/>
                    <a:pt x="6076" y="6435"/>
                  </a:cubicBezTo>
                  <a:lnTo>
                    <a:pt x="6288" y="6507"/>
                  </a:lnTo>
                  <a:cubicBezTo>
                    <a:pt x="6505" y="6580"/>
                    <a:pt x="6651" y="6783"/>
                    <a:pt x="6651" y="7012"/>
                  </a:cubicBezTo>
                  <a:lnTo>
                    <a:pt x="6651" y="7522"/>
                  </a:lnTo>
                  <a:cubicBezTo>
                    <a:pt x="6651" y="7523"/>
                    <a:pt x="6651" y="7523"/>
                    <a:pt x="6651" y="7524"/>
                  </a:cubicBezTo>
                  <a:cubicBezTo>
                    <a:pt x="6645" y="7548"/>
                    <a:pt x="6647" y="7574"/>
                    <a:pt x="6658" y="7599"/>
                  </a:cubicBezTo>
                  <a:cubicBezTo>
                    <a:pt x="6678" y="7647"/>
                    <a:pt x="6724" y="7675"/>
                    <a:pt x="6773" y="7675"/>
                  </a:cubicBezTo>
                  <a:cubicBezTo>
                    <a:pt x="6789" y="7675"/>
                    <a:pt x="6805" y="7672"/>
                    <a:pt x="6821" y="7665"/>
                  </a:cubicBezTo>
                  <a:cubicBezTo>
                    <a:pt x="6883" y="7639"/>
                    <a:pt x="6938" y="7602"/>
                    <a:pt x="6985" y="7555"/>
                  </a:cubicBezTo>
                  <a:lnTo>
                    <a:pt x="7513" y="7027"/>
                  </a:lnTo>
                  <a:cubicBezTo>
                    <a:pt x="7704" y="6836"/>
                    <a:pt x="7716" y="6526"/>
                    <a:pt x="7540" y="6322"/>
                  </a:cubicBezTo>
                  <a:lnTo>
                    <a:pt x="7206" y="5932"/>
                  </a:lnTo>
                  <a:cubicBezTo>
                    <a:pt x="7195" y="5920"/>
                    <a:pt x="7193" y="5902"/>
                    <a:pt x="7201" y="5887"/>
                  </a:cubicBezTo>
                  <a:cubicBezTo>
                    <a:pt x="7315" y="5682"/>
                    <a:pt x="7407" y="5463"/>
                    <a:pt x="7476" y="5238"/>
                  </a:cubicBezTo>
                  <a:cubicBezTo>
                    <a:pt x="7480" y="5223"/>
                    <a:pt x="7495" y="5212"/>
                    <a:pt x="7512" y="5211"/>
                  </a:cubicBezTo>
                  <a:lnTo>
                    <a:pt x="8029" y="5179"/>
                  </a:lnTo>
                  <a:cubicBezTo>
                    <a:pt x="8303" y="5163"/>
                    <a:pt x="8517" y="4935"/>
                    <a:pt x="8517" y="4661"/>
                  </a:cubicBezTo>
                  <a:lnTo>
                    <a:pt x="8517" y="3915"/>
                  </a:lnTo>
                  <a:cubicBezTo>
                    <a:pt x="8517" y="3645"/>
                    <a:pt x="8306" y="3418"/>
                    <a:pt x="8037" y="3397"/>
                  </a:cubicBezTo>
                  <a:close/>
                  <a:moveTo>
                    <a:pt x="3784" y="4184"/>
                  </a:moveTo>
                  <a:lnTo>
                    <a:pt x="3016" y="3937"/>
                  </a:lnTo>
                  <a:cubicBezTo>
                    <a:pt x="2984" y="3927"/>
                    <a:pt x="2949" y="3930"/>
                    <a:pt x="2920" y="3945"/>
                  </a:cubicBezTo>
                  <a:lnTo>
                    <a:pt x="2629" y="4097"/>
                  </a:lnTo>
                  <a:lnTo>
                    <a:pt x="2629" y="3950"/>
                  </a:lnTo>
                  <a:cubicBezTo>
                    <a:pt x="2629" y="3780"/>
                    <a:pt x="2768" y="3641"/>
                    <a:pt x="2938" y="3641"/>
                  </a:cubicBezTo>
                  <a:lnTo>
                    <a:pt x="3475" y="3641"/>
                  </a:lnTo>
                  <a:cubicBezTo>
                    <a:pt x="3645" y="3641"/>
                    <a:pt x="3784" y="3780"/>
                    <a:pt x="3784" y="3950"/>
                  </a:cubicBezTo>
                  <a:lnTo>
                    <a:pt x="3784" y="4184"/>
                  </a:lnTo>
                  <a:close/>
                  <a:moveTo>
                    <a:pt x="2629" y="4378"/>
                  </a:moveTo>
                  <a:lnTo>
                    <a:pt x="2989" y="4190"/>
                  </a:lnTo>
                  <a:lnTo>
                    <a:pt x="3784" y="4446"/>
                  </a:lnTo>
                  <a:lnTo>
                    <a:pt x="3784" y="4822"/>
                  </a:lnTo>
                  <a:cubicBezTo>
                    <a:pt x="3784" y="4910"/>
                    <a:pt x="3737" y="4992"/>
                    <a:pt x="3663" y="5038"/>
                  </a:cubicBezTo>
                  <a:lnTo>
                    <a:pt x="3337" y="5236"/>
                  </a:lnTo>
                  <a:cubicBezTo>
                    <a:pt x="3257" y="5285"/>
                    <a:pt x="3156" y="5285"/>
                    <a:pt x="3076" y="5236"/>
                  </a:cubicBezTo>
                  <a:lnTo>
                    <a:pt x="2750" y="5038"/>
                  </a:lnTo>
                  <a:cubicBezTo>
                    <a:pt x="2676" y="4992"/>
                    <a:pt x="2629" y="4910"/>
                    <a:pt x="2629" y="4822"/>
                  </a:cubicBezTo>
                  <a:lnTo>
                    <a:pt x="2629" y="4378"/>
                  </a:lnTo>
                  <a:close/>
                  <a:moveTo>
                    <a:pt x="3201" y="5884"/>
                  </a:moveTo>
                  <a:cubicBezTo>
                    <a:pt x="3104" y="5886"/>
                    <a:pt x="3009" y="5876"/>
                    <a:pt x="2915" y="5856"/>
                  </a:cubicBezTo>
                  <a:cubicBezTo>
                    <a:pt x="2952" y="5781"/>
                    <a:pt x="2972" y="5697"/>
                    <a:pt x="2972" y="5611"/>
                  </a:cubicBezTo>
                  <a:lnTo>
                    <a:pt x="2972" y="5464"/>
                  </a:lnTo>
                  <a:cubicBezTo>
                    <a:pt x="3046" y="5503"/>
                    <a:pt x="3126" y="5523"/>
                    <a:pt x="3206" y="5523"/>
                  </a:cubicBezTo>
                  <a:cubicBezTo>
                    <a:pt x="3287" y="5523"/>
                    <a:pt x="3367" y="5503"/>
                    <a:pt x="3441" y="5464"/>
                  </a:cubicBezTo>
                  <a:lnTo>
                    <a:pt x="3441" y="5611"/>
                  </a:lnTo>
                  <a:cubicBezTo>
                    <a:pt x="3441" y="5692"/>
                    <a:pt x="3458" y="5771"/>
                    <a:pt x="3491" y="5842"/>
                  </a:cubicBezTo>
                  <a:cubicBezTo>
                    <a:pt x="3396" y="5867"/>
                    <a:pt x="3299" y="5881"/>
                    <a:pt x="3201" y="5884"/>
                  </a:cubicBezTo>
                  <a:close/>
                  <a:moveTo>
                    <a:pt x="3194" y="7321"/>
                  </a:moveTo>
                  <a:lnTo>
                    <a:pt x="3007" y="7113"/>
                  </a:lnTo>
                  <a:lnTo>
                    <a:pt x="3196" y="6448"/>
                  </a:lnTo>
                  <a:lnTo>
                    <a:pt x="3403" y="7111"/>
                  </a:lnTo>
                  <a:lnTo>
                    <a:pt x="3194" y="7321"/>
                  </a:lnTo>
                  <a:close/>
                  <a:moveTo>
                    <a:pt x="6031" y="4794"/>
                  </a:moveTo>
                  <a:lnTo>
                    <a:pt x="5438" y="4603"/>
                  </a:lnTo>
                  <a:cubicBezTo>
                    <a:pt x="5406" y="4593"/>
                    <a:pt x="5372" y="4596"/>
                    <a:pt x="5342" y="4611"/>
                  </a:cubicBezTo>
                  <a:lnTo>
                    <a:pt x="5141" y="4717"/>
                  </a:lnTo>
                  <a:lnTo>
                    <a:pt x="5141" y="4636"/>
                  </a:lnTo>
                  <a:cubicBezTo>
                    <a:pt x="5141" y="4511"/>
                    <a:pt x="5242" y="4408"/>
                    <a:pt x="5368" y="4408"/>
                  </a:cubicBezTo>
                  <a:lnTo>
                    <a:pt x="5804" y="4408"/>
                  </a:lnTo>
                  <a:cubicBezTo>
                    <a:pt x="5929" y="4408"/>
                    <a:pt x="6031" y="4511"/>
                    <a:pt x="6031" y="4636"/>
                  </a:cubicBezTo>
                  <a:lnTo>
                    <a:pt x="6031" y="4794"/>
                  </a:lnTo>
                  <a:close/>
                  <a:moveTo>
                    <a:pt x="5141" y="4998"/>
                  </a:moveTo>
                  <a:lnTo>
                    <a:pt x="5411" y="4857"/>
                  </a:lnTo>
                  <a:lnTo>
                    <a:pt x="6031" y="5056"/>
                  </a:lnTo>
                  <a:lnTo>
                    <a:pt x="6031" y="5345"/>
                  </a:lnTo>
                  <a:cubicBezTo>
                    <a:pt x="6031" y="5408"/>
                    <a:pt x="5998" y="5467"/>
                    <a:pt x="5944" y="5500"/>
                  </a:cubicBezTo>
                  <a:lnTo>
                    <a:pt x="5680" y="5661"/>
                  </a:lnTo>
                  <a:cubicBezTo>
                    <a:pt x="5622" y="5696"/>
                    <a:pt x="5550" y="5696"/>
                    <a:pt x="5492" y="5661"/>
                  </a:cubicBezTo>
                  <a:lnTo>
                    <a:pt x="5227" y="5500"/>
                  </a:lnTo>
                  <a:cubicBezTo>
                    <a:pt x="5174" y="5467"/>
                    <a:pt x="5141" y="5408"/>
                    <a:pt x="5141" y="5345"/>
                  </a:cubicBezTo>
                  <a:lnTo>
                    <a:pt x="5141" y="4998"/>
                  </a:lnTo>
                  <a:close/>
                  <a:moveTo>
                    <a:pt x="5581" y="6183"/>
                  </a:moveTo>
                  <a:cubicBezTo>
                    <a:pt x="5514" y="6185"/>
                    <a:pt x="5448" y="6179"/>
                    <a:pt x="5382" y="6167"/>
                  </a:cubicBezTo>
                  <a:cubicBezTo>
                    <a:pt x="5406" y="6110"/>
                    <a:pt x="5419" y="6048"/>
                    <a:pt x="5419" y="5985"/>
                  </a:cubicBezTo>
                  <a:lnTo>
                    <a:pt x="5419" y="5903"/>
                  </a:lnTo>
                  <a:cubicBezTo>
                    <a:pt x="5472" y="5926"/>
                    <a:pt x="5529" y="5937"/>
                    <a:pt x="5586" y="5937"/>
                  </a:cubicBezTo>
                  <a:cubicBezTo>
                    <a:pt x="5643" y="5937"/>
                    <a:pt x="5699" y="5926"/>
                    <a:pt x="5753" y="5903"/>
                  </a:cubicBezTo>
                  <a:lnTo>
                    <a:pt x="5753" y="5985"/>
                  </a:lnTo>
                  <a:cubicBezTo>
                    <a:pt x="5753" y="6045"/>
                    <a:pt x="5764" y="6103"/>
                    <a:pt x="5785" y="6157"/>
                  </a:cubicBezTo>
                  <a:cubicBezTo>
                    <a:pt x="5718" y="6173"/>
                    <a:pt x="5650" y="6182"/>
                    <a:pt x="5581" y="6183"/>
                  </a:cubicBezTo>
                  <a:close/>
                  <a:moveTo>
                    <a:pt x="5577" y="7340"/>
                  </a:moveTo>
                  <a:lnTo>
                    <a:pt x="5450" y="7199"/>
                  </a:lnTo>
                  <a:lnTo>
                    <a:pt x="5578" y="6747"/>
                  </a:lnTo>
                  <a:lnTo>
                    <a:pt x="5719" y="7197"/>
                  </a:lnTo>
                  <a:lnTo>
                    <a:pt x="5577" y="7340"/>
                  </a:lnTo>
                  <a:close/>
                  <a:moveTo>
                    <a:pt x="8268" y="4661"/>
                  </a:moveTo>
                  <a:cubicBezTo>
                    <a:pt x="8268" y="4803"/>
                    <a:pt x="8156" y="4922"/>
                    <a:pt x="8014" y="4930"/>
                  </a:cubicBezTo>
                  <a:lnTo>
                    <a:pt x="7496" y="4962"/>
                  </a:lnTo>
                  <a:cubicBezTo>
                    <a:pt x="7376" y="4969"/>
                    <a:pt x="7272" y="5051"/>
                    <a:pt x="7237" y="5166"/>
                  </a:cubicBezTo>
                  <a:cubicBezTo>
                    <a:pt x="7174" y="5374"/>
                    <a:pt x="7088" y="5576"/>
                    <a:pt x="6983" y="5766"/>
                  </a:cubicBezTo>
                  <a:cubicBezTo>
                    <a:pt x="6924" y="5871"/>
                    <a:pt x="6938" y="6003"/>
                    <a:pt x="7017" y="6095"/>
                  </a:cubicBezTo>
                  <a:lnTo>
                    <a:pt x="7351" y="6484"/>
                  </a:lnTo>
                  <a:cubicBezTo>
                    <a:pt x="7442" y="6591"/>
                    <a:pt x="7436" y="6751"/>
                    <a:pt x="7337" y="6850"/>
                  </a:cubicBezTo>
                  <a:lnTo>
                    <a:pt x="6900" y="7287"/>
                  </a:lnTo>
                  <a:lnTo>
                    <a:pt x="6900" y="7012"/>
                  </a:lnTo>
                  <a:cubicBezTo>
                    <a:pt x="6900" y="6675"/>
                    <a:pt x="6686" y="6377"/>
                    <a:pt x="6368" y="6270"/>
                  </a:cubicBezTo>
                  <a:lnTo>
                    <a:pt x="6200" y="6214"/>
                  </a:lnTo>
                  <a:cubicBezTo>
                    <a:pt x="6685" y="5731"/>
                    <a:pt x="6979" y="5080"/>
                    <a:pt x="7013" y="4402"/>
                  </a:cubicBezTo>
                  <a:cubicBezTo>
                    <a:pt x="7017" y="4333"/>
                    <a:pt x="6964" y="4275"/>
                    <a:pt x="6895" y="4271"/>
                  </a:cubicBezTo>
                  <a:cubicBezTo>
                    <a:pt x="6826" y="4268"/>
                    <a:pt x="6768" y="4321"/>
                    <a:pt x="6764" y="4390"/>
                  </a:cubicBezTo>
                  <a:cubicBezTo>
                    <a:pt x="6733" y="5012"/>
                    <a:pt x="6460" y="5609"/>
                    <a:pt x="6011" y="6049"/>
                  </a:cubicBezTo>
                  <a:cubicBezTo>
                    <a:pt x="6005" y="6029"/>
                    <a:pt x="6002" y="6007"/>
                    <a:pt x="6002" y="5985"/>
                  </a:cubicBezTo>
                  <a:lnTo>
                    <a:pt x="6002" y="5756"/>
                  </a:lnTo>
                  <a:lnTo>
                    <a:pt x="6074" y="5713"/>
                  </a:lnTo>
                  <a:cubicBezTo>
                    <a:pt x="6202" y="5635"/>
                    <a:pt x="6281" y="5494"/>
                    <a:pt x="6281" y="5345"/>
                  </a:cubicBezTo>
                  <a:lnTo>
                    <a:pt x="6281" y="4967"/>
                  </a:lnTo>
                  <a:lnTo>
                    <a:pt x="6281" y="4966"/>
                  </a:lnTo>
                  <a:lnTo>
                    <a:pt x="6281" y="4636"/>
                  </a:lnTo>
                  <a:cubicBezTo>
                    <a:pt x="6281" y="4373"/>
                    <a:pt x="6067" y="4159"/>
                    <a:pt x="5804" y="4159"/>
                  </a:cubicBezTo>
                  <a:lnTo>
                    <a:pt x="5368" y="4159"/>
                  </a:lnTo>
                  <a:cubicBezTo>
                    <a:pt x="5105" y="4159"/>
                    <a:pt x="4891" y="4373"/>
                    <a:pt x="4891" y="4636"/>
                  </a:cubicBezTo>
                  <a:lnTo>
                    <a:pt x="4891" y="4920"/>
                  </a:lnTo>
                  <a:lnTo>
                    <a:pt x="4891" y="4921"/>
                  </a:lnTo>
                  <a:lnTo>
                    <a:pt x="4891" y="5345"/>
                  </a:lnTo>
                  <a:cubicBezTo>
                    <a:pt x="4891" y="5494"/>
                    <a:pt x="4970" y="5635"/>
                    <a:pt x="5097" y="5713"/>
                  </a:cubicBezTo>
                  <a:lnTo>
                    <a:pt x="5169" y="5756"/>
                  </a:lnTo>
                  <a:lnTo>
                    <a:pt x="5169" y="5985"/>
                  </a:lnTo>
                  <a:cubicBezTo>
                    <a:pt x="5169" y="6048"/>
                    <a:pt x="5143" y="6108"/>
                    <a:pt x="5098" y="6150"/>
                  </a:cubicBezTo>
                  <a:cubicBezTo>
                    <a:pt x="5074" y="6172"/>
                    <a:pt x="5047" y="6188"/>
                    <a:pt x="5017" y="6199"/>
                  </a:cubicBezTo>
                  <a:lnTo>
                    <a:pt x="4804" y="6270"/>
                  </a:lnTo>
                  <a:cubicBezTo>
                    <a:pt x="4744" y="6291"/>
                    <a:pt x="4687" y="6318"/>
                    <a:pt x="4635" y="6351"/>
                  </a:cubicBezTo>
                  <a:cubicBezTo>
                    <a:pt x="4521" y="6183"/>
                    <a:pt x="4354" y="6054"/>
                    <a:pt x="4160" y="5989"/>
                  </a:cubicBezTo>
                  <a:lnTo>
                    <a:pt x="3898" y="5901"/>
                  </a:lnTo>
                  <a:cubicBezTo>
                    <a:pt x="3851" y="5885"/>
                    <a:pt x="3810" y="5859"/>
                    <a:pt x="3775" y="5823"/>
                  </a:cubicBezTo>
                  <a:cubicBezTo>
                    <a:pt x="3720" y="5766"/>
                    <a:pt x="3690" y="5690"/>
                    <a:pt x="3690" y="5611"/>
                  </a:cubicBezTo>
                  <a:lnTo>
                    <a:pt x="3690" y="5313"/>
                  </a:lnTo>
                  <a:lnTo>
                    <a:pt x="3793" y="5251"/>
                  </a:lnTo>
                  <a:cubicBezTo>
                    <a:pt x="3941" y="5160"/>
                    <a:pt x="4033" y="4996"/>
                    <a:pt x="4033" y="4822"/>
                  </a:cubicBezTo>
                  <a:lnTo>
                    <a:pt x="4033" y="4357"/>
                  </a:lnTo>
                  <a:lnTo>
                    <a:pt x="4033" y="4356"/>
                  </a:lnTo>
                  <a:lnTo>
                    <a:pt x="4033" y="3950"/>
                  </a:lnTo>
                  <a:cubicBezTo>
                    <a:pt x="4033" y="3642"/>
                    <a:pt x="3783" y="3391"/>
                    <a:pt x="3475" y="3391"/>
                  </a:cubicBezTo>
                  <a:lnTo>
                    <a:pt x="2938" y="3391"/>
                  </a:lnTo>
                  <a:cubicBezTo>
                    <a:pt x="2630" y="3391"/>
                    <a:pt x="2380" y="3642"/>
                    <a:pt x="2380" y="3950"/>
                  </a:cubicBezTo>
                  <a:lnTo>
                    <a:pt x="2380" y="4301"/>
                  </a:lnTo>
                  <a:lnTo>
                    <a:pt x="2380" y="4301"/>
                  </a:lnTo>
                  <a:lnTo>
                    <a:pt x="2380" y="4822"/>
                  </a:lnTo>
                  <a:cubicBezTo>
                    <a:pt x="2380" y="4996"/>
                    <a:pt x="2472" y="5160"/>
                    <a:pt x="2620" y="5251"/>
                  </a:cubicBezTo>
                  <a:lnTo>
                    <a:pt x="2723" y="5313"/>
                  </a:lnTo>
                  <a:lnTo>
                    <a:pt x="2723" y="5611"/>
                  </a:lnTo>
                  <a:cubicBezTo>
                    <a:pt x="2723" y="5696"/>
                    <a:pt x="2687" y="5778"/>
                    <a:pt x="2625" y="5835"/>
                  </a:cubicBezTo>
                  <a:cubicBezTo>
                    <a:pt x="2593" y="5865"/>
                    <a:pt x="2556" y="5887"/>
                    <a:pt x="2515" y="5901"/>
                  </a:cubicBezTo>
                  <a:lnTo>
                    <a:pt x="2253" y="5989"/>
                  </a:lnTo>
                  <a:cubicBezTo>
                    <a:pt x="1873" y="6117"/>
                    <a:pt x="1617" y="6473"/>
                    <a:pt x="1617" y="6875"/>
                  </a:cubicBezTo>
                  <a:lnTo>
                    <a:pt x="1617" y="7287"/>
                  </a:lnTo>
                  <a:lnTo>
                    <a:pt x="1181" y="6850"/>
                  </a:lnTo>
                  <a:cubicBezTo>
                    <a:pt x="1082" y="6751"/>
                    <a:pt x="1076" y="6591"/>
                    <a:pt x="1167" y="6484"/>
                  </a:cubicBezTo>
                  <a:lnTo>
                    <a:pt x="1501" y="6095"/>
                  </a:lnTo>
                  <a:cubicBezTo>
                    <a:pt x="1579" y="6003"/>
                    <a:pt x="1593" y="5871"/>
                    <a:pt x="1535" y="5766"/>
                  </a:cubicBezTo>
                  <a:cubicBezTo>
                    <a:pt x="1429" y="5576"/>
                    <a:pt x="1344" y="5374"/>
                    <a:pt x="1280" y="5166"/>
                  </a:cubicBezTo>
                  <a:cubicBezTo>
                    <a:pt x="1246" y="5051"/>
                    <a:pt x="1141" y="4969"/>
                    <a:pt x="1021" y="4962"/>
                  </a:cubicBezTo>
                  <a:lnTo>
                    <a:pt x="503" y="4930"/>
                  </a:lnTo>
                  <a:cubicBezTo>
                    <a:pt x="361" y="4922"/>
                    <a:pt x="250" y="4803"/>
                    <a:pt x="250" y="4661"/>
                  </a:cubicBezTo>
                  <a:lnTo>
                    <a:pt x="250" y="3915"/>
                  </a:lnTo>
                  <a:cubicBezTo>
                    <a:pt x="250" y="3775"/>
                    <a:pt x="359" y="3657"/>
                    <a:pt x="499" y="3646"/>
                  </a:cubicBezTo>
                  <a:lnTo>
                    <a:pt x="1010" y="3607"/>
                  </a:lnTo>
                  <a:cubicBezTo>
                    <a:pt x="1130" y="3598"/>
                    <a:pt x="1233" y="3514"/>
                    <a:pt x="1266" y="3399"/>
                  </a:cubicBezTo>
                  <a:cubicBezTo>
                    <a:pt x="1326" y="3190"/>
                    <a:pt x="1409" y="2987"/>
                    <a:pt x="1512" y="2795"/>
                  </a:cubicBezTo>
                  <a:cubicBezTo>
                    <a:pt x="1568" y="2689"/>
                    <a:pt x="1553" y="2557"/>
                    <a:pt x="1473" y="2467"/>
                  </a:cubicBezTo>
                  <a:lnTo>
                    <a:pt x="1128" y="2078"/>
                  </a:lnTo>
                  <a:cubicBezTo>
                    <a:pt x="1034" y="1971"/>
                    <a:pt x="1039" y="1809"/>
                    <a:pt x="1140" y="1708"/>
                  </a:cubicBezTo>
                  <a:lnTo>
                    <a:pt x="1667" y="1181"/>
                  </a:lnTo>
                  <a:cubicBezTo>
                    <a:pt x="1766" y="1082"/>
                    <a:pt x="1927" y="1075"/>
                    <a:pt x="2033" y="1167"/>
                  </a:cubicBezTo>
                  <a:lnTo>
                    <a:pt x="2423" y="1501"/>
                  </a:lnTo>
                  <a:cubicBezTo>
                    <a:pt x="2514" y="1579"/>
                    <a:pt x="2646" y="1593"/>
                    <a:pt x="2751" y="1535"/>
                  </a:cubicBezTo>
                  <a:cubicBezTo>
                    <a:pt x="2956" y="1421"/>
                    <a:pt x="3174" y="1331"/>
                    <a:pt x="3399" y="1266"/>
                  </a:cubicBezTo>
                  <a:cubicBezTo>
                    <a:pt x="3514" y="1233"/>
                    <a:pt x="3598" y="1130"/>
                    <a:pt x="3607" y="1010"/>
                  </a:cubicBezTo>
                  <a:lnTo>
                    <a:pt x="3646" y="499"/>
                  </a:lnTo>
                  <a:cubicBezTo>
                    <a:pt x="3657" y="359"/>
                    <a:pt x="3775" y="250"/>
                    <a:pt x="3915" y="250"/>
                  </a:cubicBezTo>
                  <a:lnTo>
                    <a:pt x="4661" y="250"/>
                  </a:lnTo>
                  <a:cubicBezTo>
                    <a:pt x="4803" y="250"/>
                    <a:pt x="4921" y="361"/>
                    <a:pt x="4930" y="503"/>
                  </a:cubicBezTo>
                  <a:lnTo>
                    <a:pt x="4962" y="1021"/>
                  </a:lnTo>
                  <a:cubicBezTo>
                    <a:pt x="4969" y="1141"/>
                    <a:pt x="5051" y="1245"/>
                    <a:pt x="5166" y="1280"/>
                  </a:cubicBezTo>
                  <a:cubicBezTo>
                    <a:pt x="5374" y="1344"/>
                    <a:pt x="5576" y="1429"/>
                    <a:pt x="5766" y="1535"/>
                  </a:cubicBezTo>
                  <a:cubicBezTo>
                    <a:pt x="5871" y="1593"/>
                    <a:pt x="6003" y="1579"/>
                    <a:pt x="6095" y="1501"/>
                  </a:cubicBezTo>
                  <a:lnTo>
                    <a:pt x="6484" y="1167"/>
                  </a:lnTo>
                  <a:cubicBezTo>
                    <a:pt x="6590" y="1076"/>
                    <a:pt x="6751" y="1082"/>
                    <a:pt x="6850" y="1181"/>
                  </a:cubicBezTo>
                  <a:lnTo>
                    <a:pt x="7378" y="1708"/>
                  </a:lnTo>
                  <a:cubicBezTo>
                    <a:pt x="7478" y="1809"/>
                    <a:pt x="7483" y="1971"/>
                    <a:pt x="7389" y="2078"/>
                  </a:cubicBezTo>
                  <a:lnTo>
                    <a:pt x="7045" y="2467"/>
                  </a:lnTo>
                  <a:cubicBezTo>
                    <a:pt x="6965" y="2557"/>
                    <a:pt x="6949" y="2689"/>
                    <a:pt x="7006" y="2795"/>
                  </a:cubicBezTo>
                  <a:cubicBezTo>
                    <a:pt x="7109" y="2987"/>
                    <a:pt x="7191" y="3190"/>
                    <a:pt x="7251" y="3399"/>
                  </a:cubicBezTo>
                  <a:cubicBezTo>
                    <a:pt x="7284" y="3514"/>
                    <a:pt x="7387" y="3598"/>
                    <a:pt x="7507" y="3607"/>
                  </a:cubicBezTo>
                  <a:lnTo>
                    <a:pt x="8018" y="3646"/>
                  </a:lnTo>
                  <a:cubicBezTo>
                    <a:pt x="8158" y="3657"/>
                    <a:pt x="8268" y="3775"/>
                    <a:pt x="8268" y="3915"/>
                  </a:cubicBezTo>
                  <a:lnTo>
                    <a:pt x="8268" y="4661"/>
                  </a:lnTo>
                  <a:close/>
                  <a:moveTo>
                    <a:pt x="8268" y="4661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50">
              <a:extLst>
                <a:ext uri="{FF2B5EF4-FFF2-40B4-BE49-F238E27FC236}">
                  <a16:creationId xmlns:a16="http://schemas.microsoft.com/office/drawing/2014/main" id="{1315DC75-F3C8-4FEA-8B78-F1DC249DAE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7" y="987"/>
              <a:ext cx="2648" cy="2103"/>
            </a:xfrm>
            <a:custGeom>
              <a:avLst/>
              <a:gdLst>
                <a:gd name="T0" fmla="*/ 2641 w 5517"/>
                <a:gd name="T1" fmla="*/ 71 h 4381"/>
                <a:gd name="T2" fmla="*/ 837 w 5517"/>
                <a:gd name="T3" fmla="*/ 877 h 4381"/>
                <a:gd name="T4" fmla="*/ 30 w 5517"/>
                <a:gd name="T5" fmla="*/ 2682 h 4381"/>
                <a:gd name="T6" fmla="*/ 468 w 5517"/>
                <a:gd name="T7" fmla="*/ 4324 h 4381"/>
                <a:gd name="T8" fmla="*/ 573 w 5517"/>
                <a:gd name="T9" fmla="*/ 4381 h 4381"/>
                <a:gd name="T10" fmla="*/ 641 w 5517"/>
                <a:gd name="T11" fmla="*/ 4361 h 4381"/>
                <a:gd name="T12" fmla="*/ 678 w 5517"/>
                <a:gd name="T13" fmla="*/ 4188 h 4381"/>
                <a:gd name="T14" fmla="*/ 279 w 5517"/>
                <a:gd name="T15" fmla="*/ 2695 h 4381"/>
                <a:gd name="T16" fmla="*/ 1013 w 5517"/>
                <a:gd name="T17" fmla="*/ 1054 h 4381"/>
                <a:gd name="T18" fmla="*/ 2654 w 5517"/>
                <a:gd name="T19" fmla="*/ 320 h 4381"/>
                <a:gd name="T20" fmla="*/ 5260 w 5517"/>
                <a:gd name="T21" fmla="*/ 2412 h 4381"/>
                <a:gd name="T22" fmla="*/ 5403 w 5517"/>
                <a:gd name="T23" fmla="*/ 2515 h 4381"/>
                <a:gd name="T24" fmla="*/ 5506 w 5517"/>
                <a:gd name="T25" fmla="*/ 2372 h 4381"/>
                <a:gd name="T26" fmla="*/ 2641 w 5517"/>
                <a:gd name="T27" fmla="*/ 71 h 4381"/>
                <a:gd name="T28" fmla="*/ 2641 w 5517"/>
                <a:gd name="T29" fmla="*/ 71 h 4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17" h="4381">
                  <a:moveTo>
                    <a:pt x="2641" y="71"/>
                  </a:moveTo>
                  <a:cubicBezTo>
                    <a:pt x="1963" y="105"/>
                    <a:pt x="1322" y="392"/>
                    <a:pt x="837" y="877"/>
                  </a:cubicBezTo>
                  <a:cubicBezTo>
                    <a:pt x="351" y="1363"/>
                    <a:pt x="64" y="2004"/>
                    <a:pt x="30" y="2682"/>
                  </a:cubicBezTo>
                  <a:cubicBezTo>
                    <a:pt x="0" y="3268"/>
                    <a:pt x="152" y="3836"/>
                    <a:pt x="468" y="4324"/>
                  </a:cubicBezTo>
                  <a:cubicBezTo>
                    <a:pt x="492" y="4361"/>
                    <a:pt x="532" y="4381"/>
                    <a:pt x="573" y="4381"/>
                  </a:cubicBezTo>
                  <a:cubicBezTo>
                    <a:pt x="596" y="4381"/>
                    <a:pt x="620" y="4374"/>
                    <a:pt x="641" y="4361"/>
                  </a:cubicBezTo>
                  <a:cubicBezTo>
                    <a:pt x="699" y="4323"/>
                    <a:pt x="715" y="4246"/>
                    <a:pt x="678" y="4188"/>
                  </a:cubicBezTo>
                  <a:cubicBezTo>
                    <a:pt x="390" y="3744"/>
                    <a:pt x="252" y="3228"/>
                    <a:pt x="279" y="2695"/>
                  </a:cubicBezTo>
                  <a:cubicBezTo>
                    <a:pt x="310" y="2079"/>
                    <a:pt x="571" y="1496"/>
                    <a:pt x="1013" y="1054"/>
                  </a:cubicBezTo>
                  <a:cubicBezTo>
                    <a:pt x="1455" y="612"/>
                    <a:pt x="2038" y="351"/>
                    <a:pt x="2654" y="320"/>
                  </a:cubicBezTo>
                  <a:cubicBezTo>
                    <a:pt x="3932" y="255"/>
                    <a:pt x="5051" y="1155"/>
                    <a:pt x="5260" y="2412"/>
                  </a:cubicBezTo>
                  <a:cubicBezTo>
                    <a:pt x="5271" y="2480"/>
                    <a:pt x="5335" y="2526"/>
                    <a:pt x="5403" y="2515"/>
                  </a:cubicBezTo>
                  <a:cubicBezTo>
                    <a:pt x="5471" y="2504"/>
                    <a:pt x="5517" y="2440"/>
                    <a:pt x="5506" y="2372"/>
                  </a:cubicBezTo>
                  <a:cubicBezTo>
                    <a:pt x="5277" y="989"/>
                    <a:pt x="4045" y="0"/>
                    <a:pt x="2641" y="71"/>
                  </a:cubicBezTo>
                  <a:close/>
                  <a:moveTo>
                    <a:pt x="2641" y="71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0" name="object 15">
            <a:extLst>
              <a:ext uri="{FF2B5EF4-FFF2-40B4-BE49-F238E27FC236}">
                <a16:creationId xmlns:a16="http://schemas.microsoft.com/office/drawing/2014/main" id="{1A5A55F1-C936-4683-BD12-224FD9101A4E}"/>
              </a:ext>
            </a:extLst>
          </p:cNvPr>
          <p:cNvSpPr txBox="1"/>
          <p:nvPr/>
        </p:nvSpPr>
        <p:spPr>
          <a:xfrm>
            <a:off x="6995180" y="1822775"/>
            <a:ext cx="4752571" cy="193350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Коррупцияга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қарши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 комплаенс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тизимининг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ҳолатини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uz-Cyrl-UZ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мониторинг</a:t>
            </a:r>
            <a:r>
              <a:rPr lang="en-US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қилиш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соҳалари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Ўқит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амарадорлиг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олиявий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олиявий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ма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азорат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амарадорлиг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Комплаенс-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жбуриятлар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қсимла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амарадорлиг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лгар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ниқлан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амчиликлар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артараф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эт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амарадорлиг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ежа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увофиқ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ички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удит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ажармаслик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олатлар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51" name="object 12">
            <a:extLst>
              <a:ext uri="{FF2B5EF4-FFF2-40B4-BE49-F238E27FC236}">
                <a16:creationId xmlns:a16="http://schemas.microsoft.com/office/drawing/2014/main" id="{3A48E47F-5587-484E-B504-B6F2126F8B01}"/>
              </a:ext>
            </a:extLst>
          </p:cNvPr>
          <p:cNvSpPr/>
          <p:nvPr/>
        </p:nvSpPr>
        <p:spPr>
          <a:xfrm>
            <a:off x="6180020" y="177459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59" name="Group 2101">
            <a:extLst>
              <a:ext uri="{FF2B5EF4-FFF2-40B4-BE49-F238E27FC236}">
                <a16:creationId xmlns:a16="http://schemas.microsoft.com/office/drawing/2014/main" id="{690FF2B5-8A59-4FB6-BA84-FD16BB7C941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67438" y="1859276"/>
            <a:ext cx="501244" cy="519251"/>
            <a:chOff x="6533" y="1657"/>
            <a:chExt cx="167" cy="173"/>
          </a:xfrm>
          <a:solidFill>
            <a:schemeClr val="bg2">
              <a:lumMod val="25000"/>
            </a:schemeClr>
          </a:solidFill>
        </p:grpSpPr>
        <p:sp>
          <p:nvSpPr>
            <p:cNvPr id="60" name="Freeform 2102">
              <a:extLst>
                <a:ext uri="{FF2B5EF4-FFF2-40B4-BE49-F238E27FC236}">
                  <a16:creationId xmlns:a16="http://schemas.microsoft.com/office/drawing/2014/main" id="{D4BD5AF1-E09F-4D36-90C1-B65B371CE6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02" y="1732"/>
              <a:ext cx="98" cy="98"/>
            </a:xfrm>
            <a:custGeom>
              <a:avLst/>
              <a:gdLst>
                <a:gd name="T0" fmla="*/ 4007 w 4524"/>
                <a:gd name="T1" fmla="*/ 1735 h 4523"/>
                <a:gd name="T2" fmla="*/ 4090 w 4524"/>
                <a:gd name="T3" fmla="*/ 1033 h 4523"/>
                <a:gd name="T4" fmla="*/ 3655 w 4524"/>
                <a:gd name="T5" fmla="*/ 455 h 4523"/>
                <a:gd name="T6" fmla="*/ 3123 w 4524"/>
                <a:gd name="T7" fmla="*/ 656 h 4523"/>
                <a:gd name="T8" fmla="*/ 2789 w 4524"/>
                <a:gd name="T9" fmla="*/ 518 h 4523"/>
                <a:gd name="T10" fmla="*/ 2556 w 4524"/>
                <a:gd name="T11" fmla="*/ 0 h 4523"/>
                <a:gd name="T12" fmla="*/ 1840 w 4524"/>
                <a:gd name="T13" fmla="*/ 101 h 4523"/>
                <a:gd name="T14" fmla="*/ 1403 w 4524"/>
                <a:gd name="T15" fmla="*/ 656 h 4523"/>
                <a:gd name="T16" fmla="*/ 871 w 4524"/>
                <a:gd name="T17" fmla="*/ 455 h 4523"/>
                <a:gd name="T18" fmla="*/ 435 w 4524"/>
                <a:gd name="T19" fmla="*/ 1033 h 4523"/>
                <a:gd name="T20" fmla="*/ 519 w 4524"/>
                <a:gd name="T21" fmla="*/ 1735 h 4523"/>
                <a:gd name="T22" fmla="*/ 0 w 4524"/>
                <a:gd name="T23" fmla="*/ 1968 h 4523"/>
                <a:gd name="T24" fmla="*/ 101 w 4524"/>
                <a:gd name="T25" fmla="*/ 2684 h 4523"/>
                <a:gd name="T26" fmla="*/ 657 w 4524"/>
                <a:gd name="T27" fmla="*/ 3121 h 4523"/>
                <a:gd name="T28" fmla="*/ 455 w 4524"/>
                <a:gd name="T29" fmla="*/ 3653 h 4523"/>
                <a:gd name="T30" fmla="*/ 1033 w 4524"/>
                <a:gd name="T31" fmla="*/ 4088 h 4523"/>
                <a:gd name="T32" fmla="*/ 1735 w 4524"/>
                <a:gd name="T33" fmla="*/ 4005 h 4523"/>
                <a:gd name="T34" fmla="*/ 1968 w 4524"/>
                <a:gd name="T35" fmla="*/ 4523 h 4523"/>
                <a:gd name="T36" fmla="*/ 2685 w 4524"/>
                <a:gd name="T37" fmla="*/ 4422 h 4523"/>
                <a:gd name="T38" fmla="*/ 3122 w 4524"/>
                <a:gd name="T39" fmla="*/ 3867 h 4523"/>
                <a:gd name="T40" fmla="*/ 3654 w 4524"/>
                <a:gd name="T41" fmla="*/ 4068 h 4523"/>
                <a:gd name="T42" fmla="*/ 4089 w 4524"/>
                <a:gd name="T43" fmla="*/ 3490 h 4523"/>
                <a:gd name="T44" fmla="*/ 4006 w 4524"/>
                <a:gd name="T45" fmla="*/ 2789 h 4523"/>
                <a:gd name="T46" fmla="*/ 4524 w 4524"/>
                <a:gd name="T47" fmla="*/ 2555 h 4523"/>
                <a:gd name="T48" fmla="*/ 4424 w 4524"/>
                <a:gd name="T49" fmla="*/ 1839 h 4523"/>
                <a:gd name="T50" fmla="*/ 3867 w 4524"/>
                <a:gd name="T51" fmla="*/ 2550 h 4523"/>
                <a:gd name="T52" fmla="*/ 3600 w 4524"/>
                <a:gd name="T53" fmla="*/ 3056 h 4523"/>
                <a:gd name="T54" fmla="*/ 3808 w 4524"/>
                <a:gd name="T55" fmla="*/ 3539 h 4523"/>
                <a:gd name="T56" fmla="*/ 3194 w 4524"/>
                <a:gd name="T57" fmla="*/ 3600 h 4523"/>
                <a:gd name="T58" fmla="*/ 2648 w 4524"/>
                <a:gd name="T59" fmla="*/ 3770 h 4523"/>
                <a:gd name="T60" fmla="*/ 2452 w 4524"/>
                <a:gd name="T61" fmla="*/ 4258 h 4523"/>
                <a:gd name="T62" fmla="*/ 1975 w 4524"/>
                <a:gd name="T63" fmla="*/ 3867 h 4523"/>
                <a:gd name="T64" fmla="*/ 1468 w 4524"/>
                <a:gd name="T65" fmla="*/ 3600 h 4523"/>
                <a:gd name="T66" fmla="*/ 986 w 4524"/>
                <a:gd name="T67" fmla="*/ 3808 h 4523"/>
                <a:gd name="T68" fmla="*/ 925 w 4524"/>
                <a:gd name="T69" fmla="*/ 3194 h 4523"/>
                <a:gd name="T70" fmla="*/ 755 w 4524"/>
                <a:gd name="T71" fmla="*/ 2647 h 4523"/>
                <a:gd name="T72" fmla="*/ 267 w 4524"/>
                <a:gd name="T73" fmla="*/ 2452 h 4523"/>
                <a:gd name="T74" fmla="*/ 658 w 4524"/>
                <a:gd name="T75" fmla="*/ 1974 h 4523"/>
                <a:gd name="T76" fmla="*/ 925 w 4524"/>
                <a:gd name="T77" fmla="*/ 1468 h 4523"/>
                <a:gd name="T78" fmla="*/ 717 w 4524"/>
                <a:gd name="T79" fmla="*/ 985 h 4523"/>
                <a:gd name="T80" fmla="*/ 1331 w 4524"/>
                <a:gd name="T81" fmla="*/ 924 h 4523"/>
                <a:gd name="T82" fmla="*/ 1878 w 4524"/>
                <a:gd name="T83" fmla="*/ 754 h 4523"/>
                <a:gd name="T84" fmla="*/ 2073 w 4524"/>
                <a:gd name="T85" fmla="*/ 266 h 4523"/>
                <a:gd name="T86" fmla="*/ 2550 w 4524"/>
                <a:gd name="T87" fmla="*/ 658 h 4523"/>
                <a:gd name="T88" fmla="*/ 3057 w 4524"/>
                <a:gd name="T89" fmla="*/ 925 h 4523"/>
                <a:gd name="T90" fmla="*/ 3539 w 4524"/>
                <a:gd name="T91" fmla="*/ 717 h 4523"/>
                <a:gd name="T92" fmla="*/ 3600 w 4524"/>
                <a:gd name="T93" fmla="*/ 1331 h 4523"/>
                <a:gd name="T94" fmla="*/ 3771 w 4524"/>
                <a:gd name="T95" fmla="*/ 1877 h 4523"/>
                <a:gd name="T96" fmla="*/ 4259 w 4524"/>
                <a:gd name="T97" fmla="*/ 2072 h 4523"/>
                <a:gd name="T98" fmla="*/ 4259 w 4524"/>
                <a:gd name="T99" fmla="*/ 2452 h 4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524" h="4523">
                  <a:moveTo>
                    <a:pt x="4424" y="1839"/>
                  </a:moveTo>
                  <a:lnTo>
                    <a:pt x="4007" y="1735"/>
                  </a:lnTo>
                  <a:cubicBezTo>
                    <a:pt x="3972" y="1620"/>
                    <a:pt x="3925" y="1508"/>
                    <a:pt x="3868" y="1402"/>
                  </a:cubicBezTo>
                  <a:lnTo>
                    <a:pt x="4090" y="1033"/>
                  </a:lnTo>
                  <a:cubicBezTo>
                    <a:pt x="4121" y="981"/>
                    <a:pt x="4113" y="914"/>
                    <a:pt x="4070" y="871"/>
                  </a:cubicBezTo>
                  <a:lnTo>
                    <a:pt x="3655" y="455"/>
                  </a:lnTo>
                  <a:cubicBezTo>
                    <a:pt x="3611" y="412"/>
                    <a:pt x="3544" y="403"/>
                    <a:pt x="3492" y="435"/>
                  </a:cubicBezTo>
                  <a:lnTo>
                    <a:pt x="3123" y="656"/>
                  </a:lnTo>
                  <a:cubicBezTo>
                    <a:pt x="3075" y="631"/>
                    <a:pt x="3026" y="607"/>
                    <a:pt x="2976" y="585"/>
                  </a:cubicBezTo>
                  <a:cubicBezTo>
                    <a:pt x="2915" y="560"/>
                    <a:pt x="2853" y="537"/>
                    <a:pt x="2789" y="518"/>
                  </a:cubicBezTo>
                  <a:lnTo>
                    <a:pt x="2685" y="101"/>
                  </a:lnTo>
                  <a:cubicBezTo>
                    <a:pt x="2670" y="41"/>
                    <a:pt x="2617" y="0"/>
                    <a:pt x="2556" y="0"/>
                  </a:cubicBezTo>
                  <a:lnTo>
                    <a:pt x="1969" y="0"/>
                  </a:lnTo>
                  <a:cubicBezTo>
                    <a:pt x="1908" y="0"/>
                    <a:pt x="1855" y="41"/>
                    <a:pt x="1840" y="101"/>
                  </a:cubicBezTo>
                  <a:lnTo>
                    <a:pt x="1736" y="518"/>
                  </a:lnTo>
                  <a:cubicBezTo>
                    <a:pt x="1620" y="553"/>
                    <a:pt x="1509" y="599"/>
                    <a:pt x="1403" y="656"/>
                  </a:cubicBezTo>
                  <a:lnTo>
                    <a:pt x="1034" y="435"/>
                  </a:lnTo>
                  <a:cubicBezTo>
                    <a:pt x="982" y="403"/>
                    <a:pt x="914" y="412"/>
                    <a:pt x="871" y="455"/>
                  </a:cubicBezTo>
                  <a:lnTo>
                    <a:pt x="455" y="870"/>
                  </a:lnTo>
                  <a:cubicBezTo>
                    <a:pt x="412" y="913"/>
                    <a:pt x="404" y="980"/>
                    <a:pt x="435" y="1033"/>
                  </a:cubicBezTo>
                  <a:lnTo>
                    <a:pt x="657" y="1402"/>
                  </a:lnTo>
                  <a:cubicBezTo>
                    <a:pt x="600" y="1508"/>
                    <a:pt x="554" y="1619"/>
                    <a:pt x="519" y="1735"/>
                  </a:cubicBezTo>
                  <a:lnTo>
                    <a:pt x="101" y="1839"/>
                  </a:lnTo>
                  <a:cubicBezTo>
                    <a:pt x="42" y="1854"/>
                    <a:pt x="0" y="1907"/>
                    <a:pt x="0" y="1968"/>
                  </a:cubicBezTo>
                  <a:lnTo>
                    <a:pt x="0" y="2555"/>
                  </a:lnTo>
                  <a:cubicBezTo>
                    <a:pt x="0" y="2616"/>
                    <a:pt x="42" y="2670"/>
                    <a:pt x="101" y="2684"/>
                  </a:cubicBezTo>
                  <a:lnTo>
                    <a:pt x="519" y="2789"/>
                  </a:lnTo>
                  <a:cubicBezTo>
                    <a:pt x="554" y="2904"/>
                    <a:pt x="600" y="3015"/>
                    <a:pt x="657" y="3121"/>
                  </a:cubicBezTo>
                  <a:lnTo>
                    <a:pt x="435" y="3490"/>
                  </a:lnTo>
                  <a:cubicBezTo>
                    <a:pt x="404" y="3543"/>
                    <a:pt x="412" y="3610"/>
                    <a:pt x="455" y="3653"/>
                  </a:cubicBezTo>
                  <a:lnTo>
                    <a:pt x="871" y="4068"/>
                  </a:lnTo>
                  <a:cubicBezTo>
                    <a:pt x="914" y="4112"/>
                    <a:pt x="981" y="4120"/>
                    <a:pt x="1033" y="4088"/>
                  </a:cubicBezTo>
                  <a:lnTo>
                    <a:pt x="1402" y="3867"/>
                  </a:lnTo>
                  <a:cubicBezTo>
                    <a:pt x="1508" y="3924"/>
                    <a:pt x="1620" y="3970"/>
                    <a:pt x="1735" y="4005"/>
                  </a:cubicBezTo>
                  <a:lnTo>
                    <a:pt x="1839" y="4422"/>
                  </a:lnTo>
                  <a:cubicBezTo>
                    <a:pt x="1854" y="4482"/>
                    <a:pt x="1907" y="4523"/>
                    <a:pt x="1968" y="4523"/>
                  </a:cubicBezTo>
                  <a:lnTo>
                    <a:pt x="2556" y="4523"/>
                  </a:lnTo>
                  <a:cubicBezTo>
                    <a:pt x="2617" y="4523"/>
                    <a:pt x="2670" y="4482"/>
                    <a:pt x="2685" y="4422"/>
                  </a:cubicBezTo>
                  <a:lnTo>
                    <a:pt x="2789" y="4005"/>
                  </a:lnTo>
                  <a:cubicBezTo>
                    <a:pt x="2904" y="3970"/>
                    <a:pt x="3016" y="3924"/>
                    <a:pt x="3122" y="3867"/>
                  </a:cubicBezTo>
                  <a:lnTo>
                    <a:pt x="3491" y="4088"/>
                  </a:lnTo>
                  <a:cubicBezTo>
                    <a:pt x="3543" y="4120"/>
                    <a:pt x="3610" y="4112"/>
                    <a:pt x="3654" y="4068"/>
                  </a:cubicBezTo>
                  <a:lnTo>
                    <a:pt x="4069" y="3653"/>
                  </a:lnTo>
                  <a:cubicBezTo>
                    <a:pt x="4112" y="3610"/>
                    <a:pt x="4120" y="3543"/>
                    <a:pt x="4089" y="3490"/>
                  </a:cubicBezTo>
                  <a:lnTo>
                    <a:pt x="3867" y="3121"/>
                  </a:lnTo>
                  <a:cubicBezTo>
                    <a:pt x="3924" y="3015"/>
                    <a:pt x="3971" y="2904"/>
                    <a:pt x="4006" y="2789"/>
                  </a:cubicBezTo>
                  <a:lnTo>
                    <a:pt x="4423" y="2684"/>
                  </a:lnTo>
                  <a:cubicBezTo>
                    <a:pt x="4482" y="2670"/>
                    <a:pt x="4524" y="2616"/>
                    <a:pt x="4524" y="2555"/>
                  </a:cubicBezTo>
                  <a:lnTo>
                    <a:pt x="4524" y="1968"/>
                  </a:lnTo>
                  <a:cubicBezTo>
                    <a:pt x="4524" y="1908"/>
                    <a:pt x="4483" y="1855"/>
                    <a:pt x="4424" y="1839"/>
                  </a:cubicBezTo>
                  <a:close/>
                  <a:moveTo>
                    <a:pt x="4259" y="2452"/>
                  </a:moveTo>
                  <a:lnTo>
                    <a:pt x="3867" y="2550"/>
                  </a:lnTo>
                  <a:cubicBezTo>
                    <a:pt x="3820" y="2562"/>
                    <a:pt x="3782" y="2599"/>
                    <a:pt x="3770" y="2646"/>
                  </a:cubicBezTo>
                  <a:cubicBezTo>
                    <a:pt x="3734" y="2790"/>
                    <a:pt x="3676" y="2929"/>
                    <a:pt x="3600" y="3056"/>
                  </a:cubicBezTo>
                  <a:cubicBezTo>
                    <a:pt x="3575" y="3098"/>
                    <a:pt x="3575" y="3151"/>
                    <a:pt x="3600" y="3193"/>
                  </a:cubicBezTo>
                  <a:lnTo>
                    <a:pt x="3808" y="3539"/>
                  </a:lnTo>
                  <a:lnTo>
                    <a:pt x="3540" y="3808"/>
                  </a:lnTo>
                  <a:lnTo>
                    <a:pt x="3194" y="3600"/>
                  </a:lnTo>
                  <a:cubicBezTo>
                    <a:pt x="3152" y="3575"/>
                    <a:pt x="3100" y="3575"/>
                    <a:pt x="3058" y="3600"/>
                  </a:cubicBezTo>
                  <a:cubicBezTo>
                    <a:pt x="2930" y="3676"/>
                    <a:pt x="2792" y="3733"/>
                    <a:pt x="2648" y="3770"/>
                  </a:cubicBezTo>
                  <a:cubicBezTo>
                    <a:pt x="2600" y="3782"/>
                    <a:pt x="2563" y="3819"/>
                    <a:pt x="2551" y="3867"/>
                  </a:cubicBezTo>
                  <a:lnTo>
                    <a:pt x="2452" y="4258"/>
                  </a:lnTo>
                  <a:lnTo>
                    <a:pt x="2073" y="4258"/>
                  </a:lnTo>
                  <a:lnTo>
                    <a:pt x="1975" y="3867"/>
                  </a:lnTo>
                  <a:cubicBezTo>
                    <a:pt x="1963" y="3819"/>
                    <a:pt x="1926" y="3782"/>
                    <a:pt x="1879" y="3770"/>
                  </a:cubicBezTo>
                  <a:cubicBezTo>
                    <a:pt x="1734" y="3733"/>
                    <a:pt x="1596" y="3676"/>
                    <a:pt x="1468" y="3600"/>
                  </a:cubicBezTo>
                  <a:cubicBezTo>
                    <a:pt x="1426" y="3575"/>
                    <a:pt x="1374" y="3575"/>
                    <a:pt x="1332" y="3600"/>
                  </a:cubicBezTo>
                  <a:lnTo>
                    <a:pt x="986" y="3808"/>
                  </a:lnTo>
                  <a:lnTo>
                    <a:pt x="717" y="3540"/>
                  </a:lnTo>
                  <a:lnTo>
                    <a:pt x="925" y="3194"/>
                  </a:lnTo>
                  <a:cubicBezTo>
                    <a:pt x="950" y="3152"/>
                    <a:pt x="950" y="3099"/>
                    <a:pt x="925" y="3057"/>
                  </a:cubicBezTo>
                  <a:cubicBezTo>
                    <a:pt x="849" y="2929"/>
                    <a:pt x="791" y="2791"/>
                    <a:pt x="755" y="2647"/>
                  </a:cubicBezTo>
                  <a:cubicBezTo>
                    <a:pt x="743" y="2600"/>
                    <a:pt x="705" y="2562"/>
                    <a:pt x="658" y="2551"/>
                  </a:cubicBezTo>
                  <a:lnTo>
                    <a:pt x="267" y="2452"/>
                  </a:lnTo>
                  <a:lnTo>
                    <a:pt x="267" y="2072"/>
                  </a:lnTo>
                  <a:lnTo>
                    <a:pt x="658" y="1974"/>
                  </a:lnTo>
                  <a:cubicBezTo>
                    <a:pt x="706" y="1963"/>
                    <a:pt x="743" y="1926"/>
                    <a:pt x="755" y="1878"/>
                  </a:cubicBezTo>
                  <a:cubicBezTo>
                    <a:pt x="792" y="1734"/>
                    <a:pt x="849" y="1596"/>
                    <a:pt x="925" y="1468"/>
                  </a:cubicBezTo>
                  <a:cubicBezTo>
                    <a:pt x="950" y="1426"/>
                    <a:pt x="950" y="1373"/>
                    <a:pt x="925" y="1331"/>
                  </a:cubicBezTo>
                  <a:lnTo>
                    <a:pt x="717" y="985"/>
                  </a:lnTo>
                  <a:lnTo>
                    <a:pt x="985" y="716"/>
                  </a:lnTo>
                  <a:lnTo>
                    <a:pt x="1331" y="924"/>
                  </a:lnTo>
                  <a:cubicBezTo>
                    <a:pt x="1373" y="949"/>
                    <a:pt x="1426" y="949"/>
                    <a:pt x="1468" y="924"/>
                  </a:cubicBezTo>
                  <a:cubicBezTo>
                    <a:pt x="1595" y="848"/>
                    <a:pt x="1734" y="791"/>
                    <a:pt x="1878" y="754"/>
                  </a:cubicBezTo>
                  <a:cubicBezTo>
                    <a:pt x="1925" y="742"/>
                    <a:pt x="1962" y="705"/>
                    <a:pt x="1974" y="657"/>
                  </a:cubicBezTo>
                  <a:lnTo>
                    <a:pt x="2073" y="266"/>
                  </a:lnTo>
                  <a:lnTo>
                    <a:pt x="2452" y="266"/>
                  </a:lnTo>
                  <a:lnTo>
                    <a:pt x="2550" y="658"/>
                  </a:lnTo>
                  <a:cubicBezTo>
                    <a:pt x="2562" y="705"/>
                    <a:pt x="2599" y="742"/>
                    <a:pt x="2647" y="755"/>
                  </a:cubicBezTo>
                  <a:cubicBezTo>
                    <a:pt x="2791" y="791"/>
                    <a:pt x="2929" y="848"/>
                    <a:pt x="3057" y="925"/>
                  </a:cubicBezTo>
                  <a:cubicBezTo>
                    <a:pt x="3099" y="950"/>
                    <a:pt x="3151" y="950"/>
                    <a:pt x="3193" y="925"/>
                  </a:cubicBezTo>
                  <a:lnTo>
                    <a:pt x="3539" y="717"/>
                  </a:lnTo>
                  <a:lnTo>
                    <a:pt x="3808" y="985"/>
                  </a:lnTo>
                  <a:lnTo>
                    <a:pt x="3600" y="1331"/>
                  </a:lnTo>
                  <a:cubicBezTo>
                    <a:pt x="3575" y="1373"/>
                    <a:pt x="3575" y="1425"/>
                    <a:pt x="3600" y="1467"/>
                  </a:cubicBezTo>
                  <a:cubicBezTo>
                    <a:pt x="3677" y="1595"/>
                    <a:pt x="3734" y="1733"/>
                    <a:pt x="3771" y="1877"/>
                  </a:cubicBezTo>
                  <a:cubicBezTo>
                    <a:pt x="3783" y="1925"/>
                    <a:pt x="3820" y="1962"/>
                    <a:pt x="3867" y="1974"/>
                  </a:cubicBezTo>
                  <a:lnTo>
                    <a:pt x="4259" y="2072"/>
                  </a:lnTo>
                  <a:lnTo>
                    <a:pt x="4259" y="2452"/>
                  </a:lnTo>
                  <a:close/>
                  <a:moveTo>
                    <a:pt x="4259" y="2452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103">
              <a:extLst>
                <a:ext uri="{FF2B5EF4-FFF2-40B4-BE49-F238E27FC236}">
                  <a16:creationId xmlns:a16="http://schemas.microsoft.com/office/drawing/2014/main" id="{47ECC771-050C-4E71-B510-59C69547B2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8" y="1758"/>
              <a:ext cx="47" cy="46"/>
            </a:xfrm>
            <a:custGeom>
              <a:avLst/>
              <a:gdLst>
                <a:gd name="T0" fmla="*/ 1065 w 2129"/>
                <a:gd name="T1" fmla="*/ 0 h 2129"/>
                <a:gd name="T2" fmla="*/ 0 w 2129"/>
                <a:gd name="T3" fmla="*/ 1064 h 2129"/>
                <a:gd name="T4" fmla="*/ 1065 w 2129"/>
                <a:gd name="T5" fmla="*/ 2129 h 2129"/>
                <a:gd name="T6" fmla="*/ 2129 w 2129"/>
                <a:gd name="T7" fmla="*/ 1064 h 2129"/>
                <a:gd name="T8" fmla="*/ 1065 w 2129"/>
                <a:gd name="T9" fmla="*/ 0 h 2129"/>
                <a:gd name="T10" fmla="*/ 1065 w 2129"/>
                <a:gd name="T11" fmla="*/ 1863 h 2129"/>
                <a:gd name="T12" fmla="*/ 266 w 2129"/>
                <a:gd name="T13" fmla="*/ 1064 h 2129"/>
                <a:gd name="T14" fmla="*/ 1065 w 2129"/>
                <a:gd name="T15" fmla="*/ 266 h 2129"/>
                <a:gd name="T16" fmla="*/ 1863 w 2129"/>
                <a:gd name="T17" fmla="*/ 1064 h 2129"/>
                <a:gd name="T18" fmla="*/ 1065 w 2129"/>
                <a:gd name="T19" fmla="*/ 1863 h 2129"/>
                <a:gd name="T20" fmla="*/ 1065 w 2129"/>
                <a:gd name="T21" fmla="*/ 1863 h 2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29" h="2129">
                  <a:moveTo>
                    <a:pt x="1065" y="0"/>
                  </a:moveTo>
                  <a:cubicBezTo>
                    <a:pt x="477" y="0"/>
                    <a:pt x="0" y="476"/>
                    <a:pt x="0" y="1064"/>
                  </a:cubicBezTo>
                  <a:cubicBezTo>
                    <a:pt x="0" y="1652"/>
                    <a:pt x="477" y="2129"/>
                    <a:pt x="1065" y="2129"/>
                  </a:cubicBezTo>
                  <a:cubicBezTo>
                    <a:pt x="1653" y="2129"/>
                    <a:pt x="2129" y="1652"/>
                    <a:pt x="2129" y="1064"/>
                  </a:cubicBezTo>
                  <a:cubicBezTo>
                    <a:pt x="2129" y="476"/>
                    <a:pt x="1652" y="0"/>
                    <a:pt x="1065" y="0"/>
                  </a:cubicBezTo>
                  <a:close/>
                  <a:moveTo>
                    <a:pt x="1065" y="1863"/>
                  </a:moveTo>
                  <a:cubicBezTo>
                    <a:pt x="624" y="1863"/>
                    <a:pt x="266" y="1505"/>
                    <a:pt x="266" y="1064"/>
                  </a:cubicBezTo>
                  <a:cubicBezTo>
                    <a:pt x="266" y="623"/>
                    <a:pt x="624" y="266"/>
                    <a:pt x="1065" y="266"/>
                  </a:cubicBezTo>
                  <a:cubicBezTo>
                    <a:pt x="1506" y="266"/>
                    <a:pt x="1863" y="623"/>
                    <a:pt x="1863" y="1064"/>
                  </a:cubicBezTo>
                  <a:cubicBezTo>
                    <a:pt x="1863" y="1505"/>
                    <a:pt x="1505" y="1862"/>
                    <a:pt x="1065" y="1863"/>
                  </a:cubicBezTo>
                  <a:close/>
                  <a:moveTo>
                    <a:pt x="1065" y="186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104">
              <a:extLst>
                <a:ext uri="{FF2B5EF4-FFF2-40B4-BE49-F238E27FC236}">
                  <a16:creationId xmlns:a16="http://schemas.microsoft.com/office/drawing/2014/main" id="{334A31B6-C7FF-4502-AC4C-4732743BAE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6" y="1692"/>
              <a:ext cx="6" cy="46"/>
            </a:xfrm>
            <a:custGeom>
              <a:avLst/>
              <a:gdLst>
                <a:gd name="T0" fmla="*/ 0 w 266"/>
                <a:gd name="T1" fmla="*/ 0 h 2129"/>
                <a:gd name="T2" fmla="*/ 266 w 266"/>
                <a:gd name="T3" fmla="*/ 0 h 2129"/>
                <a:gd name="T4" fmla="*/ 266 w 266"/>
                <a:gd name="T5" fmla="*/ 2129 h 2129"/>
                <a:gd name="T6" fmla="*/ 0 w 266"/>
                <a:gd name="T7" fmla="*/ 2129 h 2129"/>
                <a:gd name="T8" fmla="*/ 0 w 266"/>
                <a:gd name="T9" fmla="*/ 0 h 2129"/>
                <a:gd name="T10" fmla="*/ 0 w 266"/>
                <a:gd name="T11" fmla="*/ 0 h 2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129">
                  <a:moveTo>
                    <a:pt x="0" y="0"/>
                  </a:moveTo>
                  <a:lnTo>
                    <a:pt x="266" y="0"/>
                  </a:lnTo>
                  <a:lnTo>
                    <a:pt x="266" y="2129"/>
                  </a:lnTo>
                  <a:lnTo>
                    <a:pt x="0" y="2129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105">
              <a:extLst>
                <a:ext uri="{FF2B5EF4-FFF2-40B4-BE49-F238E27FC236}">
                  <a16:creationId xmlns:a16="http://schemas.microsoft.com/office/drawing/2014/main" id="{0FAE85B1-9353-486D-88BF-F89EA85382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3" y="1657"/>
              <a:ext cx="150" cy="162"/>
            </a:xfrm>
            <a:custGeom>
              <a:avLst/>
              <a:gdLst>
                <a:gd name="T0" fmla="*/ 532 w 6919"/>
                <a:gd name="T1" fmla="*/ 7319 h 7452"/>
                <a:gd name="T2" fmla="*/ 3460 w 6919"/>
                <a:gd name="T3" fmla="*/ 7452 h 7452"/>
                <a:gd name="T4" fmla="*/ 798 w 6919"/>
                <a:gd name="T5" fmla="*/ 7186 h 7452"/>
                <a:gd name="T6" fmla="*/ 2395 w 6919"/>
                <a:gd name="T7" fmla="*/ 6787 h 7452"/>
                <a:gd name="T8" fmla="*/ 2987 w 6919"/>
                <a:gd name="T9" fmla="*/ 6507 h 7452"/>
                <a:gd name="T10" fmla="*/ 2987 w 6919"/>
                <a:gd name="T11" fmla="*/ 6269 h 7452"/>
                <a:gd name="T12" fmla="*/ 2395 w 6919"/>
                <a:gd name="T13" fmla="*/ 5988 h 7452"/>
                <a:gd name="T14" fmla="*/ 798 w 6919"/>
                <a:gd name="T15" fmla="*/ 1464 h 7452"/>
                <a:gd name="T16" fmla="*/ 6387 w 6919"/>
                <a:gd name="T17" fmla="*/ 932 h 7452"/>
                <a:gd name="T18" fmla="*/ 6254 w 6919"/>
                <a:gd name="T19" fmla="*/ 532 h 7452"/>
                <a:gd name="T20" fmla="*/ 5855 w 6919"/>
                <a:gd name="T21" fmla="*/ 798 h 7452"/>
                <a:gd name="T22" fmla="*/ 6121 w 6919"/>
                <a:gd name="T23" fmla="*/ 932 h 7452"/>
                <a:gd name="T24" fmla="*/ 5589 w 6919"/>
                <a:gd name="T25" fmla="*/ 932 h 7452"/>
                <a:gd name="T26" fmla="*/ 5855 w 6919"/>
                <a:gd name="T27" fmla="*/ 266 h 7452"/>
                <a:gd name="T28" fmla="*/ 6653 w 6919"/>
                <a:gd name="T29" fmla="*/ 532 h 7452"/>
                <a:gd name="T30" fmla="*/ 6919 w 6919"/>
                <a:gd name="T31" fmla="*/ 3593 h 7452"/>
                <a:gd name="T32" fmla="*/ 6387 w 6919"/>
                <a:gd name="T33" fmla="*/ 0 h 7452"/>
                <a:gd name="T34" fmla="*/ 0 w 6919"/>
                <a:gd name="T35" fmla="*/ 532 h 7452"/>
                <a:gd name="T36" fmla="*/ 532 w 6919"/>
                <a:gd name="T37" fmla="*/ 1464 h 7452"/>
                <a:gd name="T38" fmla="*/ 399 w 6919"/>
                <a:gd name="T39" fmla="*/ 5988 h 7452"/>
                <a:gd name="T40" fmla="*/ 399 w 6919"/>
                <a:gd name="T41" fmla="*/ 6787 h 7452"/>
                <a:gd name="T42" fmla="*/ 266 w 6919"/>
                <a:gd name="T43" fmla="*/ 932 h 7452"/>
                <a:gd name="T44" fmla="*/ 532 w 6919"/>
                <a:gd name="T45" fmla="*/ 266 h 7452"/>
                <a:gd name="T46" fmla="*/ 5323 w 6919"/>
                <a:gd name="T47" fmla="*/ 532 h 7452"/>
                <a:gd name="T48" fmla="*/ 5397 w 6919"/>
                <a:gd name="T49" fmla="*/ 1198 h 7452"/>
                <a:gd name="T50" fmla="*/ 266 w 6919"/>
                <a:gd name="T51" fmla="*/ 932 h 7452"/>
                <a:gd name="T52" fmla="*/ 2364 w 6919"/>
                <a:gd name="T53" fmla="*/ 6521 h 7452"/>
                <a:gd name="T54" fmla="*/ 2262 w 6919"/>
                <a:gd name="T55" fmla="*/ 6254 h 7452"/>
                <a:gd name="T56" fmla="*/ 2630 w 6919"/>
                <a:gd name="T57" fmla="*/ 6388 h 7452"/>
                <a:gd name="T58" fmla="*/ 399 w 6919"/>
                <a:gd name="T59" fmla="*/ 6254 h 7452"/>
                <a:gd name="T60" fmla="*/ 1996 w 6919"/>
                <a:gd name="T61" fmla="*/ 6521 h 7452"/>
                <a:gd name="T62" fmla="*/ 266 w 6919"/>
                <a:gd name="T63" fmla="*/ 6388 h 7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919" h="7452">
                  <a:moveTo>
                    <a:pt x="532" y="6787"/>
                  </a:moveTo>
                  <a:lnTo>
                    <a:pt x="532" y="7319"/>
                  </a:lnTo>
                  <a:cubicBezTo>
                    <a:pt x="532" y="7393"/>
                    <a:pt x="592" y="7452"/>
                    <a:pt x="665" y="7452"/>
                  </a:cubicBezTo>
                  <a:lnTo>
                    <a:pt x="3460" y="7452"/>
                  </a:lnTo>
                  <a:lnTo>
                    <a:pt x="3460" y="7186"/>
                  </a:lnTo>
                  <a:lnTo>
                    <a:pt x="798" y="7186"/>
                  </a:lnTo>
                  <a:lnTo>
                    <a:pt x="798" y="6787"/>
                  </a:lnTo>
                  <a:lnTo>
                    <a:pt x="2395" y="6787"/>
                  </a:lnTo>
                  <a:cubicBezTo>
                    <a:pt x="2416" y="6787"/>
                    <a:pt x="2436" y="6782"/>
                    <a:pt x="2454" y="6773"/>
                  </a:cubicBezTo>
                  <a:lnTo>
                    <a:pt x="2987" y="6507"/>
                  </a:lnTo>
                  <a:cubicBezTo>
                    <a:pt x="3032" y="6485"/>
                    <a:pt x="3060" y="6439"/>
                    <a:pt x="3060" y="6388"/>
                  </a:cubicBezTo>
                  <a:cubicBezTo>
                    <a:pt x="3060" y="6338"/>
                    <a:pt x="3032" y="6292"/>
                    <a:pt x="2987" y="6269"/>
                  </a:cubicBezTo>
                  <a:lnTo>
                    <a:pt x="2454" y="6003"/>
                  </a:lnTo>
                  <a:cubicBezTo>
                    <a:pt x="2436" y="5993"/>
                    <a:pt x="2416" y="5988"/>
                    <a:pt x="2395" y="5988"/>
                  </a:cubicBezTo>
                  <a:lnTo>
                    <a:pt x="798" y="5988"/>
                  </a:lnTo>
                  <a:lnTo>
                    <a:pt x="798" y="1464"/>
                  </a:lnTo>
                  <a:lnTo>
                    <a:pt x="5855" y="1464"/>
                  </a:lnTo>
                  <a:cubicBezTo>
                    <a:pt x="6149" y="1464"/>
                    <a:pt x="6387" y="1225"/>
                    <a:pt x="6387" y="932"/>
                  </a:cubicBezTo>
                  <a:lnTo>
                    <a:pt x="6387" y="665"/>
                  </a:lnTo>
                  <a:cubicBezTo>
                    <a:pt x="6387" y="592"/>
                    <a:pt x="6328" y="532"/>
                    <a:pt x="6254" y="532"/>
                  </a:cubicBezTo>
                  <a:lnTo>
                    <a:pt x="5855" y="532"/>
                  </a:lnTo>
                  <a:lnTo>
                    <a:pt x="5855" y="798"/>
                  </a:lnTo>
                  <a:lnTo>
                    <a:pt x="6121" y="798"/>
                  </a:lnTo>
                  <a:lnTo>
                    <a:pt x="6121" y="932"/>
                  </a:lnTo>
                  <a:cubicBezTo>
                    <a:pt x="6121" y="1078"/>
                    <a:pt x="6002" y="1198"/>
                    <a:pt x="5855" y="1198"/>
                  </a:cubicBezTo>
                  <a:cubicBezTo>
                    <a:pt x="5708" y="1198"/>
                    <a:pt x="5589" y="1078"/>
                    <a:pt x="5589" y="932"/>
                  </a:cubicBezTo>
                  <a:lnTo>
                    <a:pt x="5589" y="532"/>
                  </a:lnTo>
                  <a:cubicBezTo>
                    <a:pt x="5589" y="385"/>
                    <a:pt x="5708" y="266"/>
                    <a:pt x="5855" y="266"/>
                  </a:cubicBezTo>
                  <a:lnTo>
                    <a:pt x="6387" y="266"/>
                  </a:lnTo>
                  <a:cubicBezTo>
                    <a:pt x="6534" y="266"/>
                    <a:pt x="6653" y="385"/>
                    <a:pt x="6653" y="532"/>
                  </a:cubicBezTo>
                  <a:lnTo>
                    <a:pt x="6653" y="3593"/>
                  </a:lnTo>
                  <a:lnTo>
                    <a:pt x="6919" y="3593"/>
                  </a:lnTo>
                  <a:lnTo>
                    <a:pt x="6919" y="532"/>
                  </a:lnTo>
                  <a:cubicBezTo>
                    <a:pt x="6919" y="238"/>
                    <a:pt x="6681" y="0"/>
                    <a:pt x="6387" y="0"/>
                  </a:cubicBezTo>
                  <a:lnTo>
                    <a:pt x="532" y="0"/>
                  </a:lnTo>
                  <a:cubicBezTo>
                    <a:pt x="238" y="0"/>
                    <a:pt x="0" y="238"/>
                    <a:pt x="0" y="532"/>
                  </a:cubicBezTo>
                  <a:lnTo>
                    <a:pt x="0" y="932"/>
                  </a:lnTo>
                  <a:cubicBezTo>
                    <a:pt x="0" y="1225"/>
                    <a:pt x="238" y="1464"/>
                    <a:pt x="532" y="1464"/>
                  </a:cubicBezTo>
                  <a:lnTo>
                    <a:pt x="532" y="5988"/>
                  </a:lnTo>
                  <a:lnTo>
                    <a:pt x="399" y="5988"/>
                  </a:lnTo>
                  <a:cubicBezTo>
                    <a:pt x="178" y="5988"/>
                    <a:pt x="0" y="6167"/>
                    <a:pt x="0" y="6388"/>
                  </a:cubicBezTo>
                  <a:cubicBezTo>
                    <a:pt x="0" y="6608"/>
                    <a:pt x="178" y="6787"/>
                    <a:pt x="399" y="6787"/>
                  </a:cubicBezTo>
                  <a:lnTo>
                    <a:pt x="532" y="6787"/>
                  </a:lnTo>
                  <a:close/>
                  <a:moveTo>
                    <a:pt x="266" y="932"/>
                  </a:moveTo>
                  <a:lnTo>
                    <a:pt x="266" y="532"/>
                  </a:lnTo>
                  <a:cubicBezTo>
                    <a:pt x="266" y="385"/>
                    <a:pt x="385" y="266"/>
                    <a:pt x="532" y="266"/>
                  </a:cubicBezTo>
                  <a:lnTo>
                    <a:pt x="5397" y="266"/>
                  </a:lnTo>
                  <a:cubicBezTo>
                    <a:pt x="5349" y="347"/>
                    <a:pt x="5323" y="439"/>
                    <a:pt x="5323" y="532"/>
                  </a:cubicBezTo>
                  <a:lnTo>
                    <a:pt x="5323" y="932"/>
                  </a:lnTo>
                  <a:cubicBezTo>
                    <a:pt x="5323" y="1025"/>
                    <a:pt x="5349" y="1117"/>
                    <a:pt x="5397" y="1198"/>
                  </a:cubicBezTo>
                  <a:lnTo>
                    <a:pt x="532" y="1198"/>
                  </a:lnTo>
                  <a:cubicBezTo>
                    <a:pt x="385" y="1198"/>
                    <a:pt x="266" y="1078"/>
                    <a:pt x="266" y="932"/>
                  </a:cubicBezTo>
                  <a:close/>
                  <a:moveTo>
                    <a:pt x="2630" y="6388"/>
                  </a:moveTo>
                  <a:lnTo>
                    <a:pt x="2364" y="6521"/>
                  </a:lnTo>
                  <a:lnTo>
                    <a:pt x="2262" y="6521"/>
                  </a:lnTo>
                  <a:lnTo>
                    <a:pt x="2262" y="6254"/>
                  </a:lnTo>
                  <a:lnTo>
                    <a:pt x="2364" y="6254"/>
                  </a:lnTo>
                  <a:lnTo>
                    <a:pt x="2630" y="6388"/>
                  </a:lnTo>
                  <a:close/>
                  <a:moveTo>
                    <a:pt x="266" y="6388"/>
                  </a:moveTo>
                  <a:cubicBezTo>
                    <a:pt x="266" y="6314"/>
                    <a:pt x="325" y="6254"/>
                    <a:pt x="399" y="6254"/>
                  </a:cubicBezTo>
                  <a:lnTo>
                    <a:pt x="1996" y="6254"/>
                  </a:lnTo>
                  <a:lnTo>
                    <a:pt x="1996" y="6521"/>
                  </a:lnTo>
                  <a:lnTo>
                    <a:pt x="399" y="6521"/>
                  </a:lnTo>
                  <a:cubicBezTo>
                    <a:pt x="325" y="6521"/>
                    <a:pt x="266" y="6461"/>
                    <a:pt x="266" y="6388"/>
                  </a:cubicBezTo>
                  <a:close/>
                  <a:moveTo>
                    <a:pt x="266" y="638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106">
              <a:extLst>
                <a:ext uri="{FF2B5EF4-FFF2-40B4-BE49-F238E27FC236}">
                  <a16:creationId xmlns:a16="http://schemas.microsoft.com/office/drawing/2014/main" id="{31C518AA-CA5E-418D-A949-11305CBA1F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3" y="1700"/>
              <a:ext cx="6" cy="58"/>
            </a:xfrm>
            <a:custGeom>
              <a:avLst/>
              <a:gdLst>
                <a:gd name="T0" fmla="*/ 0 w 266"/>
                <a:gd name="T1" fmla="*/ 0 h 2662"/>
                <a:gd name="T2" fmla="*/ 266 w 266"/>
                <a:gd name="T3" fmla="*/ 0 h 2662"/>
                <a:gd name="T4" fmla="*/ 266 w 266"/>
                <a:gd name="T5" fmla="*/ 2662 h 2662"/>
                <a:gd name="T6" fmla="*/ 0 w 266"/>
                <a:gd name="T7" fmla="*/ 2662 h 2662"/>
                <a:gd name="T8" fmla="*/ 0 w 266"/>
                <a:gd name="T9" fmla="*/ 0 h 2662"/>
                <a:gd name="T10" fmla="*/ 0 w 266"/>
                <a:gd name="T11" fmla="*/ 0 h 2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662">
                  <a:moveTo>
                    <a:pt x="0" y="0"/>
                  </a:moveTo>
                  <a:lnTo>
                    <a:pt x="266" y="0"/>
                  </a:lnTo>
                  <a:lnTo>
                    <a:pt x="266" y="2662"/>
                  </a:lnTo>
                  <a:lnTo>
                    <a:pt x="0" y="2662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107">
              <a:extLst>
                <a:ext uri="{FF2B5EF4-FFF2-40B4-BE49-F238E27FC236}">
                  <a16:creationId xmlns:a16="http://schemas.microsoft.com/office/drawing/2014/main" id="{39A7318A-3563-473C-9096-892F598609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9" y="1694"/>
              <a:ext cx="87" cy="38"/>
            </a:xfrm>
            <a:custGeom>
              <a:avLst/>
              <a:gdLst>
                <a:gd name="T0" fmla="*/ 4015 w 4015"/>
                <a:gd name="T1" fmla="*/ 410 h 1741"/>
                <a:gd name="T2" fmla="*/ 4015 w 4015"/>
                <a:gd name="T3" fmla="*/ 144 h 1741"/>
                <a:gd name="T4" fmla="*/ 2285 w 4015"/>
                <a:gd name="T5" fmla="*/ 144 h 1741"/>
                <a:gd name="T6" fmla="*/ 2190 w 4015"/>
                <a:gd name="T7" fmla="*/ 183 h 1741"/>
                <a:gd name="T8" fmla="*/ 1947 w 4015"/>
                <a:gd name="T9" fmla="*/ 426 h 1741"/>
                <a:gd name="T10" fmla="*/ 52 w 4015"/>
                <a:gd name="T11" fmla="*/ 573 h 1741"/>
                <a:gd name="T12" fmla="*/ 52 w 4015"/>
                <a:gd name="T13" fmla="*/ 761 h 1741"/>
                <a:gd name="T14" fmla="*/ 993 w 4015"/>
                <a:gd name="T15" fmla="*/ 1702 h 1741"/>
                <a:gd name="T16" fmla="*/ 1087 w 4015"/>
                <a:gd name="T17" fmla="*/ 1741 h 1741"/>
                <a:gd name="T18" fmla="*/ 2418 w 4015"/>
                <a:gd name="T19" fmla="*/ 1741 h 1741"/>
                <a:gd name="T20" fmla="*/ 2551 w 4015"/>
                <a:gd name="T21" fmla="*/ 1608 h 1741"/>
                <a:gd name="T22" fmla="*/ 2148 w 4015"/>
                <a:gd name="T23" fmla="*/ 602 h 1741"/>
                <a:gd name="T24" fmla="*/ 2340 w 4015"/>
                <a:gd name="T25" fmla="*/ 410 h 1741"/>
                <a:gd name="T26" fmla="*/ 4015 w 4015"/>
                <a:gd name="T27" fmla="*/ 410 h 1741"/>
                <a:gd name="T28" fmla="*/ 2277 w 4015"/>
                <a:gd name="T29" fmla="*/ 1475 h 1741"/>
                <a:gd name="T30" fmla="*/ 1142 w 4015"/>
                <a:gd name="T31" fmla="*/ 1475 h 1741"/>
                <a:gd name="T32" fmla="*/ 339 w 4015"/>
                <a:gd name="T33" fmla="*/ 672 h 1741"/>
                <a:gd name="T34" fmla="*/ 1757 w 4015"/>
                <a:gd name="T35" fmla="*/ 617 h 1741"/>
                <a:gd name="T36" fmla="*/ 1392 w 4015"/>
                <a:gd name="T37" fmla="*/ 981 h 1741"/>
                <a:gd name="T38" fmla="*/ 1580 w 4015"/>
                <a:gd name="T39" fmla="*/ 1170 h 1741"/>
                <a:gd name="T40" fmla="*/ 1960 w 4015"/>
                <a:gd name="T41" fmla="*/ 790 h 1741"/>
                <a:gd name="T42" fmla="*/ 2277 w 4015"/>
                <a:gd name="T43" fmla="*/ 1475 h 1741"/>
                <a:gd name="T44" fmla="*/ 2277 w 4015"/>
                <a:gd name="T45" fmla="*/ 1475 h 1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15" h="1741">
                  <a:moveTo>
                    <a:pt x="4015" y="410"/>
                  </a:moveTo>
                  <a:lnTo>
                    <a:pt x="4015" y="144"/>
                  </a:lnTo>
                  <a:lnTo>
                    <a:pt x="2285" y="144"/>
                  </a:lnTo>
                  <a:cubicBezTo>
                    <a:pt x="2249" y="144"/>
                    <a:pt x="2215" y="158"/>
                    <a:pt x="2190" y="183"/>
                  </a:cubicBezTo>
                  <a:lnTo>
                    <a:pt x="1947" y="426"/>
                  </a:lnTo>
                  <a:cubicBezTo>
                    <a:pt x="1366" y="0"/>
                    <a:pt x="561" y="62"/>
                    <a:pt x="52" y="573"/>
                  </a:cubicBezTo>
                  <a:cubicBezTo>
                    <a:pt x="0" y="624"/>
                    <a:pt x="0" y="709"/>
                    <a:pt x="52" y="761"/>
                  </a:cubicBezTo>
                  <a:lnTo>
                    <a:pt x="993" y="1702"/>
                  </a:lnTo>
                  <a:cubicBezTo>
                    <a:pt x="1018" y="1727"/>
                    <a:pt x="1052" y="1741"/>
                    <a:pt x="1087" y="1741"/>
                  </a:cubicBezTo>
                  <a:lnTo>
                    <a:pt x="2418" y="1741"/>
                  </a:lnTo>
                  <a:cubicBezTo>
                    <a:pt x="2491" y="1741"/>
                    <a:pt x="2551" y="1681"/>
                    <a:pt x="2551" y="1608"/>
                  </a:cubicBezTo>
                  <a:cubicBezTo>
                    <a:pt x="2551" y="1233"/>
                    <a:pt x="2406" y="873"/>
                    <a:pt x="2148" y="602"/>
                  </a:cubicBezTo>
                  <a:lnTo>
                    <a:pt x="2340" y="410"/>
                  </a:lnTo>
                  <a:lnTo>
                    <a:pt x="4015" y="410"/>
                  </a:lnTo>
                  <a:close/>
                  <a:moveTo>
                    <a:pt x="2277" y="1475"/>
                  </a:moveTo>
                  <a:lnTo>
                    <a:pt x="1142" y="1475"/>
                  </a:lnTo>
                  <a:lnTo>
                    <a:pt x="339" y="672"/>
                  </a:lnTo>
                  <a:cubicBezTo>
                    <a:pt x="748" y="344"/>
                    <a:pt x="1323" y="322"/>
                    <a:pt x="1757" y="617"/>
                  </a:cubicBezTo>
                  <a:lnTo>
                    <a:pt x="1392" y="981"/>
                  </a:lnTo>
                  <a:lnTo>
                    <a:pt x="1580" y="1170"/>
                  </a:lnTo>
                  <a:lnTo>
                    <a:pt x="1960" y="790"/>
                  </a:lnTo>
                  <a:cubicBezTo>
                    <a:pt x="2137" y="978"/>
                    <a:pt x="2248" y="1218"/>
                    <a:pt x="2277" y="1475"/>
                  </a:cubicBezTo>
                  <a:close/>
                  <a:moveTo>
                    <a:pt x="2277" y="1475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108">
              <a:extLst>
                <a:ext uri="{FF2B5EF4-FFF2-40B4-BE49-F238E27FC236}">
                  <a16:creationId xmlns:a16="http://schemas.microsoft.com/office/drawing/2014/main" id="{44D0EF34-6A9E-4A2E-8A00-ABD1DFA990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51" y="1697"/>
              <a:ext cx="6" cy="6"/>
            </a:xfrm>
            <a:custGeom>
              <a:avLst/>
              <a:gdLst>
                <a:gd name="T0" fmla="*/ 0 w 266"/>
                <a:gd name="T1" fmla="*/ 0 h 266"/>
                <a:gd name="T2" fmla="*/ 266 w 266"/>
                <a:gd name="T3" fmla="*/ 0 h 266"/>
                <a:gd name="T4" fmla="*/ 266 w 266"/>
                <a:gd name="T5" fmla="*/ 266 h 266"/>
                <a:gd name="T6" fmla="*/ 0 w 266"/>
                <a:gd name="T7" fmla="*/ 266 h 266"/>
                <a:gd name="T8" fmla="*/ 0 w 266"/>
                <a:gd name="T9" fmla="*/ 0 h 266"/>
                <a:gd name="T10" fmla="*/ 0 w 266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266" y="0"/>
                  </a:lnTo>
                  <a:lnTo>
                    <a:pt x="266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109">
              <a:extLst>
                <a:ext uri="{FF2B5EF4-FFF2-40B4-BE49-F238E27FC236}">
                  <a16:creationId xmlns:a16="http://schemas.microsoft.com/office/drawing/2014/main" id="{BC8C91F1-74E8-445C-81B1-A4C5C7752F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65" y="1741"/>
              <a:ext cx="6" cy="5"/>
            </a:xfrm>
            <a:custGeom>
              <a:avLst/>
              <a:gdLst>
                <a:gd name="T0" fmla="*/ 0 w 267"/>
                <a:gd name="T1" fmla="*/ 0 h 266"/>
                <a:gd name="T2" fmla="*/ 267 w 267"/>
                <a:gd name="T3" fmla="*/ 0 h 266"/>
                <a:gd name="T4" fmla="*/ 267 w 267"/>
                <a:gd name="T5" fmla="*/ 266 h 266"/>
                <a:gd name="T6" fmla="*/ 0 w 267"/>
                <a:gd name="T7" fmla="*/ 266 h 266"/>
                <a:gd name="T8" fmla="*/ 0 w 267"/>
                <a:gd name="T9" fmla="*/ 0 h 266"/>
                <a:gd name="T10" fmla="*/ 0 w 267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6">
                  <a:moveTo>
                    <a:pt x="0" y="0"/>
                  </a:moveTo>
                  <a:lnTo>
                    <a:pt x="267" y="0"/>
                  </a:lnTo>
                  <a:lnTo>
                    <a:pt x="267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110">
              <a:extLst>
                <a:ext uri="{FF2B5EF4-FFF2-40B4-BE49-F238E27FC236}">
                  <a16:creationId xmlns:a16="http://schemas.microsoft.com/office/drawing/2014/main" id="{FD69FB3C-AA8B-45E3-AF28-FDD340134B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77" y="1741"/>
              <a:ext cx="28" cy="5"/>
            </a:xfrm>
            <a:custGeom>
              <a:avLst/>
              <a:gdLst>
                <a:gd name="T0" fmla="*/ 0 w 1330"/>
                <a:gd name="T1" fmla="*/ 0 h 266"/>
                <a:gd name="T2" fmla="*/ 1330 w 1330"/>
                <a:gd name="T3" fmla="*/ 0 h 266"/>
                <a:gd name="T4" fmla="*/ 1330 w 1330"/>
                <a:gd name="T5" fmla="*/ 266 h 266"/>
                <a:gd name="T6" fmla="*/ 0 w 1330"/>
                <a:gd name="T7" fmla="*/ 266 h 266"/>
                <a:gd name="T8" fmla="*/ 0 w 1330"/>
                <a:gd name="T9" fmla="*/ 0 h 266"/>
                <a:gd name="T10" fmla="*/ 0 w 1330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0" h="266">
                  <a:moveTo>
                    <a:pt x="0" y="0"/>
                  </a:moveTo>
                  <a:lnTo>
                    <a:pt x="1330" y="0"/>
                  </a:lnTo>
                  <a:lnTo>
                    <a:pt x="1330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111">
              <a:extLst>
                <a:ext uri="{FF2B5EF4-FFF2-40B4-BE49-F238E27FC236}">
                  <a16:creationId xmlns:a16="http://schemas.microsoft.com/office/drawing/2014/main" id="{41AA8E1C-3F97-4D4F-83C7-D66AF3EDD0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9" y="1752"/>
              <a:ext cx="46" cy="6"/>
            </a:xfrm>
            <a:custGeom>
              <a:avLst/>
              <a:gdLst>
                <a:gd name="T0" fmla="*/ 0 w 2129"/>
                <a:gd name="T1" fmla="*/ 0 h 267"/>
                <a:gd name="T2" fmla="*/ 2129 w 2129"/>
                <a:gd name="T3" fmla="*/ 0 h 267"/>
                <a:gd name="T4" fmla="*/ 2129 w 2129"/>
                <a:gd name="T5" fmla="*/ 267 h 267"/>
                <a:gd name="T6" fmla="*/ 0 w 2129"/>
                <a:gd name="T7" fmla="*/ 267 h 267"/>
                <a:gd name="T8" fmla="*/ 0 w 2129"/>
                <a:gd name="T9" fmla="*/ 0 h 267"/>
                <a:gd name="T10" fmla="*/ 0 w 2129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29" h="267">
                  <a:moveTo>
                    <a:pt x="0" y="0"/>
                  </a:moveTo>
                  <a:lnTo>
                    <a:pt x="2129" y="0"/>
                  </a:lnTo>
                  <a:lnTo>
                    <a:pt x="2129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112">
              <a:extLst>
                <a:ext uri="{FF2B5EF4-FFF2-40B4-BE49-F238E27FC236}">
                  <a16:creationId xmlns:a16="http://schemas.microsoft.com/office/drawing/2014/main" id="{5CC41F48-FD91-484B-B2F5-203891EA32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3" y="1709"/>
              <a:ext cx="5" cy="6"/>
            </a:xfrm>
            <a:custGeom>
              <a:avLst/>
              <a:gdLst>
                <a:gd name="T0" fmla="*/ 0 w 266"/>
                <a:gd name="T1" fmla="*/ 0 h 266"/>
                <a:gd name="T2" fmla="*/ 266 w 266"/>
                <a:gd name="T3" fmla="*/ 0 h 266"/>
                <a:gd name="T4" fmla="*/ 266 w 266"/>
                <a:gd name="T5" fmla="*/ 266 h 266"/>
                <a:gd name="T6" fmla="*/ 0 w 266"/>
                <a:gd name="T7" fmla="*/ 266 h 266"/>
                <a:gd name="T8" fmla="*/ 0 w 266"/>
                <a:gd name="T9" fmla="*/ 0 h 266"/>
                <a:gd name="T10" fmla="*/ 0 w 266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266" y="0"/>
                  </a:lnTo>
                  <a:lnTo>
                    <a:pt x="266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113">
              <a:extLst>
                <a:ext uri="{FF2B5EF4-FFF2-40B4-BE49-F238E27FC236}">
                  <a16:creationId xmlns:a16="http://schemas.microsoft.com/office/drawing/2014/main" id="{090598D3-85BD-4C00-BE24-28E8150B5B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4" y="1709"/>
              <a:ext cx="23" cy="6"/>
            </a:xfrm>
            <a:custGeom>
              <a:avLst/>
              <a:gdLst>
                <a:gd name="T0" fmla="*/ 0 w 1065"/>
                <a:gd name="T1" fmla="*/ 0 h 266"/>
                <a:gd name="T2" fmla="*/ 1065 w 1065"/>
                <a:gd name="T3" fmla="*/ 0 h 266"/>
                <a:gd name="T4" fmla="*/ 1065 w 1065"/>
                <a:gd name="T5" fmla="*/ 266 h 266"/>
                <a:gd name="T6" fmla="*/ 0 w 1065"/>
                <a:gd name="T7" fmla="*/ 266 h 266"/>
                <a:gd name="T8" fmla="*/ 0 w 1065"/>
                <a:gd name="T9" fmla="*/ 0 h 266"/>
                <a:gd name="T10" fmla="*/ 0 w 1065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5" h="266">
                  <a:moveTo>
                    <a:pt x="0" y="0"/>
                  </a:moveTo>
                  <a:lnTo>
                    <a:pt x="1065" y="0"/>
                  </a:lnTo>
                  <a:lnTo>
                    <a:pt x="1065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114">
              <a:extLst>
                <a:ext uri="{FF2B5EF4-FFF2-40B4-BE49-F238E27FC236}">
                  <a16:creationId xmlns:a16="http://schemas.microsoft.com/office/drawing/2014/main" id="{E73E7610-28DF-4D13-AFCC-717AC404DA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3" y="1720"/>
              <a:ext cx="34" cy="6"/>
            </a:xfrm>
            <a:custGeom>
              <a:avLst/>
              <a:gdLst>
                <a:gd name="T0" fmla="*/ 0 w 1597"/>
                <a:gd name="T1" fmla="*/ 0 h 266"/>
                <a:gd name="T2" fmla="*/ 1597 w 1597"/>
                <a:gd name="T3" fmla="*/ 0 h 266"/>
                <a:gd name="T4" fmla="*/ 1597 w 1597"/>
                <a:gd name="T5" fmla="*/ 266 h 266"/>
                <a:gd name="T6" fmla="*/ 0 w 1597"/>
                <a:gd name="T7" fmla="*/ 266 h 266"/>
                <a:gd name="T8" fmla="*/ 0 w 1597"/>
                <a:gd name="T9" fmla="*/ 0 h 266"/>
                <a:gd name="T10" fmla="*/ 0 w 1597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97" h="266">
                  <a:moveTo>
                    <a:pt x="0" y="0"/>
                  </a:moveTo>
                  <a:lnTo>
                    <a:pt x="1597" y="0"/>
                  </a:lnTo>
                  <a:lnTo>
                    <a:pt x="1597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115">
              <a:extLst>
                <a:ext uri="{FF2B5EF4-FFF2-40B4-BE49-F238E27FC236}">
                  <a16:creationId xmlns:a16="http://schemas.microsoft.com/office/drawing/2014/main" id="{4E610740-DFB4-4BC1-B19D-FF8E92A49C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9" y="1764"/>
              <a:ext cx="38" cy="5"/>
            </a:xfrm>
            <a:custGeom>
              <a:avLst/>
              <a:gdLst>
                <a:gd name="T0" fmla="*/ 0 w 1730"/>
                <a:gd name="T1" fmla="*/ 0 h 266"/>
                <a:gd name="T2" fmla="*/ 1730 w 1730"/>
                <a:gd name="T3" fmla="*/ 0 h 266"/>
                <a:gd name="T4" fmla="*/ 1730 w 1730"/>
                <a:gd name="T5" fmla="*/ 266 h 266"/>
                <a:gd name="T6" fmla="*/ 0 w 1730"/>
                <a:gd name="T7" fmla="*/ 266 h 266"/>
                <a:gd name="T8" fmla="*/ 0 w 1730"/>
                <a:gd name="T9" fmla="*/ 0 h 266"/>
                <a:gd name="T10" fmla="*/ 0 w 1730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30" h="266">
                  <a:moveTo>
                    <a:pt x="0" y="0"/>
                  </a:moveTo>
                  <a:lnTo>
                    <a:pt x="1730" y="0"/>
                  </a:lnTo>
                  <a:lnTo>
                    <a:pt x="1730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4" name="object 15">
            <a:extLst>
              <a:ext uri="{FF2B5EF4-FFF2-40B4-BE49-F238E27FC236}">
                <a16:creationId xmlns:a16="http://schemas.microsoft.com/office/drawing/2014/main" id="{D43EB41F-CD9D-489C-A15F-449C04B1586D}"/>
              </a:ext>
            </a:extLst>
          </p:cNvPr>
          <p:cNvSpPr txBox="1"/>
          <p:nvPr/>
        </p:nvSpPr>
        <p:spPr>
          <a:xfrm>
            <a:off x="7034987" y="4123223"/>
            <a:ext cx="4760667" cy="167189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Ташкилотда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белгиланган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комплаенс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талабларига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риоя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этилишини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uz-Cyrl-UZ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мониторинг</a:t>
            </a:r>
            <a:r>
              <a:rPr lang="en-US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қилиш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соҳалари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албий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қибатларсиз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узилиш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омувофиқлик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вжудлиг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Комплаенс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лаблари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иоя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илиш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Комплаенс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қсадлари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эришиш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Комплаенс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даният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олат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75" name="object 12">
            <a:extLst>
              <a:ext uri="{FF2B5EF4-FFF2-40B4-BE49-F238E27FC236}">
                <a16:creationId xmlns:a16="http://schemas.microsoft.com/office/drawing/2014/main" id="{6F787F4B-63D6-44C4-8E13-F0EE954A61C5}"/>
              </a:ext>
            </a:extLst>
          </p:cNvPr>
          <p:cNvSpPr/>
          <p:nvPr/>
        </p:nvSpPr>
        <p:spPr>
          <a:xfrm>
            <a:off x="6180020" y="388156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2EC3917E-7297-4F40-9E02-2F6525AFEBA8}"/>
              </a:ext>
            </a:extLst>
          </p:cNvPr>
          <p:cNvGrpSpPr/>
          <p:nvPr/>
        </p:nvGrpSpPr>
        <p:grpSpPr>
          <a:xfrm>
            <a:off x="6168399" y="3985907"/>
            <a:ext cx="486235" cy="486235"/>
            <a:chOff x="3101975" y="2686050"/>
            <a:chExt cx="857250" cy="857250"/>
          </a:xfrm>
          <a:solidFill>
            <a:schemeClr val="bg2">
              <a:lumMod val="25000"/>
            </a:schemeClr>
          </a:solidFill>
        </p:grpSpPr>
        <p:sp>
          <p:nvSpPr>
            <p:cNvPr id="92" name="Freeform 111">
              <a:extLst>
                <a:ext uri="{FF2B5EF4-FFF2-40B4-BE49-F238E27FC236}">
                  <a16:creationId xmlns:a16="http://schemas.microsoft.com/office/drawing/2014/main" id="{5CAD87BD-8227-476E-975D-1E2AB28279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1975" y="2686050"/>
              <a:ext cx="857250" cy="857250"/>
            </a:xfrm>
            <a:custGeom>
              <a:avLst/>
              <a:gdLst>
                <a:gd name="T0" fmla="*/ 7515 w 8267"/>
                <a:gd name="T1" fmla="*/ 2933 h 8267"/>
                <a:gd name="T2" fmla="*/ 6267 w 8267"/>
                <a:gd name="T3" fmla="*/ 0 h 8267"/>
                <a:gd name="T4" fmla="*/ 5019 w 8267"/>
                <a:gd name="T5" fmla="*/ 2933 h 8267"/>
                <a:gd name="T6" fmla="*/ 4267 w 8267"/>
                <a:gd name="T7" fmla="*/ 933 h 8267"/>
                <a:gd name="T8" fmla="*/ 3428 w 8267"/>
                <a:gd name="T9" fmla="*/ 39 h 8267"/>
                <a:gd name="T10" fmla="*/ 133 w 8267"/>
                <a:gd name="T11" fmla="*/ 0 h 8267"/>
                <a:gd name="T12" fmla="*/ 0 w 8267"/>
                <a:gd name="T13" fmla="*/ 5200 h 8267"/>
                <a:gd name="T14" fmla="*/ 1067 w 8267"/>
                <a:gd name="T15" fmla="*/ 5333 h 8267"/>
                <a:gd name="T16" fmla="*/ 1467 w 8267"/>
                <a:gd name="T17" fmla="*/ 6933 h 8267"/>
                <a:gd name="T18" fmla="*/ 4133 w 8267"/>
                <a:gd name="T19" fmla="*/ 7467 h 8267"/>
                <a:gd name="T20" fmla="*/ 2800 w 8267"/>
                <a:gd name="T21" fmla="*/ 8133 h 8267"/>
                <a:gd name="T22" fmla="*/ 6400 w 8267"/>
                <a:gd name="T23" fmla="*/ 8267 h 8267"/>
                <a:gd name="T24" fmla="*/ 5867 w 8267"/>
                <a:gd name="T25" fmla="*/ 7467 h 8267"/>
                <a:gd name="T26" fmla="*/ 5200 w 8267"/>
                <a:gd name="T27" fmla="*/ 6933 h 8267"/>
                <a:gd name="T28" fmla="*/ 8267 w 8267"/>
                <a:gd name="T29" fmla="*/ 6533 h 8267"/>
                <a:gd name="T30" fmla="*/ 7867 w 8267"/>
                <a:gd name="T31" fmla="*/ 2933 h 8267"/>
                <a:gd name="T32" fmla="*/ 7733 w 8267"/>
                <a:gd name="T33" fmla="*/ 1733 h 8267"/>
                <a:gd name="T34" fmla="*/ 4800 w 8267"/>
                <a:gd name="T35" fmla="*/ 1733 h 8267"/>
                <a:gd name="T36" fmla="*/ 6000 w 8267"/>
                <a:gd name="T37" fmla="*/ 4533 h 8267"/>
                <a:gd name="T38" fmla="*/ 6533 w 8267"/>
                <a:gd name="T39" fmla="*/ 5867 h 8267"/>
                <a:gd name="T40" fmla="*/ 6000 w 8267"/>
                <a:gd name="T41" fmla="*/ 5867 h 8267"/>
                <a:gd name="T42" fmla="*/ 6000 w 8267"/>
                <a:gd name="T43" fmla="*/ 4267 h 8267"/>
                <a:gd name="T44" fmla="*/ 6533 w 8267"/>
                <a:gd name="T45" fmla="*/ 4000 h 8267"/>
                <a:gd name="T46" fmla="*/ 6000 w 8267"/>
                <a:gd name="T47" fmla="*/ 4267 h 8267"/>
                <a:gd name="T48" fmla="*/ 6000 w 8267"/>
                <a:gd name="T49" fmla="*/ 3733 h 8267"/>
                <a:gd name="T50" fmla="*/ 6267 w 8267"/>
                <a:gd name="T51" fmla="*/ 3467 h 8267"/>
                <a:gd name="T52" fmla="*/ 6533 w 8267"/>
                <a:gd name="T53" fmla="*/ 3733 h 8267"/>
                <a:gd name="T54" fmla="*/ 5733 w 8267"/>
                <a:gd name="T55" fmla="*/ 3382 h 8267"/>
                <a:gd name="T56" fmla="*/ 4267 w 8267"/>
                <a:gd name="T57" fmla="*/ 3467 h 8267"/>
                <a:gd name="T58" fmla="*/ 5347 w 8267"/>
                <a:gd name="T59" fmla="*/ 3200 h 8267"/>
                <a:gd name="T60" fmla="*/ 3811 w 8267"/>
                <a:gd name="T61" fmla="*/ 800 h 8267"/>
                <a:gd name="T62" fmla="*/ 3467 w 8267"/>
                <a:gd name="T63" fmla="*/ 455 h 8267"/>
                <a:gd name="T64" fmla="*/ 3200 w 8267"/>
                <a:gd name="T65" fmla="*/ 267 h 8267"/>
                <a:gd name="T66" fmla="*/ 3333 w 8267"/>
                <a:gd name="T67" fmla="*/ 1067 h 8267"/>
                <a:gd name="T68" fmla="*/ 4000 w 8267"/>
                <a:gd name="T69" fmla="*/ 5067 h 8267"/>
                <a:gd name="T70" fmla="*/ 267 w 8267"/>
                <a:gd name="T71" fmla="*/ 267 h 8267"/>
                <a:gd name="T72" fmla="*/ 3089 w 8267"/>
                <a:gd name="T73" fmla="*/ 8000 h 8267"/>
                <a:gd name="T74" fmla="*/ 5867 w 8267"/>
                <a:gd name="T75" fmla="*/ 7733 h 8267"/>
                <a:gd name="T76" fmla="*/ 4933 w 8267"/>
                <a:gd name="T77" fmla="*/ 7467 h 8267"/>
                <a:gd name="T78" fmla="*/ 4400 w 8267"/>
                <a:gd name="T79" fmla="*/ 6933 h 8267"/>
                <a:gd name="T80" fmla="*/ 4933 w 8267"/>
                <a:gd name="T81" fmla="*/ 7467 h 8267"/>
                <a:gd name="T82" fmla="*/ 7867 w 8267"/>
                <a:gd name="T83" fmla="*/ 6667 h 8267"/>
                <a:gd name="T84" fmla="*/ 1333 w 8267"/>
                <a:gd name="T85" fmla="*/ 6533 h 8267"/>
                <a:gd name="T86" fmla="*/ 1600 w 8267"/>
                <a:gd name="T87" fmla="*/ 5333 h 8267"/>
                <a:gd name="T88" fmla="*/ 1733 w 8267"/>
                <a:gd name="T89" fmla="*/ 6400 h 8267"/>
                <a:gd name="T90" fmla="*/ 5467 w 8267"/>
                <a:gd name="T91" fmla="*/ 6133 h 8267"/>
                <a:gd name="T92" fmla="*/ 1867 w 8267"/>
                <a:gd name="T93" fmla="*/ 5333 h 8267"/>
                <a:gd name="T94" fmla="*/ 4267 w 8267"/>
                <a:gd name="T95" fmla="*/ 5200 h 8267"/>
                <a:gd name="T96" fmla="*/ 5733 w 8267"/>
                <a:gd name="T97" fmla="*/ 3733 h 8267"/>
                <a:gd name="T98" fmla="*/ 5467 w 8267"/>
                <a:gd name="T99" fmla="*/ 4267 h 8267"/>
                <a:gd name="T100" fmla="*/ 5733 w 8267"/>
                <a:gd name="T101" fmla="*/ 4533 h 8267"/>
                <a:gd name="T102" fmla="*/ 6267 w 8267"/>
                <a:gd name="T103" fmla="*/ 6400 h 8267"/>
                <a:gd name="T104" fmla="*/ 6800 w 8267"/>
                <a:gd name="T105" fmla="*/ 4533 h 8267"/>
                <a:gd name="T106" fmla="*/ 7067 w 8267"/>
                <a:gd name="T107" fmla="*/ 4267 h 8267"/>
                <a:gd name="T108" fmla="*/ 6800 w 8267"/>
                <a:gd name="T109" fmla="*/ 3733 h 8267"/>
                <a:gd name="T110" fmla="*/ 7467 w 8267"/>
                <a:gd name="T111" fmla="*/ 6133 h 8267"/>
                <a:gd name="T112" fmla="*/ 7067 w 8267"/>
                <a:gd name="T113" fmla="*/ 6400 h 8267"/>
                <a:gd name="T114" fmla="*/ 7733 w 8267"/>
                <a:gd name="T115" fmla="*/ 6267 h 8267"/>
                <a:gd name="T116" fmla="*/ 7600 w 8267"/>
                <a:gd name="T117" fmla="*/ 3467 h 8267"/>
                <a:gd name="T118" fmla="*/ 6800 w 8267"/>
                <a:gd name="T119" fmla="*/ 3382 h 8267"/>
                <a:gd name="T120" fmla="*/ 7867 w 8267"/>
                <a:gd name="T121" fmla="*/ 3200 h 8267"/>
                <a:gd name="T122" fmla="*/ 8000 w 8267"/>
                <a:gd name="T123" fmla="*/ 6533 h 8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267" h="8267">
                  <a:moveTo>
                    <a:pt x="7867" y="2933"/>
                  </a:moveTo>
                  <a:lnTo>
                    <a:pt x="7515" y="2933"/>
                  </a:lnTo>
                  <a:cubicBezTo>
                    <a:pt x="7814" y="2622"/>
                    <a:pt x="8000" y="2199"/>
                    <a:pt x="8000" y="1733"/>
                  </a:cubicBezTo>
                  <a:cubicBezTo>
                    <a:pt x="8000" y="778"/>
                    <a:pt x="7222" y="0"/>
                    <a:pt x="6267" y="0"/>
                  </a:cubicBezTo>
                  <a:cubicBezTo>
                    <a:pt x="5311" y="0"/>
                    <a:pt x="4533" y="778"/>
                    <a:pt x="4533" y="1733"/>
                  </a:cubicBezTo>
                  <a:cubicBezTo>
                    <a:pt x="4533" y="2199"/>
                    <a:pt x="4719" y="2622"/>
                    <a:pt x="5019" y="2933"/>
                  </a:cubicBezTo>
                  <a:lnTo>
                    <a:pt x="4267" y="2933"/>
                  </a:lnTo>
                  <a:lnTo>
                    <a:pt x="4267" y="933"/>
                  </a:lnTo>
                  <a:cubicBezTo>
                    <a:pt x="4267" y="896"/>
                    <a:pt x="4252" y="863"/>
                    <a:pt x="4227" y="839"/>
                  </a:cubicBezTo>
                  <a:lnTo>
                    <a:pt x="3428" y="39"/>
                  </a:lnTo>
                  <a:cubicBezTo>
                    <a:pt x="3404" y="15"/>
                    <a:pt x="3370" y="0"/>
                    <a:pt x="3333" y="0"/>
                  </a:cubicBezTo>
                  <a:lnTo>
                    <a:pt x="133" y="0"/>
                  </a:lnTo>
                  <a:cubicBezTo>
                    <a:pt x="60" y="0"/>
                    <a:pt x="0" y="60"/>
                    <a:pt x="0" y="133"/>
                  </a:cubicBezTo>
                  <a:lnTo>
                    <a:pt x="0" y="5200"/>
                  </a:lnTo>
                  <a:cubicBezTo>
                    <a:pt x="0" y="5274"/>
                    <a:pt x="60" y="5333"/>
                    <a:pt x="133" y="5333"/>
                  </a:cubicBezTo>
                  <a:lnTo>
                    <a:pt x="1067" y="5333"/>
                  </a:lnTo>
                  <a:lnTo>
                    <a:pt x="1067" y="6533"/>
                  </a:lnTo>
                  <a:cubicBezTo>
                    <a:pt x="1067" y="6754"/>
                    <a:pt x="1246" y="6933"/>
                    <a:pt x="1467" y="6933"/>
                  </a:cubicBezTo>
                  <a:lnTo>
                    <a:pt x="4133" y="6933"/>
                  </a:lnTo>
                  <a:lnTo>
                    <a:pt x="4133" y="7467"/>
                  </a:lnTo>
                  <a:lnTo>
                    <a:pt x="3467" y="7467"/>
                  </a:lnTo>
                  <a:cubicBezTo>
                    <a:pt x="3099" y="7467"/>
                    <a:pt x="2800" y="7766"/>
                    <a:pt x="2800" y="8133"/>
                  </a:cubicBezTo>
                  <a:cubicBezTo>
                    <a:pt x="2800" y="8207"/>
                    <a:pt x="2860" y="8267"/>
                    <a:pt x="2933" y="8267"/>
                  </a:cubicBezTo>
                  <a:lnTo>
                    <a:pt x="6400" y="8267"/>
                  </a:lnTo>
                  <a:cubicBezTo>
                    <a:pt x="6474" y="8267"/>
                    <a:pt x="6533" y="8207"/>
                    <a:pt x="6533" y="8133"/>
                  </a:cubicBezTo>
                  <a:cubicBezTo>
                    <a:pt x="6533" y="7766"/>
                    <a:pt x="6234" y="7467"/>
                    <a:pt x="5867" y="7467"/>
                  </a:cubicBezTo>
                  <a:lnTo>
                    <a:pt x="5200" y="7467"/>
                  </a:lnTo>
                  <a:lnTo>
                    <a:pt x="5200" y="6933"/>
                  </a:lnTo>
                  <a:lnTo>
                    <a:pt x="7867" y="6933"/>
                  </a:lnTo>
                  <a:cubicBezTo>
                    <a:pt x="8087" y="6933"/>
                    <a:pt x="8267" y="6754"/>
                    <a:pt x="8267" y="6533"/>
                  </a:cubicBezTo>
                  <a:lnTo>
                    <a:pt x="8267" y="3333"/>
                  </a:lnTo>
                  <a:cubicBezTo>
                    <a:pt x="8267" y="3113"/>
                    <a:pt x="8087" y="2933"/>
                    <a:pt x="7867" y="2933"/>
                  </a:cubicBezTo>
                  <a:close/>
                  <a:moveTo>
                    <a:pt x="6267" y="267"/>
                  </a:moveTo>
                  <a:cubicBezTo>
                    <a:pt x="7075" y="267"/>
                    <a:pt x="7733" y="925"/>
                    <a:pt x="7733" y="1733"/>
                  </a:cubicBezTo>
                  <a:cubicBezTo>
                    <a:pt x="7733" y="2542"/>
                    <a:pt x="7075" y="3200"/>
                    <a:pt x="6267" y="3200"/>
                  </a:cubicBezTo>
                  <a:cubicBezTo>
                    <a:pt x="5458" y="3200"/>
                    <a:pt x="4800" y="2542"/>
                    <a:pt x="4800" y="1733"/>
                  </a:cubicBezTo>
                  <a:cubicBezTo>
                    <a:pt x="4800" y="925"/>
                    <a:pt x="5458" y="267"/>
                    <a:pt x="6267" y="267"/>
                  </a:cubicBezTo>
                  <a:close/>
                  <a:moveTo>
                    <a:pt x="6000" y="4533"/>
                  </a:moveTo>
                  <a:lnTo>
                    <a:pt x="6533" y="4533"/>
                  </a:lnTo>
                  <a:lnTo>
                    <a:pt x="6533" y="5867"/>
                  </a:lnTo>
                  <a:cubicBezTo>
                    <a:pt x="6533" y="6014"/>
                    <a:pt x="6414" y="6133"/>
                    <a:pt x="6267" y="6133"/>
                  </a:cubicBezTo>
                  <a:cubicBezTo>
                    <a:pt x="6120" y="6133"/>
                    <a:pt x="6000" y="6014"/>
                    <a:pt x="6000" y="5867"/>
                  </a:cubicBezTo>
                  <a:lnTo>
                    <a:pt x="6000" y="4533"/>
                  </a:lnTo>
                  <a:close/>
                  <a:moveTo>
                    <a:pt x="6000" y="4267"/>
                  </a:moveTo>
                  <a:lnTo>
                    <a:pt x="6000" y="4000"/>
                  </a:lnTo>
                  <a:lnTo>
                    <a:pt x="6533" y="4000"/>
                  </a:lnTo>
                  <a:lnTo>
                    <a:pt x="6533" y="4267"/>
                  </a:lnTo>
                  <a:lnTo>
                    <a:pt x="6000" y="4267"/>
                  </a:lnTo>
                  <a:close/>
                  <a:moveTo>
                    <a:pt x="6533" y="3733"/>
                  </a:moveTo>
                  <a:lnTo>
                    <a:pt x="6000" y="3733"/>
                  </a:lnTo>
                  <a:lnTo>
                    <a:pt x="6000" y="3444"/>
                  </a:lnTo>
                  <a:cubicBezTo>
                    <a:pt x="6087" y="3458"/>
                    <a:pt x="6176" y="3467"/>
                    <a:pt x="6267" y="3467"/>
                  </a:cubicBezTo>
                  <a:cubicBezTo>
                    <a:pt x="6358" y="3467"/>
                    <a:pt x="6446" y="3457"/>
                    <a:pt x="6533" y="3444"/>
                  </a:cubicBezTo>
                  <a:lnTo>
                    <a:pt x="6533" y="3733"/>
                  </a:lnTo>
                  <a:close/>
                  <a:moveTo>
                    <a:pt x="5347" y="3200"/>
                  </a:moveTo>
                  <a:cubicBezTo>
                    <a:pt x="5467" y="3275"/>
                    <a:pt x="5596" y="3337"/>
                    <a:pt x="5733" y="3382"/>
                  </a:cubicBezTo>
                  <a:lnTo>
                    <a:pt x="5733" y="3467"/>
                  </a:lnTo>
                  <a:lnTo>
                    <a:pt x="4267" y="3467"/>
                  </a:lnTo>
                  <a:lnTo>
                    <a:pt x="4267" y="3200"/>
                  </a:lnTo>
                  <a:lnTo>
                    <a:pt x="5347" y="3200"/>
                  </a:lnTo>
                  <a:close/>
                  <a:moveTo>
                    <a:pt x="3467" y="455"/>
                  </a:moveTo>
                  <a:lnTo>
                    <a:pt x="3811" y="800"/>
                  </a:lnTo>
                  <a:lnTo>
                    <a:pt x="3467" y="800"/>
                  </a:lnTo>
                  <a:lnTo>
                    <a:pt x="3467" y="455"/>
                  </a:lnTo>
                  <a:close/>
                  <a:moveTo>
                    <a:pt x="267" y="267"/>
                  </a:moveTo>
                  <a:lnTo>
                    <a:pt x="3200" y="267"/>
                  </a:lnTo>
                  <a:lnTo>
                    <a:pt x="3200" y="933"/>
                  </a:lnTo>
                  <a:cubicBezTo>
                    <a:pt x="3200" y="1007"/>
                    <a:pt x="3260" y="1067"/>
                    <a:pt x="3333" y="1067"/>
                  </a:cubicBezTo>
                  <a:lnTo>
                    <a:pt x="4000" y="1067"/>
                  </a:lnTo>
                  <a:lnTo>
                    <a:pt x="4000" y="5067"/>
                  </a:lnTo>
                  <a:lnTo>
                    <a:pt x="267" y="5067"/>
                  </a:lnTo>
                  <a:lnTo>
                    <a:pt x="267" y="267"/>
                  </a:lnTo>
                  <a:close/>
                  <a:moveTo>
                    <a:pt x="6244" y="8000"/>
                  </a:moveTo>
                  <a:lnTo>
                    <a:pt x="3089" y="8000"/>
                  </a:lnTo>
                  <a:cubicBezTo>
                    <a:pt x="3145" y="7845"/>
                    <a:pt x="3293" y="7733"/>
                    <a:pt x="3467" y="7733"/>
                  </a:cubicBezTo>
                  <a:lnTo>
                    <a:pt x="5867" y="7733"/>
                  </a:lnTo>
                  <a:cubicBezTo>
                    <a:pt x="6041" y="7733"/>
                    <a:pt x="6189" y="7845"/>
                    <a:pt x="6244" y="8000"/>
                  </a:cubicBezTo>
                  <a:close/>
                  <a:moveTo>
                    <a:pt x="4933" y="7467"/>
                  </a:moveTo>
                  <a:lnTo>
                    <a:pt x="4400" y="7467"/>
                  </a:lnTo>
                  <a:lnTo>
                    <a:pt x="4400" y="6933"/>
                  </a:lnTo>
                  <a:lnTo>
                    <a:pt x="4933" y="6933"/>
                  </a:lnTo>
                  <a:lnTo>
                    <a:pt x="4933" y="7467"/>
                  </a:lnTo>
                  <a:close/>
                  <a:moveTo>
                    <a:pt x="8000" y="6533"/>
                  </a:moveTo>
                  <a:cubicBezTo>
                    <a:pt x="8000" y="6607"/>
                    <a:pt x="7940" y="6667"/>
                    <a:pt x="7867" y="6667"/>
                  </a:cubicBezTo>
                  <a:lnTo>
                    <a:pt x="1467" y="6667"/>
                  </a:lnTo>
                  <a:cubicBezTo>
                    <a:pt x="1393" y="6667"/>
                    <a:pt x="1333" y="6607"/>
                    <a:pt x="1333" y="6533"/>
                  </a:cubicBezTo>
                  <a:lnTo>
                    <a:pt x="1333" y="5333"/>
                  </a:lnTo>
                  <a:lnTo>
                    <a:pt x="1600" y="5333"/>
                  </a:lnTo>
                  <a:lnTo>
                    <a:pt x="1600" y="6267"/>
                  </a:lnTo>
                  <a:cubicBezTo>
                    <a:pt x="1600" y="6340"/>
                    <a:pt x="1660" y="6400"/>
                    <a:pt x="1733" y="6400"/>
                  </a:cubicBezTo>
                  <a:lnTo>
                    <a:pt x="5467" y="6400"/>
                  </a:lnTo>
                  <a:lnTo>
                    <a:pt x="5467" y="6133"/>
                  </a:lnTo>
                  <a:lnTo>
                    <a:pt x="1867" y="6133"/>
                  </a:lnTo>
                  <a:lnTo>
                    <a:pt x="1867" y="5333"/>
                  </a:lnTo>
                  <a:lnTo>
                    <a:pt x="4133" y="5333"/>
                  </a:lnTo>
                  <a:cubicBezTo>
                    <a:pt x="4207" y="5333"/>
                    <a:pt x="4267" y="5274"/>
                    <a:pt x="4267" y="5200"/>
                  </a:cubicBezTo>
                  <a:lnTo>
                    <a:pt x="4267" y="3733"/>
                  </a:lnTo>
                  <a:lnTo>
                    <a:pt x="5733" y="3733"/>
                  </a:lnTo>
                  <a:lnTo>
                    <a:pt x="5733" y="4267"/>
                  </a:lnTo>
                  <a:lnTo>
                    <a:pt x="5467" y="4267"/>
                  </a:lnTo>
                  <a:lnTo>
                    <a:pt x="5467" y="4533"/>
                  </a:lnTo>
                  <a:lnTo>
                    <a:pt x="5733" y="4533"/>
                  </a:lnTo>
                  <a:lnTo>
                    <a:pt x="5733" y="5867"/>
                  </a:lnTo>
                  <a:cubicBezTo>
                    <a:pt x="5733" y="6161"/>
                    <a:pt x="5973" y="6400"/>
                    <a:pt x="6267" y="6400"/>
                  </a:cubicBezTo>
                  <a:cubicBezTo>
                    <a:pt x="6561" y="6400"/>
                    <a:pt x="6800" y="6161"/>
                    <a:pt x="6800" y="5867"/>
                  </a:cubicBezTo>
                  <a:lnTo>
                    <a:pt x="6800" y="4533"/>
                  </a:lnTo>
                  <a:lnTo>
                    <a:pt x="7067" y="4533"/>
                  </a:lnTo>
                  <a:lnTo>
                    <a:pt x="7067" y="4267"/>
                  </a:lnTo>
                  <a:lnTo>
                    <a:pt x="6800" y="4267"/>
                  </a:lnTo>
                  <a:lnTo>
                    <a:pt x="6800" y="3733"/>
                  </a:lnTo>
                  <a:lnTo>
                    <a:pt x="7467" y="3733"/>
                  </a:lnTo>
                  <a:lnTo>
                    <a:pt x="7467" y="6133"/>
                  </a:lnTo>
                  <a:lnTo>
                    <a:pt x="7067" y="6133"/>
                  </a:lnTo>
                  <a:lnTo>
                    <a:pt x="7067" y="6400"/>
                  </a:lnTo>
                  <a:lnTo>
                    <a:pt x="7600" y="6400"/>
                  </a:lnTo>
                  <a:cubicBezTo>
                    <a:pt x="7674" y="6400"/>
                    <a:pt x="7733" y="6340"/>
                    <a:pt x="7733" y="6267"/>
                  </a:cubicBezTo>
                  <a:lnTo>
                    <a:pt x="7733" y="3600"/>
                  </a:lnTo>
                  <a:cubicBezTo>
                    <a:pt x="7733" y="3526"/>
                    <a:pt x="7674" y="3467"/>
                    <a:pt x="7600" y="3467"/>
                  </a:cubicBezTo>
                  <a:lnTo>
                    <a:pt x="6800" y="3467"/>
                  </a:lnTo>
                  <a:lnTo>
                    <a:pt x="6800" y="3382"/>
                  </a:lnTo>
                  <a:cubicBezTo>
                    <a:pt x="6937" y="3337"/>
                    <a:pt x="7066" y="3275"/>
                    <a:pt x="7186" y="3200"/>
                  </a:cubicBezTo>
                  <a:lnTo>
                    <a:pt x="7867" y="3200"/>
                  </a:lnTo>
                  <a:cubicBezTo>
                    <a:pt x="7940" y="3200"/>
                    <a:pt x="8000" y="3260"/>
                    <a:pt x="8000" y="3333"/>
                  </a:cubicBezTo>
                  <a:lnTo>
                    <a:pt x="8000" y="6533"/>
                  </a:lnTo>
                  <a:close/>
                  <a:moveTo>
                    <a:pt x="8000" y="6533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112">
              <a:extLst>
                <a:ext uri="{FF2B5EF4-FFF2-40B4-BE49-F238E27FC236}">
                  <a16:creationId xmlns:a16="http://schemas.microsoft.com/office/drawing/2014/main" id="{0BBE9646-5343-4D1F-A10C-257B8CE6BF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7538" y="2852738"/>
              <a:ext cx="331788" cy="331788"/>
            </a:xfrm>
            <a:custGeom>
              <a:avLst/>
              <a:gdLst>
                <a:gd name="T0" fmla="*/ 1600 w 3200"/>
                <a:gd name="T1" fmla="*/ 0 h 3200"/>
                <a:gd name="T2" fmla="*/ 0 w 3200"/>
                <a:gd name="T3" fmla="*/ 1600 h 3200"/>
                <a:gd name="T4" fmla="*/ 1600 w 3200"/>
                <a:gd name="T5" fmla="*/ 3200 h 3200"/>
                <a:gd name="T6" fmla="*/ 3200 w 3200"/>
                <a:gd name="T7" fmla="*/ 1600 h 3200"/>
                <a:gd name="T8" fmla="*/ 1600 w 3200"/>
                <a:gd name="T9" fmla="*/ 0 h 3200"/>
                <a:gd name="T10" fmla="*/ 1600 w 3200"/>
                <a:gd name="T11" fmla="*/ 2400 h 3200"/>
                <a:gd name="T12" fmla="*/ 800 w 3200"/>
                <a:gd name="T13" fmla="*/ 1600 h 3200"/>
                <a:gd name="T14" fmla="*/ 1600 w 3200"/>
                <a:gd name="T15" fmla="*/ 800 h 3200"/>
                <a:gd name="T16" fmla="*/ 2400 w 3200"/>
                <a:gd name="T17" fmla="*/ 1600 h 3200"/>
                <a:gd name="T18" fmla="*/ 1600 w 3200"/>
                <a:gd name="T19" fmla="*/ 2400 h 3200"/>
                <a:gd name="T20" fmla="*/ 1467 w 3200"/>
                <a:gd name="T21" fmla="*/ 543 h 3200"/>
                <a:gd name="T22" fmla="*/ 947 w 3200"/>
                <a:gd name="T23" fmla="*/ 758 h 3200"/>
                <a:gd name="T24" fmla="*/ 757 w 3200"/>
                <a:gd name="T25" fmla="*/ 568 h 3200"/>
                <a:gd name="T26" fmla="*/ 1467 w 3200"/>
                <a:gd name="T27" fmla="*/ 273 h 3200"/>
                <a:gd name="T28" fmla="*/ 1467 w 3200"/>
                <a:gd name="T29" fmla="*/ 543 h 3200"/>
                <a:gd name="T30" fmla="*/ 2253 w 3200"/>
                <a:gd name="T31" fmla="*/ 758 h 3200"/>
                <a:gd name="T32" fmla="*/ 1734 w 3200"/>
                <a:gd name="T33" fmla="*/ 543 h 3200"/>
                <a:gd name="T34" fmla="*/ 1734 w 3200"/>
                <a:gd name="T35" fmla="*/ 273 h 3200"/>
                <a:gd name="T36" fmla="*/ 2444 w 3200"/>
                <a:gd name="T37" fmla="*/ 568 h 3200"/>
                <a:gd name="T38" fmla="*/ 2253 w 3200"/>
                <a:gd name="T39" fmla="*/ 758 h 3200"/>
                <a:gd name="T40" fmla="*/ 569 w 3200"/>
                <a:gd name="T41" fmla="*/ 757 h 3200"/>
                <a:gd name="T42" fmla="*/ 759 w 3200"/>
                <a:gd name="T43" fmla="*/ 947 h 3200"/>
                <a:gd name="T44" fmla="*/ 534 w 3200"/>
                <a:gd name="T45" fmla="*/ 1600 h 3200"/>
                <a:gd name="T46" fmla="*/ 759 w 3200"/>
                <a:gd name="T47" fmla="*/ 2253 h 3200"/>
                <a:gd name="T48" fmla="*/ 568 w 3200"/>
                <a:gd name="T49" fmla="*/ 2443 h 3200"/>
                <a:gd name="T50" fmla="*/ 267 w 3200"/>
                <a:gd name="T51" fmla="*/ 1600 h 3200"/>
                <a:gd name="T52" fmla="*/ 569 w 3200"/>
                <a:gd name="T53" fmla="*/ 757 h 3200"/>
                <a:gd name="T54" fmla="*/ 757 w 3200"/>
                <a:gd name="T55" fmla="*/ 2632 h 3200"/>
                <a:gd name="T56" fmla="*/ 947 w 3200"/>
                <a:gd name="T57" fmla="*/ 2441 h 3200"/>
                <a:gd name="T58" fmla="*/ 1600 w 3200"/>
                <a:gd name="T59" fmla="*/ 2667 h 3200"/>
                <a:gd name="T60" fmla="*/ 2253 w 3200"/>
                <a:gd name="T61" fmla="*/ 2442 h 3200"/>
                <a:gd name="T62" fmla="*/ 2444 w 3200"/>
                <a:gd name="T63" fmla="*/ 2632 h 3200"/>
                <a:gd name="T64" fmla="*/ 1600 w 3200"/>
                <a:gd name="T65" fmla="*/ 2933 h 3200"/>
                <a:gd name="T66" fmla="*/ 757 w 3200"/>
                <a:gd name="T67" fmla="*/ 2632 h 3200"/>
                <a:gd name="T68" fmla="*/ 2632 w 3200"/>
                <a:gd name="T69" fmla="*/ 2443 h 3200"/>
                <a:gd name="T70" fmla="*/ 2442 w 3200"/>
                <a:gd name="T71" fmla="*/ 2253 h 3200"/>
                <a:gd name="T72" fmla="*/ 2667 w 3200"/>
                <a:gd name="T73" fmla="*/ 1600 h 3200"/>
                <a:gd name="T74" fmla="*/ 2442 w 3200"/>
                <a:gd name="T75" fmla="*/ 947 h 3200"/>
                <a:gd name="T76" fmla="*/ 2632 w 3200"/>
                <a:gd name="T77" fmla="*/ 757 h 3200"/>
                <a:gd name="T78" fmla="*/ 2934 w 3200"/>
                <a:gd name="T79" fmla="*/ 1600 h 3200"/>
                <a:gd name="T80" fmla="*/ 2632 w 3200"/>
                <a:gd name="T81" fmla="*/ 2443 h 3200"/>
                <a:gd name="T82" fmla="*/ 2632 w 3200"/>
                <a:gd name="T83" fmla="*/ 2443 h 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200" h="3200">
                  <a:moveTo>
                    <a:pt x="1600" y="0"/>
                  </a:moveTo>
                  <a:cubicBezTo>
                    <a:pt x="718" y="0"/>
                    <a:pt x="0" y="718"/>
                    <a:pt x="0" y="1600"/>
                  </a:cubicBezTo>
                  <a:cubicBezTo>
                    <a:pt x="0" y="2482"/>
                    <a:pt x="718" y="3200"/>
                    <a:pt x="1600" y="3200"/>
                  </a:cubicBezTo>
                  <a:cubicBezTo>
                    <a:pt x="2483" y="3200"/>
                    <a:pt x="3200" y="2482"/>
                    <a:pt x="3200" y="1600"/>
                  </a:cubicBezTo>
                  <a:cubicBezTo>
                    <a:pt x="3200" y="718"/>
                    <a:pt x="2483" y="0"/>
                    <a:pt x="1600" y="0"/>
                  </a:cubicBezTo>
                  <a:close/>
                  <a:moveTo>
                    <a:pt x="1600" y="2400"/>
                  </a:moveTo>
                  <a:cubicBezTo>
                    <a:pt x="1159" y="2400"/>
                    <a:pt x="800" y="2041"/>
                    <a:pt x="800" y="1600"/>
                  </a:cubicBezTo>
                  <a:cubicBezTo>
                    <a:pt x="800" y="1159"/>
                    <a:pt x="1159" y="800"/>
                    <a:pt x="1600" y="800"/>
                  </a:cubicBezTo>
                  <a:cubicBezTo>
                    <a:pt x="2042" y="800"/>
                    <a:pt x="2400" y="1159"/>
                    <a:pt x="2400" y="1600"/>
                  </a:cubicBezTo>
                  <a:cubicBezTo>
                    <a:pt x="2400" y="2041"/>
                    <a:pt x="2042" y="2400"/>
                    <a:pt x="1600" y="2400"/>
                  </a:cubicBezTo>
                  <a:close/>
                  <a:moveTo>
                    <a:pt x="1467" y="543"/>
                  </a:moveTo>
                  <a:cubicBezTo>
                    <a:pt x="1273" y="567"/>
                    <a:pt x="1095" y="644"/>
                    <a:pt x="947" y="758"/>
                  </a:cubicBezTo>
                  <a:lnTo>
                    <a:pt x="757" y="568"/>
                  </a:lnTo>
                  <a:cubicBezTo>
                    <a:pt x="955" y="406"/>
                    <a:pt x="1199" y="300"/>
                    <a:pt x="1467" y="273"/>
                  </a:cubicBezTo>
                  <a:lnTo>
                    <a:pt x="1467" y="543"/>
                  </a:lnTo>
                  <a:close/>
                  <a:moveTo>
                    <a:pt x="2253" y="758"/>
                  </a:moveTo>
                  <a:cubicBezTo>
                    <a:pt x="2106" y="644"/>
                    <a:pt x="1928" y="567"/>
                    <a:pt x="1734" y="543"/>
                  </a:cubicBezTo>
                  <a:lnTo>
                    <a:pt x="1734" y="273"/>
                  </a:lnTo>
                  <a:cubicBezTo>
                    <a:pt x="2001" y="300"/>
                    <a:pt x="2246" y="406"/>
                    <a:pt x="2444" y="568"/>
                  </a:cubicBezTo>
                  <a:lnTo>
                    <a:pt x="2253" y="758"/>
                  </a:lnTo>
                  <a:close/>
                  <a:moveTo>
                    <a:pt x="569" y="757"/>
                  </a:moveTo>
                  <a:lnTo>
                    <a:pt x="759" y="947"/>
                  </a:lnTo>
                  <a:cubicBezTo>
                    <a:pt x="618" y="1128"/>
                    <a:pt x="534" y="1354"/>
                    <a:pt x="534" y="1600"/>
                  </a:cubicBezTo>
                  <a:cubicBezTo>
                    <a:pt x="534" y="1846"/>
                    <a:pt x="618" y="2072"/>
                    <a:pt x="759" y="2253"/>
                  </a:cubicBezTo>
                  <a:lnTo>
                    <a:pt x="568" y="2443"/>
                  </a:lnTo>
                  <a:cubicBezTo>
                    <a:pt x="380" y="2213"/>
                    <a:pt x="267" y="1920"/>
                    <a:pt x="267" y="1600"/>
                  </a:cubicBezTo>
                  <a:cubicBezTo>
                    <a:pt x="267" y="1280"/>
                    <a:pt x="380" y="987"/>
                    <a:pt x="569" y="757"/>
                  </a:cubicBezTo>
                  <a:close/>
                  <a:moveTo>
                    <a:pt x="757" y="2632"/>
                  </a:moveTo>
                  <a:lnTo>
                    <a:pt x="947" y="2441"/>
                  </a:lnTo>
                  <a:cubicBezTo>
                    <a:pt x="1128" y="2582"/>
                    <a:pt x="1354" y="2667"/>
                    <a:pt x="1600" y="2667"/>
                  </a:cubicBezTo>
                  <a:cubicBezTo>
                    <a:pt x="1846" y="2667"/>
                    <a:pt x="2073" y="2582"/>
                    <a:pt x="2253" y="2442"/>
                  </a:cubicBezTo>
                  <a:lnTo>
                    <a:pt x="2444" y="2632"/>
                  </a:lnTo>
                  <a:cubicBezTo>
                    <a:pt x="2214" y="2820"/>
                    <a:pt x="1920" y="2933"/>
                    <a:pt x="1600" y="2933"/>
                  </a:cubicBezTo>
                  <a:cubicBezTo>
                    <a:pt x="1281" y="2933"/>
                    <a:pt x="987" y="2820"/>
                    <a:pt x="757" y="2632"/>
                  </a:cubicBezTo>
                  <a:close/>
                  <a:moveTo>
                    <a:pt x="2632" y="2443"/>
                  </a:moveTo>
                  <a:lnTo>
                    <a:pt x="2442" y="2253"/>
                  </a:lnTo>
                  <a:cubicBezTo>
                    <a:pt x="2582" y="2072"/>
                    <a:pt x="2667" y="1846"/>
                    <a:pt x="2667" y="1600"/>
                  </a:cubicBezTo>
                  <a:cubicBezTo>
                    <a:pt x="2667" y="1354"/>
                    <a:pt x="2582" y="1128"/>
                    <a:pt x="2442" y="947"/>
                  </a:cubicBezTo>
                  <a:lnTo>
                    <a:pt x="2632" y="757"/>
                  </a:lnTo>
                  <a:cubicBezTo>
                    <a:pt x="2820" y="987"/>
                    <a:pt x="2934" y="1280"/>
                    <a:pt x="2934" y="1600"/>
                  </a:cubicBezTo>
                  <a:cubicBezTo>
                    <a:pt x="2934" y="1920"/>
                    <a:pt x="2820" y="2213"/>
                    <a:pt x="2632" y="2443"/>
                  </a:cubicBezTo>
                  <a:close/>
                  <a:moveTo>
                    <a:pt x="2632" y="2443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Freeform 113">
              <a:extLst>
                <a:ext uri="{FF2B5EF4-FFF2-40B4-BE49-F238E27FC236}">
                  <a16:creationId xmlns:a16="http://schemas.microsoft.com/office/drawing/2014/main" id="{B5C8102C-E330-439F-AC29-D24F3843C6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7438" y="2741613"/>
              <a:ext cx="123825" cy="123825"/>
            </a:xfrm>
            <a:custGeom>
              <a:avLst/>
              <a:gdLst>
                <a:gd name="T0" fmla="*/ 1200 w 1200"/>
                <a:gd name="T1" fmla="*/ 267 h 1200"/>
                <a:gd name="T2" fmla="*/ 1200 w 1200"/>
                <a:gd name="T3" fmla="*/ 0 h 1200"/>
                <a:gd name="T4" fmla="*/ 0 w 1200"/>
                <a:gd name="T5" fmla="*/ 1200 h 1200"/>
                <a:gd name="T6" fmla="*/ 266 w 1200"/>
                <a:gd name="T7" fmla="*/ 1200 h 1200"/>
                <a:gd name="T8" fmla="*/ 1200 w 1200"/>
                <a:gd name="T9" fmla="*/ 267 h 1200"/>
                <a:gd name="T10" fmla="*/ 1200 w 1200"/>
                <a:gd name="T11" fmla="*/ 267 h 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0" h="1200">
                  <a:moveTo>
                    <a:pt x="1200" y="267"/>
                  </a:moveTo>
                  <a:lnTo>
                    <a:pt x="1200" y="0"/>
                  </a:lnTo>
                  <a:cubicBezTo>
                    <a:pt x="538" y="0"/>
                    <a:pt x="0" y="539"/>
                    <a:pt x="0" y="1200"/>
                  </a:cubicBezTo>
                  <a:lnTo>
                    <a:pt x="266" y="1200"/>
                  </a:lnTo>
                  <a:cubicBezTo>
                    <a:pt x="266" y="686"/>
                    <a:pt x="685" y="267"/>
                    <a:pt x="1200" y="267"/>
                  </a:cubicBezTo>
                  <a:close/>
                  <a:moveTo>
                    <a:pt x="1200" y="267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Freeform 114">
              <a:extLst>
                <a:ext uri="{FF2B5EF4-FFF2-40B4-BE49-F238E27FC236}">
                  <a16:creationId xmlns:a16="http://schemas.microsoft.com/office/drawing/2014/main" id="{35E5DF32-008B-48CE-8924-74E8FF01E3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1263" y="2865438"/>
              <a:ext cx="125413" cy="125413"/>
            </a:xfrm>
            <a:custGeom>
              <a:avLst/>
              <a:gdLst>
                <a:gd name="T0" fmla="*/ 0 w 1200"/>
                <a:gd name="T1" fmla="*/ 1200 h 1200"/>
                <a:gd name="T2" fmla="*/ 1200 w 1200"/>
                <a:gd name="T3" fmla="*/ 0 h 1200"/>
                <a:gd name="T4" fmla="*/ 933 w 1200"/>
                <a:gd name="T5" fmla="*/ 0 h 1200"/>
                <a:gd name="T6" fmla="*/ 0 w 1200"/>
                <a:gd name="T7" fmla="*/ 934 h 1200"/>
                <a:gd name="T8" fmla="*/ 0 w 1200"/>
                <a:gd name="T9" fmla="*/ 1200 h 1200"/>
                <a:gd name="T10" fmla="*/ 0 w 1200"/>
                <a:gd name="T11" fmla="*/ 1200 h 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0" h="1200">
                  <a:moveTo>
                    <a:pt x="0" y="1200"/>
                  </a:moveTo>
                  <a:cubicBezTo>
                    <a:pt x="661" y="1200"/>
                    <a:pt x="1200" y="662"/>
                    <a:pt x="1200" y="0"/>
                  </a:cubicBezTo>
                  <a:lnTo>
                    <a:pt x="933" y="0"/>
                  </a:lnTo>
                  <a:cubicBezTo>
                    <a:pt x="933" y="515"/>
                    <a:pt x="514" y="934"/>
                    <a:pt x="0" y="934"/>
                  </a:cubicBezTo>
                  <a:lnTo>
                    <a:pt x="0" y="1200"/>
                  </a:lnTo>
                  <a:close/>
                  <a:moveTo>
                    <a:pt x="0" y="120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Freeform 115">
              <a:extLst>
                <a:ext uri="{FF2B5EF4-FFF2-40B4-BE49-F238E27FC236}">
                  <a16:creationId xmlns:a16="http://schemas.microsoft.com/office/drawing/2014/main" id="{615A63F8-0189-4D94-BF14-FF7F1824E6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7538" y="2741613"/>
              <a:ext cx="111125" cy="26988"/>
            </a:xfrm>
            <a:custGeom>
              <a:avLst/>
              <a:gdLst>
                <a:gd name="T0" fmla="*/ 0 w 1067"/>
                <a:gd name="T1" fmla="*/ 0 h 267"/>
                <a:gd name="T2" fmla="*/ 1067 w 1067"/>
                <a:gd name="T3" fmla="*/ 0 h 267"/>
                <a:gd name="T4" fmla="*/ 1067 w 1067"/>
                <a:gd name="T5" fmla="*/ 267 h 267"/>
                <a:gd name="T6" fmla="*/ 0 w 1067"/>
                <a:gd name="T7" fmla="*/ 267 h 267"/>
                <a:gd name="T8" fmla="*/ 0 w 1067"/>
                <a:gd name="T9" fmla="*/ 0 h 267"/>
                <a:gd name="T10" fmla="*/ 0 w 10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7" h="267">
                  <a:moveTo>
                    <a:pt x="0" y="0"/>
                  </a:moveTo>
                  <a:lnTo>
                    <a:pt x="1067" y="0"/>
                  </a:lnTo>
                  <a:lnTo>
                    <a:pt x="10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116">
              <a:extLst>
                <a:ext uri="{FF2B5EF4-FFF2-40B4-BE49-F238E27FC236}">
                  <a16:creationId xmlns:a16="http://schemas.microsoft.com/office/drawing/2014/main" id="{8063C264-DD15-41FD-8C4C-60BCDBB5DE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7538" y="2797175"/>
              <a:ext cx="111125" cy="26988"/>
            </a:xfrm>
            <a:custGeom>
              <a:avLst/>
              <a:gdLst>
                <a:gd name="T0" fmla="*/ 0 w 1067"/>
                <a:gd name="T1" fmla="*/ 0 h 266"/>
                <a:gd name="T2" fmla="*/ 1067 w 1067"/>
                <a:gd name="T3" fmla="*/ 0 h 266"/>
                <a:gd name="T4" fmla="*/ 1067 w 1067"/>
                <a:gd name="T5" fmla="*/ 266 h 266"/>
                <a:gd name="T6" fmla="*/ 0 w 1067"/>
                <a:gd name="T7" fmla="*/ 266 h 266"/>
                <a:gd name="T8" fmla="*/ 0 w 1067"/>
                <a:gd name="T9" fmla="*/ 0 h 266"/>
                <a:gd name="T10" fmla="*/ 0 w 1067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7" h="266">
                  <a:moveTo>
                    <a:pt x="0" y="0"/>
                  </a:moveTo>
                  <a:lnTo>
                    <a:pt x="1067" y="0"/>
                  </a:lnTo>
                  <a:lnTo>
                    <a:pt x="1067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57" name="Picture 2">
            <a:extLst>
              <a:ext uri="{FF2B5EF4-FFF2-40B4-BE49-F238E27FC236}">
                <a16:creationId xmlns:a16="http://schemas.microsoft.com/office/drawing/2014/main" id="{24EBE3E8-F063-48A7-8E70-358CEC9A41DC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21" r="521"/>
          <a:stretch/>
        </p:blipFill>
        <p:spPr bwMode="auto">
          <a:xfrm>
            <a:off x="10811994" y="624763"/>
            <a:ext cx="612000" cy="612000"/>
          </a:xfrm>
          <a:prstGeom prst="flowChartConnector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74272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B38057B-CDC7-4F90-9E00-DCA180313FCE}"/>
              </a:ext>
            </a:extLst>
          </p:cNvPr>
          <p:cNvSpPr/>
          <p:nvPr/>
        </p:nvSpPr>
        <p:spPr>
          <a:xfrm>
            <a:off x="478055" y="256757"/>
            <a:ext cx="1108188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4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2F931E0-709F-4AB3-8AD6-D2D7802C1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200" dirty="0"/>
              <a:t>ISO 37001: 2016 “</a:t>
            </a:r>
            <a:r>
              <a:rPr lang="ru-RU" sz="2200" dirty="0" err="1"/>
              <a:t>Порахўрликка</a:t>
            </a:r>
            <a:r>
              <a:rPr lang="ru-RU" sz="2200" dirty="0"/>
              <a:t> </a:t>
            </a:r>
            <a:r>
              <a:rPr lang="ru-RU" sz="2200" dirty="0" err="1"/>
              <a:t>қарши</a:t>
            </a:r>
            <a:r>
              <a:rPr lang="ru-RU" sz="2200" dirty="0"/>
              <a:t> </a:t>
            </a:r>
            <a:r>
              <a:rPr lang="ru-RU" sz="2200" dirty="0" err="1"/>
              <a:t>бошқарув</a:t>
            </a:r>
            <a:r>
              <a:rPr lang="ru-RU" sz="2200" dirty="0"/>
              <a:t> </a:t>
            </a:r>
            <a:r>
              <a:rPr lang="ru-RU" sz="2200" dirty="0" err="1"/>
              <a:t>тизимлари</a:t>
            </a:r>
            <a:r>
              <a:rPr lang="ru-RU" sz="2200" dirty="0"/>
              <a:t>”: коррупцияга </a:t>
            </a:r>
            <a:r>
              <a:rPr lang="ru-RU" sz="2200" dirty="0" err="1"/>
              <a:t>қарши</a:t>
            </a:r>
            <a:r>
              <a:rPr lang="ru-RU" sz="2200" dirty="0"/>
              <a:t> </a:t>
            </a:r>
            <a:r>
              <a:rPr lang="ru-RU" sz="2200" dirty="0" err="1"/>
              <a:t>курашиш</a:t>
            </a:r>
            <a:r>
              <a:rPr lang="ru-RU" sz="2200" dirty="0"/>
              <a:t> </a:t>
            </a:r>
            <a:r>
              <a:rPr lang="ru-RU" sz="2200" dirty="0" err="1"/>
              <a:t>тизимини</a:t>
            </a:r>
            <a:r>
              <a:rPr lang="ru-RU" sz="2200" dirty="0"/>
              <a:t> мониторинг </a:t>
            </a:r>
            <a:r>
              <a:rPr lang="ru-RU" sz="2200" dirty="0" err="1"/>
              <a:t>ва</a:t>
            </a:r>
            <a:r>
              <a:rPr lang="ru-RU" sz="2200" dirty="0"/>
              <a:t> </a:t>
            </a:r>
            <a:r>
              <a:rPr lang="ru-RU" sz="2200" dirty="0" err="1"/>
              <a:t>назорат</a:t>
            </a:r>
            <a:r>
              <a:rPr lang="ru-RU" sz="2200" dirty="0"/>
              <a:t> </a:t>
            </a:r>
            <a:r>
              <a:rPr lang="ru-RU" sz="2200" dirty="0" err="1"/>
              <a:t>қилиш</a:t>
            </a:r>
            <a:r>
              <a:rPr lang="ru-RU" sz="2200" dirty="0"/>
              <a:t> (3/4)</a:t>
            </a:r>
            <a:endParaRPr lang="en-US" sz="2200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D121B44-52F7-4FEB-B5C2-E8BE1C9C779F}"/>
              </a:ext>
            </a:extLst>
          </p:cNvPr>
          <p:cNvGrpSpPr/>
          <p:nvPr/>
        </p:nvGrpSpPr>
        <p:grpSpPr>
          <a:xfrm>
            <a:off x="443080" y="1282693"/>
            <a:ext cx="11306008" cy="434975"/>
            <a:chOff x="3784798" y="1289128"/>
            <a:chExt cx="7964290" cy="463165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ACEB051F-794A-45B1-8647-7B95F4EF0F0F}"/>
                </a:ext>
              </a:extLst>
            </p:cNvPr>
            <p:cNvSpPr/>
            <p:nvPr/>
          </p:nvSpPr>
          <p:spPr>
            <a:xfrm>
              <a:off x="3921193" y="1371686"/>
              <a:ext cx="7827895" cy="38060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A2361318-C6BD-4F13-BB2D-B2558E8F70DE}"/>
                </a:ext>
              </a:extLst>
            </p:cNvPr>
            <p:cNvSpPr/>
            <p:nvPr/>
          </p:nvSpPr>
          <p:spPr>
            <a:xfrm>
              <a:off x="3784798" y="1289128"/>
              <a:ext cx="7896089" cy="38060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Ички аудит</a:t>
              </a:r>
            </a:p>
          </p:txBody>
        </p:sp>
      </p:grpSp>
      <p:sp>
        <p:nvSpPr>
          <p:cNvPr id="16" name="object 15">
            <a:extLst>
              <a:ext uri="{FF2B5EF4-FFF2-40B4-BE49-F238E27FC236}">
                <a16:creationId xmlns:a16="http://schemas.microsoft.com/office/drawing/2014/main" id="{97F15AC2-9A11-418C-855B-86C97F9DFA4D}"/>
              </a:ext>
            </a:extLst>
          </p:cNvPr>
          <p:cNvSpPr txBox="1"/>
          <p:nvPr/>
        </p:nvSpPr>
        <p:spPr>
          <a:xfrm>
            <a:off x="1271992" y="1822775"/>
            <a:ext cx="4752571" cy="1071728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Аудит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мақсади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шкилот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аҳбарияти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мплаенс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изим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орий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этилга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амарал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шлаётгани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шонч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ъминла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. 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мплаенс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изим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шининг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умумий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ғояс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шакллантир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. </a:t>
            </a:r>
          </a:p>
        </p:txBody>
      </p:sp>
      <p:sp>
        <p:nvSpPr>
          <p:cNvPr id="17" name="object 12">
            <a:extLst>
              <a:ext uri="{FF2B5EF4-FFF2-40B4-BE49-F238E27FC236}">
                <a16:creationId xmlns:a16="http://schemas.microsoft.com/office/drawing/2014/main" id="{0B9B764C-4EFE-45C4-9C0D-5839A66F2604}"/>
              </a:ext>
            </a:extLst>
          </p:cNvPr>
          <p:cNvSpPr/>
          <p:nvPr/>
        </p:nvSpPr>
        <p:spPr>
          <a:xfrm>
            <a:off x="456832" y="177459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8" name="Group 571">
            <a:extLst>
              <a:ext uri="{FF2B5EF4-FFF2-40B4-BE49-F238E27FC236}">
                <a16:creationId xmlns:a16="http://schemas.microsoft.com/office/drawing/2014/main" id="{613397F1-3A24-4696-B6A9-544806126B1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9" y="1838450"/>
            <a:ext cx="457001" cy="565730"/>
            <a:chOff x="2312" y="2357"/>
            <a:chExt cx="269" cy="333"/>
          </a:xfrm>
          <a:solidFill>
            <a:schemeClr val="bg2">
              <a:lumMod val="25000"/>
            </a:schemeClr>
          </a:solidFill>
        </p:grpSpPr>
        <p:sp>
          <p:nvSpPr>
            <p:cNvPr id="19" name="Freeform 572">
              <a:extLst>
                <a:ext uri="{FF2B5EF4-FFF2-40B4-BE49-F238E27FC236}">
                  <a16:creationId xmlns:a16="http://schemas.microsoft.com/office/drawing/2014/main" id="{B8DF362C-3FE5-4034-A1DA-18C00420F4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3" y="2363"/>
              <a:ext cx="208" cy="209"/>
            </a:xfrm>
            <a:custGeom>
              <a:avLst/>
              <a:gdLst>
                <a:gd name="T0" fmla="*/ 2494 w 3835"/>
                <a:gd name="T1" fmla="*/ 1217 h 3836"/>
                <a:gd name="T2" fmla="*/ 2103 w 3835"/>
                <a:gd name="T3" fmla="*/ 1608 h 3836"/>
                <a:gd name="T4" fmla="*/ 439 w 3835"/>
                <a:gd name="T5" fmla="*/ 1701 h 3836"/>
                <a:gd name="T6" fmla="*/ 472 w 3835"/>
                <a:gd name="T7" fmla="*/ 3366 h 3836"/>
                <a:gd name="T8" fmla="*/ 2138 w 3835"/>
                <a:gd name="T9" fmla="*/ 3396 h 3836"/>
                <a:gd name="T10" fmla="*/ 2227 w 3835"/>
                <a:gd name="T11" fmla="*/ 1731 h 3836"/>
                <a:gd name="T12" fmla="*/ 2618 w 3835"/>
                <a:gd name="T13" fmla="*/ 1341 h 3836"/>
                <a:gd name="T14" fmla="*/ 3046 w 3835"/>
                <a:gd name="T15" fmla="*/ 1447 h 3836"/>
                <a:gd name="T16" fmla="*/ 3129 w 3835"/>
                <a:gd name="T17" fmla="*/ 1424 h 3836"/>
                <a:gd name="T18" fmla="*/ 3783 w 3835"/>
                <a:gd name="T19" fmla="*/ 771 h 3836"/>
                <a:gd name="T20" fmla="*/ 3729 w 3835"/>
                <a:gd name="T21" fmla="*/ 622 h 3836"/>
                <a:gd name="T22" fmla="*/ 3260 w 3835"/>
                <a:gd name="T23" fmla="*/ 575 h 3836"/>
                <a:gd name="T24" fmla="*/ 3213 w 3835"/>
                <a:gd name="T25" fmla="*/ 105 h 3836"/>
                <a:gd name="T26" fmla="*/ 3064 w 3835"/>
                <a:gd name="T27" fmla="*/ 52 h 3836"/>
                <a:gd name="T28" fmla="*/ 2410 w 3835"/>
                <a:gd name="T29" fmla="*/ 706 h 3836"/>
                <a:gd name="T30" fmla="*/ 2387 w 3835"/>
                <a:gd name="T31" fmla="*/ 789 h 3836"/>
                <a:gd name="T32" fmla="*/ 2494 w 3835"/>
                <a:gd name="T33" fmla="*/ 1217 h 3836"/>
                <a:gd name="T34" fmla="*/ 2370 w 3835"/>
                <a:gd name="T35" fmla="*/ 2516 h 3836"/>
                <a:gd name="T36" fmla="*/ 1547 w 3835"/>
                <a:gd name="T37" fmla="*/ 3545 h 3836"/>
                <a:gd name="T38" fmla="*/ 365 w 3835"/>
                <a:gd name="T39" fmla="*/ 2962 h 3836"/>
                <a:gd name="T40" fmla="*/ 680 w 3835"/>
                <a:gd name="T41" fmla="*/ 1682 h 3836"/>
                <a:gd name="T42" fmla="*/ 1997 w 3835"/>
                <a:gd name="T43" fmla="*/ 1714 h 3836"/>
                <a:gd name="T44" fmla="*/ 1611 w 3835"/>
                <a:gd name="T45" fmla="*/ 2100 h 3836"/>
                <a:gd name="T46" fmla="*/ 929 w 3835"/>
                <a:gd name="T47" fmla="*/ 2191 h 3836"/>
                <a:gd name="T48" fmla="*/ 961 w 3835"/>
                <a:gd name="T49" fmla="*/ 2877 h 3836"/>
                <a:gd name="T50" fmla="*/ 1648 w 3835"/>
                <a:gd name="T51" fmla="*/ 2906 h 3836"/>
                <a:gd name="T52" fmla="*/ 1735 w 3835"/>
                <a:gd name="T53" fmla="*/ 2224 h 3836"/>
                <a:gd name="T54" fmla="*/ 2121 w 3835"/>
                <a:gd name="T55" fmla="*/ 1838 h 3836"/>
                <a:gd name="T56" fmla="*/ 2370 w 3835"/>
                <a:gd name="T57" fmla="*/ 2516 h 3836"/>
                <a:gd name="T58" fmla="*/ 1678 w 3835"/>
                <a:gd name="T59" fmla="*/ 2516 h 3836"/>
                <a:gd name="T60" fmla="*/ 1412 w 3835"/>
                <a:gd name="T61" fmla="*/ 2863 h 3836"/>
                <a:gd name="T62" fmla="*/ 1009 w 3835"/>
                <a:gd name="T63" fmla="*/ 2694 h 3836"/>
                <a:gd name="T64" fmla="*/ 1069 w 3835"/>
                <a:gd name="T65" fmla="*/ 2261 h 3836"/>
                <a:gd name="T66" fmla="*/ 1503 w 3835"/>
                <a:gd name="T67" fmla="*/ 2209 h 3836"/>
                <a:gd name="T68" fmla="*/ 1257 w 3835"/>
                <a:gd name="T69" fmla="*/ 2455 h 3836"/>
                <a:gd name="T70" fmla="*/ 1257 w 3835"/>
                <a:gd name="T71" fmla="*/ 2578 h 3836"/>
                <a:gd name="T72" fmla="*/ 1380 w 3835"/>
                <a:gd name="T73" fmla="*/ 2578 h 3836"/>
                <a:gd name="T74" fmla="*/ 1627 w 3835"/>
                <a:gd name="T75" fmla="*/ 2332 h 3836"/>
                <a:gd name="T76" fmla="*/ 1678 w 3835"/>
                <a:gd name="T77" fmla="*/ 2516 h 3836"/>
                <a:gd name="T78" fmla="*/ 3040 w 3835"/>
                <a:gd name="T79" fmla="*/ 1266 h 3836"/>
                <a:gd name="T80" fmla="*/ 2762 w 3835"/>
                <a:gd name="T81" fmla="*/ 1196 h 3836"/>
                <a:gd name="T82" fmla="*/ 3212 w 3835"/>
                <a:gd name="T83" fmla="*/ 746 h 3836"/>
                <a:gd name="T84" fmla="*/ 3528 w 3835"/>
                <a:gd name="T85" fmla="*/ 778 h 3836"/>
                <a:gd name="T86" fmla="*/ 3040 w 3835"/>
                <a:gd name="T87" fmla="*/ 1266 h 3836"/>
                <a:gd name="T88" fmla="*/ 3057 w 3835"/>
                <a:gd name="T89" fmla="*/ 307 h 3836"/>
                <a:gd name="T90" fmla="*/ 3089 w 3835"/>
                <a:gd name="T91" fmla="*/ 622 h 3836"/>
                <a:gd name="T92" fmla="*/ 2639 w 3835"/>
                <a:gd name="T93" fmla="*/ 1072 h 3836"/>
                <a:gd name="T94" fmla="*/ 2569 w 3835"/>
                <a:gd name="T95" fmla="*/ 795 h 3836"/>
                <a:gd name="T96" fmla="*/ 3057 w 3835"/>
                <a:gd name="T97" fmla="*/ 307 h 3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835" h="3836">
                  <a:moveTo>
                    <a:pt x="2494" y="1217"/>
                  </a:moveTo>
                  <a:lnTo>
                    <a:pt x="2103" y="1608"/>
                  </a:lnTo>
                  <a:cubicBezTo>
                    <a:pt x="1614" y="1186"/>
                    <a:pt x="878" y="1227"/>
                    <a:pt x="439" y="1701"/>
                  </a:cubicBezTo>
                  <a:cubicBezTo>
                    <a:pt x="0" y="2174"/>
                    <a:pt x="15" y="2910"/>
                    <a:pt x="472" y="3366"/>
                  </a:cubicBezTo>
                  <a:cubicBezTo>
                    <a:pt x="930" y="3823"/>
                    <a:pt x="1666" y="3836"/>
                    <a:pt x="2138" y="3396"/>
                  </a:cubicBezTo>
                  <a:cubicBezTo>
                    <a:pt x="2611" y="2955"/>
                    <a:pt x="2650" y="2220"/>
                    <a:pt x="2227" y="1731"/>
                  </a:cubicBezTo>
                  <a:lnTo>
                    <a:pt x="2618" y="1341"/>
                  </a:lnTo>
                  <a:lnTo>
                    <a:pt x="3046" y="1447"/>
                  </a:lnTo>
                  <a:cubicBezTo>
                    <a:pt x="3075" y="1455"/>
                    <a:pt x="3107" y="1446"/>
                    <a:pt x="3129" y="1424"/>
                  </a:cubicBezTo>
                  <a:lnTo>
                    <a:pt x="3783" y="771"/>
                  </a:lnTo>
                  <a:cubicBezTo>
                    <a:pt x="3835" y="718"/>
                    <a:pt x="3803" y="629"/>
                    <a:pt x="3729" y="622"/>
                  </a:cubicBezTo>
                  <a:lnTo>
                    <a:pt x="3260" y="575"/>
                  </a:lnTo>
                  <a:lnTo>
                    <a:pt x="3213" y="105"/>
                  </a:lnTo>
                  <a:cubicBezTo>
                    <a:pt x="3206" y="32"/>
                    <a:pt x="3117" y="0"/>
                    <a:pt x="3064" y="52"/>
                  </a:cubicBezTo>
                  <a:lnTo>
                    <a:pt x="2410" y="706"/>
                  </a:lnTo>
                  <a:cubicBezTo>
                    <a:pt x="2389" y="728"/>
                    <a:pt x="2380" y="759"/>
                    <a:pt x="2387" y="789"/>
                  </a:cubicBezTo>
                  <a:lnTo>
                    <a:pt x="2494" y="1217"/>
                  </a:lnTo>
                  <a:close/>
                  <a:moveTo>
                    <a:pt x="2370" y="2516"/>
                  </a:moveTo>
                  <a:cubicBezTo>
                    <a:pt x="2371" y="3010"/>
                    <a:pt x="2028" y="3437"/>
                    <a:pt x="1547" y="3545"/>
                  </a:cubicBezTo>
                  <a:cubicBezTo>
                    <a:pt x="1065" y="3652"/>
                    <a:pt x="574" y="3409"/>
                    <a:pt x="365" y="2962"/>
                  </a:cubicBezTo>
                  <a:cubicBezTo>
                    <a:pt x="157" y="2514"/>
                    <a:pt x="288" y="1982"/>
                    <a:pt x="680" y="1682"/>
                  </a:cubicBezTo>
                  <a:cubicBezTo>
                    <a:pt x="1072" y="1383"/>
                    <a:pt x="1620" y="1396"/>
                    <a:pt x="1997" y="1714"/>
                  </a:cubicBezTo>
                  <a:lnTo>
                    <a:pt x="1611" y="2100"/>
                  </a:lnTo>
                  <a:cubicBezTo>
                    <a:pt x="1395" y="1949"/>
                    <a:pt x="1098" y="1988"/>
                    <a:pt x="929" y="2191"/>
                  </a:cubicBezTo>
                  <a:cubicBezTo>
                    <a:pt x="760" y="2393"/>
                    <a:pt x="774" y="2691"/>
                    <a:pt x="961" y="2877"/>
                  </a:cubicBezTo>
                  <a:cubicBezTo>
                    <a:pt x="1148" y="3064"/>
                    <a:pt x="1446" y="3076"/>
                    <a:pt x="1648" y="2906"/>
                  </a:cubicBezTo>
                  <a:cubicBezTo>
                    <a:pt x="1849" y="2736"/>
                    <a:pt x="1887" y="2439"/>
                    <a:pt x="1735" y="2224"/>
                  </a:cubicBezTo>
                  <a:lnTo>
                    <a:pt x="2121" y="1838"/>
                  </a:lnTo>
                  <a:cubicBezTo>
                    <a:pt x="2282" y="2027"/>
                    <a:pt x="2370" y="2268"/>
                    <a:pt x="2370" y="2516"/>
                  </a:cubicBezTo>
                  <a:close/>
                  <a:moveTo>
                    <a:pt x="1678" y="2516"/>
                  </a:moveTo>
                  <a:cubicBezTo>
                    <a:pt x="1678" y="2679"/>
                    <a:pt x="1569" y="2821"/>
                    <a:pt x="1412" y="2863"/>
                  </a:cubicBezTo>
                  <a:cubicBezTo>
                    <a:pt x="1255" y="2905"/>
                    <a:pt x="1089" y="2835"/>
                    <a:pt x="1009" y="2694"/>
                  </a:cubicBezTo>
                  <a:cubicBezTo>
                    <a:pt x="928" y="2553"/>
                    <a:pt x="953" y="2375"/>
                    <a:pt x="1069" y="2261"/>
                  </a:cubicBezTo>
                  <a:cubicBezTo>
                    <a:pt x="1185" y="2147"/>
                    <a:pt x="1363" y="2126"/>
                    <a:pt x="1503" y="2209"/>
                  </a:cubicBezTo>
                  <a:lnTo>
                    <a:pt x="1257" y="2455"/>
                  </a:lnTo>
                  <a:cubicBezTo>
                    <a:pt x="1222" y="2489"/>
                    <a:pt x="1222" y="2544"/>
                    <a:pt x="1257" y="2578"/>
                  </a:cubicBezTo>
                  <a:cubicBezTo>
                    <a:pt x="1291" y="2612"/>
                    <a:pt x="1346" y="2612"/>
                    <a:pt x="1380" y="2578"/>
                  </a:cubicBezTo>
                  <a:lnTo>
                    <a:pt x="1627" y="2332"/>
                  </a:lnTo>
                  <a:cubicBezTo>
                    <a:pt x="1660" y="2388"/>
                    <a:pt x="1678" y="2451"/>
                    <a:pt x="1678" y="2516"/>
                  </a:cubicBezTo>
                  <a:close/>
                  <a:moveTo>
                    <a:pt x="3040" y="1266"/>
                  </a:moveTo>
                  <a:lnTo>
                    <a:pt x="2762" y="1196"/>
                  </a:lnTo>
                  <a:lnTo>
                    <a:pt x="3212" y="746"/>
                  </a:lnTo>
                  <a:lnTo>
                    <a:pt x="3528" y="778"/>
                  </a:lnTo>
                  <a:lnTo>
                    <a:pt x="3040" y="1266"/>
                  </a:lnTo>
                  <a:close/>
                  <a:moveTo>
                    <a:pt x="3057" y="307"/>
                  </a:moveTo>
                  <a:lnTo>
                    <a:pt x="3089" y="622"/>
                  </a:lnTo>
                  <a:lnTo>
                    <a:pt x="2639" y="1072"/>
                  </a:lnTo>
                  <a:lnTo>
                    <a:pt x="2569" y="795"/>
                  </a:lnTo>
                  <a:lnTo>
                    <a:pt x="3057" y="30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573">
              <a:extLst>
                <a:ext uri="{FF2B5EF4-FFF2-40B4-BE49-F238E27FC236}">
                  <a16:creationId xmlns:a16="http://schemas.microsoft.com/office/drawing/2014/main" id="{F3137078-3967-44E1-A6BF-41228C31BF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5" y="2408"/>
              <a:ext cx="193" cy="282"/>
            </a:xfrm>
            <a:custGeom>
              <a:avLst/>
              <a:gdLst>
                <a:gd name="T0" fmla="*/ 686 w 3539"/>
                <a:gd name="T1" fmla="*/ 2944 h 5188"/>
                <a:gd name="T2" fmla="*/ 1029 w 3539"/>
                <a:gd name="T3" fmla="*/ 3731 h 5188"/>
                <a:gd name="T4" fmla="*/ 1029 w 3539"/>
                <a:gd name="T5" fmla="*/ 4540 h 5188"/>
                <a:gd name="T6" fmla="*/ 1353 w 3539"/>
                <a:gd name="T7" fmla="*/ 4864 h 5188"/>
                <a:gd name="T8" fmla="*/ 1758 w 3539"/>
                <a:gd name="T9" fmla="*/ 4864 h 5188"/>
                <a:gd name="T10" fmla="*/ 1758 w 3539"/>
                <a:gd name="T11" fmla="*/ 5113 h 5188"/>
                <a:gd name="T12" fmla="*/ 1833 w 3539"/>
                <a:gd name="T13" fmla="*/ 5188 h 5188"/>
                <a:gd name="T14" fmla="*/ 1908 w 3539"/>
                <a:gd name="T15" fmla="*/ 5113 h 5188"/>
                <a:gd name="T16" fmla="*/ 1908 w 3539"/>
                <a:gd name="T17" fmla="*/ 4864 h 5188"/>
                <a:gd name="T18" fmla="*/ 2312 w 3539"/>
                <a:gd name="T19" fmla="*/ 4864 h 5188"/>
                <a:gd name="T20" fmla="*/ 2637 w 3539"/>
                <a:gd name="T21" fmla="*/ 4540 h 5188"/>
                <a:gd name="T22" fmla="*/ 2637 w 3539"/>
                <a:gd name="T23" fmla="*/ 3730 h 5188"/>
                <a:gd name="T24" fmla="*/ 2988 w 3539"/>
                <a:gd name="T25" fmla="*/ 2936 h 5188"/>
                <a:gd name="T26" fmla="*/ 3527 w 3539"/>
                <a:gd name="T27" fmla="*/ 1651 h 5188"/>
                <a:gd name="T28" fmla="*/ 3171 w 3539"/>
                <a:gd name="T29" fmla="*/ 657 h 5188"/>
                <a:gd name="T30" fmla="*/ 3052 w 3539"/>
                <a:gd name="T31" fmla="*/ 749 h 5188"/>
                <a:gd name="T32" fmla="*/ 3377 w 3539"/>
                <a:gd name="T33" fmla="*/ 1654 h 5188"/>
                <a:gd name="T34" fmla="*/ 2886 w 3539"/>
                <a:gd name="T35" fmla="*/ 2826 h 5188"/>
                <a:gd name="T36" fmla="*/ 2489 w 3539"/>
                <a:gd name="T37" fmla="*/ 3656 h 5188"/>
                <a:gd name="T38" fmla="*/ 1176 w 3539"/>
                <a:gd name="T39" fmla="*/ 3656 h 5188"/>
                <a:gd name="T40" fmla="*/ 788 w 3539"/>
                <a:gd name="T41" fmla="*/ 2833 h 5188"/>
                <a:gd name="T42" fmla="*/ 393 w 3539"/>
                <a:gd name="T43" fmla="*/ 1135 h 5188"/>
                <a:gd name="T44" fmla="*/ 1833 w 3539"/>
                <a:gd name="T45" fmla="*/ 150 h 5188"/>
                <a:gd name="T46" fmla="*/ 1847 w 3539"/>
                <a:gd name="T47" fmla="*/ 150 h 5188"/>
                <a:gd name="T48" fmla="*/ 2757 w 3539"/>
                <a:gd name="T49" fmla="*/ 459 h 5188"/>
                <a:gd name="T50" fmla="*/ 2862 w 3539"/>
                <a:gd name="T51" fmla="*/ 444 h 5188"/>
                <a:gd name="T52" fmla="*/ 2847 w 3539"/>
                <a:gd name="T53" fmla="*/ 339 h 5188"/>
                <a:gd name="T54" fmla="*/ 1848 w 3539"/>
                <a:gd name="T55" fmla="*/ 1 h 5188"/>
                <a:gd name="T56" fmla="*/ 1833 w 3539"/>
                <a:gd name="T57" fmla="*/ 0 h 5188"/>
                <a:gd name="T58" fmla="*/ 253 w 3539"/>
                <a:gd name="T59" fmla="*/ 1080 h 5188"/>
                <a:gd name="T60" fmla="*/ 686 w 3539"/>
                <a:gd name="T61" fmla="*/ 2944 h 5188"/>
                <a:gd name="T62" fmla="*/ 2312 w 3539"/>
                <a:gd name="T63" fmla="*/ 4714 h 5188"/>
                <a:gd name="T64" fmla="*/ 1353 w 3539"/>
                <a:gd name="T65" fmla="*/ 4714 h 5188"/>
                <a:gd name="T66" fmla="*/ 1179 w 3539"/>
                <a:gd name="T67" fmla="*/ 4540 h 5188"/>
                <a:gd name="T68" fmla="*/ 1179 w 3539"/>
                <a:gd name="T69" fmla="*/ 4508 h 5188"/>
                <a:gd name="T70" fmla="*/ 2038 w 3539"/>
                <a:gd name="T71" fmla="*/ 4508 h 5188"/>
                <a:gd name="T72" fmla="*/ 2113 w 3539"/>
                <a:gd name="T73" fmla="*/ 4433 h 5188"/>
                <a:gd name="T74" fmla="*/ 2038 w 3539"/>
                <a:gd name="T75" fmla="*/ 4358 h 5188"/>
                <a:gd name="T76" fmla="*/ 1179 w 3539"/>
                <a:gd name="T77" fmla="*/ 4358 h 5188"/>
                <a:gd name="T78" fmla="*/ 1179 w 3539"/>
                <a:gd name="T79" fmla="*/ 4152 h 5188"/>
                <a:gd name="T80" fmla="*/ 1390 w 3539"/>
                <a:gd name="T81" fmla="*/ 4152 h 5188"/>
                <a:gd name="T82" fmla="*/ 1465 w 3539"/>
                <a:gd name="T83" fmla="*/ 4077 h 5188"/>
                <a:gd name="T84" fmla="*/ 1390 w 3539"/>
                <a:gd name="T85" fmla="*/ 4002 h 5188"/>
                <a:gd name="T86" fmla="*/ 1179 w 3539"/>
                <a:gd name="T87" fmla="*/ 4002 h 5188"/>
                <a:gd name="T88" fmla="*/ 1179 w 3539"/>
                <a:gd name="T89" fmla="*/ 3806 h 5188"/>
                <a:gd name="T90" fmla="*/ 2487 w 3539"/>
                <a:gd name="T91" fmla="*/ 3806 h 5188"/>
                <a:gd name="T92" fmla="*/ 2487 w 3539"/>
                <a:gd name="T93" fmla="*/ 4002 h 5188"/>
                <a:gd name="T94" fmla="*/ 1648 w 3539"/>
                <a:gd name="T95" fmla="*/ 4002 h 5188"/>
                <a:gd name="T96" fmla="*/ 1573 w 3539"/>
                <a:gd name="T97" fmla="*/ 4077 h 5188"/>
                <a:gd name="T98" fmla="*/ 1648 w 3539"/>
                <a:gd name="T99" fmla="*/ 4152 h 5188"/>
                <a:gd name="T100" fmla="*/ 2487 w 3539"/>
                <a:gd name="T101" fmla="*/ 4152 h 5188"/>
                <a:gd name="T102" fmla="*/ 2487 w 3539"/>
                <a:gd name="T103" fmla="*/ 4358 h 5188"/>
                <a:gd name="T104" fmla="*/ 2296 w 3539"/>
                <a:gd name="T105" fmla="*/ 4358 h 5188"/>
                <a:gd name="T106" fmla="*/ 2221 w 3539"/>
                <a:gd name="T107" fmla="*/ 4433 h 5188"/>
                <a:gd name="T108" fmla="*/ 2296 w 3539"/>
                <a:gd name="T109" fmla="*/ 4508 h 5188"/>
                <a:gd name="T110" fmla="*/ 2487 w 3539"/>
                <a:gd name="T111" fmla="*/ 4508 h 5188"/>
                <a:gd name="T112" fmla="*/ 2487 w 3539"/>
                <a:gd name="T113" fmla="*/ 4540 h 5188"/>
                <a:gd name="T114" fmla="*/ 2312 w 3539"/>
                <a:gd name="T115" fmla="*/ 4714 h 5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39" h="5188">
                  <a:moveTo>
                    <a:pt x="686" y="2944"/>
                  </a:moveTo>
                  <a:cubicBezTo>
                    <a:pt x="905" y="3147"/>
                    <a:pt x="1030" y="3433"/>
                    <a:pt x="1029" y="3731"/>
                  </a:cubicBezTo>
                  <a:lnTo>
                    <a:pt x="1029" y="4540"/>
                  </a:lnTo>
                  <a:cubicBezTo>
                    <a:pt x="1029" y="4719"/>
                    <a:pt x="1174" y="4864"/>
                    <a:pt x="1353" y="4864"/>
                  </a:cubicBezTo>
                  <a:lnTo>
                    <a:pt x="1758" y="4864"/>
                  </a:lnTo>
                  <a:lnTo>
                    <a:pt x="1758" y="5113"/>
                  </a:lnTo>
                  <a:cubicBezTo>
                    <a:pt x="1758" y="5154"/>
                    <a:pt x="1791" y="5188"/>
                    <a:pt x="1833" y="5188"/>
                  </a:cubicBezTo>
                  <a:cubicBezTo>
                    <a:pt x="1874" y="5188"/>
                    <a:pt x="1908" y="5154"/>
                    <a:pt x="1908" y="5113"/>
                  </a:cubicBezTo>
                  <a:lnTo>
                    <a:pt x="1908" y="4864"/>
                  </a:lnTo>
                  <a:lnTo>
                    <a:pt x="2312" y="4864"/>
                  </a:lnTo>
                  <a:cubicBezTo>
                    <a:pt x="2491" y="4864"/>
                    <a:pt x="2636" y="4719"/>
                    <a:pt x="2637" y="4540"/>
                  </a:cubicBezTo>
                  <a:lnTo>
                    <a:pt x="2637" y="3730"/>
                  </a:lnTo>
                  <a:cubicBezTo>
                    <a:pt x="2639" y="3428"/>
                    <a:pt x="2766" y="3141"/>
                    <a:pt x="2988" y="2936"/>
                  </a:cubicBezTo>
                  <a:cubicBezTo>
                    <a:pt x="3343" y="2604"/>
                    <a:pt x="3539" y="2136"/>
                    <a:pt x="3527" y="1651"/>
                  </a:cubicBezTo>
                  <a:cubicBezTo>
                    <a:pt x="3518" y="1290"/>
                    <a:pt x="3393" y="941"/>
                    <a:pt x="3171" y="657"/>
                  </a:cubicBezTo>
                  <a:cubicBezTo>
                    <a:pt x="3109" y="578"/>
                    <a:pt x="2991" y="670"/>
                    <a:pt x="3052" y="749"/>
                  </a:cubicBezTo>
                  <a:cubicBezTo>
                    <a:pt x="3255" y="1008"/>
                    <a:pt x="3369" y="1325"/>
                    <a:pt x="3377" y="1654"/>
                  </a:cubicBezTo>
                  <a:cubicBezTo>
                    <a:pt x="3388" y="2097"/>
                    <a:pt x="3209" y="2524"/>
                    <a:pt x="2886" y="2826"/>
                  </a:cubicBezTo>
                  <a:cubicBezTo>
                    <a:pt x="2652" y="3042"/>
                    <a:pt x="2510" y="3339"/>
                    <a:pt x="2489" y="3656"/>
                  </a:cubicBezTo>
                  <a:lnTo>
                    <a:pt x="1176" y="3656"/>
                  </a:lnTo>
                  <a:cubicBezTo>
                    <a:pt x="1158" y="3342"/>
                    <a:pt x="1019" y="3047"/>
                    <a:pt x="788" y="2833"/>
                  </a:cubicBezTo>
                  <a:cubicBezTo>
                    <a:pt x="319" y="2403"/>
                    <a:pt x="162" y="1728"/>
                    <a:pt x="393" y="1135"/>
                  </a:cubicBezTo>
                  <a:cubicBezTo>
                    <a:pt x="624" y="541"/>
                    <a:pt x="1196" y="151"/>
                    <a:pt x="1833" y="150"/>
                  </a:cubicBezTo>
                  <a:lnTo>
                    <a:pt x="1847" y="150"/>
                  </a:lnTo>
                  <a:cubicBezTo>
                    <a:pt x="2176" y="153"/>
                    <a:pt x="2495" y="261"/>
                    <a:pt x="2757" y="459"/>
                  </a:cubicBezTo>
                  <a:cubicBezTo>
                    <a:pt x="2790" y="484"/>
                    <a:pt x="2837" y="477"/>
                    <a:pt x="2862" y="444"/>
                  </a:cubicBezTo>
                  <a:cubicBezTo>
                    <a:pt x="2887" y="411"/>
                    <a:pt x="2880" y="364"/>
                    <a:pt x="2847" y="339"/>
                  </a:cubicBezTo>
                  <a:cubicBezTo>
                    <a:pt x="2559" y="122"/>
                    <a:pt x="2209" y="3"/>
                    <a:pt x="1848" y="1"/>
                  </a:cubicBezTo>
                  <a:cubicBezTo>
                    <a:pt x="1843" y="0"/>
                    <a:pt x="1838" y="0"/>
                    <a:pt x="1833" y="0"/>
                  </a:cubicBezTo>
                  <a:cubicBezTo>
                    <a:pt x="1134" y="0"/>
                    <a:pt x="507" y="429"/>
                    <a:pt x="253" y="1080"/>
                  </a:cubicBezTo>
                  <a:cubicBezTo>
                    <a:pt x="0" y="1731"/>
                    <a:pt x="172" y="2471"/>
                    <a:pt x="686" y="2944"/>
                  </a:cubicBezTo>
                  <a:close/>
                  <a:moveTo>
                    <a:pt x="2312" y="4714"/>
                  </a:moveTo>
                  <a:lnTo>
                    <a:pt x="1353" y="4714"/>
                  </a:lnTo>
                  <a:cubicBezTo>
                    <a:pt x="1257" y="4714"/>
                    <a:pt x="1179" y="4636"/>
                    <a:pt x="1179" y="4540"/>
                  </a:cubicBezTo>
                  <a:lnTo>
                    <a:pt x="1179" y="4508"/>
                  </a:lnTo>
                  <a:lnTo>
                    <a:pt x="2038" y="4508"/>
                  </a:lnTo>
                  <a:cubicBezTo>
                    <a:pt x="2080" y="4508"/>
                    <a:pt x="2113" y="4474"/>
                    <a:pt x="2113" y="4433"/>
                  </a:cubicBezTo>
                  <a:cubicBezTo>
                    <a:pt x="2113" y="4391"/>
                    <a:pt x="2080" y="4358"/>
                    <a:pt x="2038" y="4358"/>
                  </a:cubicBezTo>
                  <a:lnTo>
                    <a:pt x="1179" y="4358"/>
                  </a:lnTo>
                  <a:lnTo>
                    <a:pt x="1179" y="4152"/>
                  </a:lnTo>
                  <a:lnTo>
                    <a:pt x="1390" y="4152"/>
                  </a:lnTo>
                  <a:cubicBezTo>
                    <a:pt x="1432" y="4152"/>
                    <a:pt x="1465" y="4118"/>
                    <a:pt x="1465" y="4077"/>
                  </a:cubicBezTo>
                  <a:cubicBezTo>
                    <a:pt x="1465" y="4035"/>
                    <a:pt x="1432" y="4002"/>
                    <a:pt x="1390" y="4002"/>
                  </a:cubicBezTo>
                  <a:lnTo>
                    <a:pt x="1179" y="4002"/>
                  </a:lnTo>
                  <a:lnTo>
                    <a:pt x="1179" y="3806"/>
                  </a:lnTo>
                  <a:lnTo>
                    <a:pt x="2487" y="3806"/>
                  </a:lnTo>
                  <a:lnTo>
                    <a:pt x="2487" y="4002"/>
                  </a:lnTo>
                  <a:lnTo>
                    <a:pt x="1648" y="4002"/>
                  </a:lnTo>
                  <a:cubicBezTo>
                    <a:pt x="1607" y="4002"/>
                    <a:pt x="1573" y="4035"/>
                    <a:pt x="1573" y="4077"/>
                  </a:cubicBezTo>
                  <a:cubicBezTo>
                    <a:pt x="1573" y="4118"/>
                    <a:pt x="1607" y="4152"/>
                    <a:pt x="1648" y="4152"/>
                  </a:cubicBezTo>
                  <a:lnTo>
                    <a:pt x="2487" y="4152"/>
                  </a:lnTo>
                  <a:lnTo>
                    <a:pt x="2487" y="4358"/>
                  </a:lnTo>
                  <a:lnTo>
                    <a:pt x="2296" y="4358"/>
                  </a:lnTo>
                  <a:cubicBezTo>
                    <a:pt x="2255" y="4358"/>
                    <a:pt x="2221" y="4391"/>
                    <a:pt x="2221" y="4433"/>
                  </a:cubicBezTo>
                  <a:cubicBezTo>
                    <a:pt x="2221" y="4474"/>
                    <a:pt x="2255" y="4508"/>
                    <a:pt x="2296" y="4508"/>
                  </a:cubicBezTo>
                  <a:lnTo>
                    <a:pt x="2487" y="4508"/>
                  </a:lnTo>
                  <a:lnTo>
                    <a:pt x="2487" y="4540"/>
                  </a:lnTo>
                  <a:cubicBezTo>
                    <a:pt x="2487" y="4636"/>
                    <a:pt x="2409" y="4714"/>
                    <a:pt x="2312" y="471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574">
              <a:extLst>
                <a:ext uri="{FF2B5EF4-FFF2-40B4-BE49-F238E27FC236}">
                  <a16:creationId xmlns:a16="http://schemas.microsoft.com/office/drawing/2014/main" id="{51EA8E4E-2966-4037-B8FB-45B5B0E307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4" y="2357"/>
              <a:ext cx="8" cy="36"/>
            </a:xfrm>
            <a:custGeom>
              <a:avLst/>
              <a:gdLst>
                <a:gd name="T0" fmla="*/ 75 w 150"/>
                <a:gd name="T1" fmla="*/ 649 h 649"/>
                <a:gd name="T2" fmla="*/ 150 w 150"/>
                <a:gd name="T3" fmla="*/ 574 h 649"/>
                <a:gd name="T4" fmla="*/ 150 w 150"/>
                <a:gd name="T5" fmla="*/ 75 h 649"/>
                <a:gd name="T6" fmla="*/ 75 w 150"/>
                <a:gd name="T7" fmla="*/ 0 h 649"/>
                <a:gd name="T8" fmla="*/ 0 w 150"/>
                <a:gd name="T9" fmla="*/ 75 h 649"/>
                <a:gd name="T10" fmla="*/ 0 w 150"/>
                <a:gd name="T11" fmla="*/ 574 h 649"/>
                <a:gd name="T12" fmla="*/ 75 w 150"/>
                <a:gd name="T13" fmla="*/ 649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649">
                  <a:moveTo>
                    <a:pt x="75" y="649"/>
                  </a:moveTo>
                  <a:cubicBezTo>
                    <a:pt x="116" y="649"/>
                    <a:pt x="150" y="615"/>
                    <a:pt x="150" y="574"/>
                  </a:cubicBezTo>
                  <a:lnTo>
                    <a:pt x="150" y="75"/>
                  </a:lnTo>
                  <a:cubicBezTo>
                    <a:pt x="150" y="34"/>
                    <a:pt x="116" y="0"/>
                    <a:pt x="75" y="0"/>
                  </a:cubicBezTo>
                  <a:cubicBezTo>
                    <a:pt x="33" y="0"/>
                    <a:pt x="0" y="34"/>
                    <a:pt x="0" y="75"/>
                  </a:cubicBezTo>
                  <a:lnTo>
                    <a:pt x="0" y="574"/>
                  </a:lnTo>
                  <a:cubicBezTo>
                    <a:pt x="0" y="615"/>
                    <a:pt x="33" y="649"/>
                    <a:pt x="75" y="64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575">
              <a:extLst>
                <a:ext uri="{FF2B5EF4-FFF2-40B4-BE49-F238E27FC236}">
                  <a16:creationId xmlns:a16="http://schemas.microsoft.com/office/drawing/2014/main" id="{75A9C624-1D5C-4A31-9147-1A26D1BD8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3" y="2486"/>
              <a:ext cx="35" cy="9"/>
            </a:xfrm>
            <a:custGeom>
              <a:avLst/>
              <a:gdLst>
                <a:gd name="T0" fmla="*/ 75 w 649"/>
                <a:gd name="T1" fmla="*/ 0 h 150"/>
                <a:gd name="T2" fmla="*/ 0 w 649"/>
                <a:gd name="T3" fmla="*/ 75 h 150"/>
                <a:gd name="T4" fmla="*/ 75 w 649"/>
                <a:gd name="T5" fmla="*/ 150 h 150"/>
                <a:gd name="T6" fmla="*/ 574 w 649"/>
                <a:gd name="T7" fmla="*/ 150 h 150"/>
                <a:gd name="T8" fmla="*/ 649 w 649"/>
                <a:gd name="T9" fmla="*/ 75 h 150"/>
                <a:gd name="T10" fmla="*/ 574 w 649"/>
                <a:gd name="T11" fmla="*/ 0 h 150"/>
                <a:gd name="T12" fmla="*/ 75 w 649"/>
                <a:gd name="T1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9" h="150">
                  <a:moveTo>
                    <a:pt x="75" y="0"/>
                  </a:moveTo>
                  <a:cubicBezTo>
                    <a:pt x="34" y="0"/>
                    <a:pt x="0" y="34"/>
                    <a:pt x="0" y="75"/>
                  </a:cubicBezTo>
                  <a:cubicBezTo>
                    <a:pt x="0" y="117"/>
                    <a:pt x="34" y="150"/>
                    <a:pt x="75" y="150"/>
                  </a:cubicBezTo>
                  <a:lnTo>
                    <a:pt x="574" y="150"/>
                  </a:lnTo>
                  <a:cubicBezTo>
                    <a:pt x="615" y="150"/>
                    <a:pt x="649" y="117"/>
                    <a:pt x="649" y="75"/>
                  </a:cubicBezTo>
                  <a:cubicBezTo>
                    <a:pt x="649" y="34"/>
                    <a:pt x="615" y="0"/>
                    <a:pt x="574" y="0"/>
                  </a:cubicBezTo>
                  <a:lnTo>
                    <a:pt x="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576">
              <a:extLst>
                <a:ext uri="{FF2B5EF4-FFF2-40B4-BE49-F238E27FC236}">
                  <a16:creationId xmlns:a16="http://schemas.microsoft.com/office/drawing/2014/main" id="{448E043A-3556-4305-8475-4A1DB9568E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" y="2486"/>
              <a:ext cx="35" cy="9"/>
            </a:xfrm>
            <a:custGeom>
              <a:avLst/>
              <a:gdLst>
                <a:gd name="T0" fmla="*/ 75 w 648"/>
                <a:gd name="T1" fmla="*/ 150 h 150"/>
                <a:gd name="T2" fmla="*/ 573 w 648"/>
                <a:gd name="T3" fmla="*/ 150 h 150"/>
                <a:gd name="T4" fmla="*/ 648 w 648"/>
                <a:gd name="T5" fmla="*/ 75 h 150"/>
                <a:gd name="T6" fmla="*/ 573 w 648"/>
                <a:gd name="T7" fmla="*/ 0 h 150"/>
                <a:gd name="T8" fmla="*/ 75 w 648"/>
                <a:gd name="T9" fmla="*/ 0 h 150"/>
                <a:gd name="T10" fmla="*/ 0 w 648"/>
                <a:gd name="T11" fmla="*/ 75 h 150"/>
                <a:gd name="T12" fmla="*/ 75 w 648"/>
                <a:gd name="T13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8" h="150">
                  <a:moveTo>
                    <a:pt x="75" y="150"/>
                  </a:moveTo>
                  <a:lnTo>
                    <a:pt x="573" y="150"/>
                  </a:lnTo>
                  <a:cubicBezTo>
                    <a:pt x="614" y="150"/>
                    <a:pt x="648" y="117"/>
                    <a:pt x="648" y="75"/>
                  </a:cubicBezTo>
                  <a:cubicBezTo>
                    <a:pt x="648" y="34"/>
                    <a:pt x="614" y="0"/>
                    <a:pt x="573" y="0"/>
                  </a:cubicBezTo>
                  <a:lnTo>
                    <a:pt x="75" y="0"/>
                  </a:lnTo>
                  <a:cubicBezTo>
                    <a:pt x="33" y="0"/>
                    <a:pt x="0" y="34"/>
                    <a:pt x="0" y="75"/>
                  </a:cubicBezTo>
                  <a:cubicBezTo>
                    <a:pt x="0" y="117"/>
                    <a:pt x="33" y="150"/>
                    <a:pt x="75" y="15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577">
              <a:extLst>
                <a:ext uri="{FF2B5EF4-FFF2-40B4-BE49-F238E27FC236}">
                  <a16:creationId xmlns:a16="http://schemas.microsoft.com/office/drawing/2014/main" id="{6304B39F-01A5-44F6-9FA1-91ABCE7C80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3" y="2389"/>
              <a:ext cx="35" cy="34"/>
            </a:xfrm>
            <a:custGeom>
              <a:avLst/>
              <a:gdLst>
                <a:gd name="T0" fmla="*/ 459 w 636"/>
                <a:gd name="T1" fmla="*/ 566 h 637"/>
                <a:gd name="T2" fmla="*/ 565 w 636"/>
                <a:gd name="T3" fmla="*/ 460 h 637"/>
                <a:gd name="T4" fmla="*/ 176 w 636"/>
                <a:gd name="T5" fmla="*/ 71 h 637"/>
                <a:gd name="T6" fmla="*/ 70 w 636"/>
                <a:gd name="T7" fmla="*/ 177 h 637"/>
                <a:gd name="T8" fmla="*/ 459 w 636"/>
                <a:gd name="T9" fmla="*/ 566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6" h="637">
                  <a:moveTo>
                    <a:pt x="459" y="566"/>
                  </a:moveTo>
                  <a:cubicBezTo>
                    <a:pt x="530" y="637"/>
                    <a:pt x="636" y="530"/>
                    <a:pt x="565" y="460"/>
                  </a:cubicBezTo>
                  <a:lnTo>
                    <a:pt x="176" y="71"/>
                  </a:lnTo>
                  <a:cubicBezTo>
                    <a:pt x="106" y="0"/>
                    <a:pt x="0" y="106"/>
                    <a:pt x="70" y="177"/>
                  </a:cubicBezTo>
                  <a:lnTo>
                    <a:pt x="459" y="56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object 15">
            <a:extLst>
              <a:ext uri="{FF2B5EF4-FFF2-40B4-BE49-F238E27FC236}">
                <a16:creationId xmlns:a16="http://schemas.microsoft.com/office/drawing/2014/main" id="{5772E1F6-A4F5-4D6B-9E68-07F3885B9712}"/>
              </a:ext>
            </a:extLst>
          </p:cNvPr>
          <p:cNvSpPr txBox="1"/>
          <p:nvPr/>
        </p:nvSpPr>
        <p:spPr>
          <a:xfrm>
            <a:off x="1271992" y="3094702"/>
            <a:ext cx="4752571" cy="410008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Даврийлиги: :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шкилот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омонид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шкил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этил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ежалаштирил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қт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ралиғи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мал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ширилади</a:t>
            </a:r>
            <a:endParaRPr lang="ru-RU"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26" name="object 12">
            <a:extLst>
              <a:ext uri="{FF2B5EF4-FFF2-40B4-BE49-F238E27FC236}">
                <a16:creationId xmlns:a16="http://schemas.microsoft.com/office/drawing/2014/main" id="{5E4BE3CB-5278-482E-A363-294F2B76DC13}"/>
              </a:ext>
            </a:extLst>
          </p:cNvPr>
          <p:cNvSpPr/>
          <p:nvPr/>
        </p:nvSpPr>
        <p:spPr>
          <a:xfrm>
            <a:off x="456832" y="2908439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27" name="Group 379">
            <a:extLst>
              <a:ext uri="{FF2B5EF4-FFF2-40B4-BE49-F238E27FC236}">
                <a16:creationId xmlns:a16="http://schemas.microsoft.com/office/drawing/2014/main" id="{346728CE-0289-40BC-A3BF-5F3F1A80A7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3080" y="2991281"/>
            <a:ext cx="590071" cy="596415"/>
            <a:chOff x="1156" y="3368"/>
            <a:chExt cx="279" cy="282"/>
          </a:xfrm>
          <a:solidFill>
            <a:schemeClr val="bg2">
              <a:lumMod val="25000"/>
            </a:schemeClr>
          </a:solidFill>
        </p:grpSpPr>
        <p:sp>
          <p:nvSpPr>
            <p:cNvPr id="28" name="Freeform 380">
              <a:extLst>
                <a:ext uri="{FF2B5EF4-FFF2-40B4-BE49-F238E27FC236}">
                  <a16:creationId xmlns:a16="http://schemas.microsoft.com/office/drawing/2014/main" id="{CEBFE47E-3DFF-4227-A66E-2C591B0C2A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69" y="3516"/>
              <a:ext cx="96" cy="93"/>
            </a:xfrm>
            <a:custGeom>
              <a:avLst/>
              <a:gdLst>
                <a:gd name="T0" fmla="*/ 2440 w 2899"/>
                <a:gd name="T1" fmla="*/ 437 h 2811"/>
                <a:gd name="T2" fmla="*/ 2262 w 2899"/>
                <a:gd name="T3" fmla="*/ 444 h 2811"/>
                <a:gd name="T4" fmla="*/ 2269 w 2899"/>
                <a:gd name="T5" fmla="*/ 621 h 2811"/>
                <a:gd name="T6" fmla="*/ 2341 w 2899"/>
                <a:gd name="T7" fmla="*/ 693 h 2811"/>
                <a:gd name="T8" fmla="*/ 2631 w 2899"/>
                <a:gd name="T9" fmla="*/ 1496 h 2811"/>
                <a:gd name="T10" fmla="*/ 2269 w 2899"/>
                <a:gd name="T11" fmla="*/ 2269 h 2811"/>
                <a:gd name="T12" fmla="*/ 694 w 2899"/>
                <a:gd name="T13" fmla="*/ 2197 h 2811"/>
                <a:gd name="T14" fmla="*/ 765 w 2899"/>
                <a:gd name="T15" fmla="*/ 622 h 2811"/>
                <a:gd name="T16" fmla="*/ 1835 w 2899"/>
                <a:gd name="T17" fmla="*/ 376 h 2811"/>
                <a:gd name="T18" fmla="*/ 1991 w 2899"/>
                <a:gd name="T19" fmla="*/ 292 h 2811"/>
                <a:gd name="T20" fmla="*/ 1906 w 2899"/>
                <a:gd name="T21" fmla="*/ 135 h 2811"/>
                <a:gd name="T22" fmla="*/ 596 w 2899"/>
                <a:gd name="T23" fmla="*/ 436 h 2811"/>
                <a:gd name="T24" fmla="*/ 508 w 2899"/>
                <a:gd name="T25" fmla="*/ 2366 h 2811"/>
                <a:gd name="T26" fmla="*/ 1518 w 2899"/>
                <a:gd name="T27" fmla="*/ 2811 h 2811"/>
                <a:gd name="T28" fmla="*/ 2439 w 2899"/>
                <a:gd name="T29" fmla="*/ 2454 h 2811"/>
                <a:gd name="T30" fmla="*/ 2882 w 2899"/>
                <a:gd name="T31" fmla="*/ 1507 h 2811"/>
                <a:gd name="T32" fmla="*/ 2526 w 2899"/>
                <a:gd name="T33" fmla="*/ 523 h 2811"/>
                <a:gd name="T34" fmla="*/ 2440 w 2899"/>
                <a:gd name="T35" fmla="*/ 437 h 2811"/>
                <a:gd name="T36" fmla="*/ 2440 w 2899"/>
                <a:gd name="T37" fmla="*/ 437 h 2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99" h="2811">
                  <a:moveTo>
                    <a:pt x="2440" y="437"/>
                  </a:moveTo>
                  <a:cubicBezTo>
                    <a:pt x="2389" y="390"/>
                    <a:pt x="2310" y="393"/>
                    <a:pt x="2262" y="444"/>
                  </a:cubicBezTo>
                  <a:cubicBezTo>
                    <a:pt x="2215" y="494"/>
                    <a:pt x="2218" y="574"/>
                    <a:pt x="2269" y="621"/>
                  </a:cubicBezTo>
                  <a:cubicBezTo>
                    <a:pt x="2294" y="645"/>
                    <a:pt x="2318" y="669"/>
                    <a:pt x="2341" y="693"/>
                  </a:cubicBezTo>
                  <a:cubicBezTo>
                    <a:pt x="2541" y="913"/>
                    <a:pt x="2645" y="1198"/>
                    <a:pt x="2631" y="1496"/>
                  </a:cubicBezTo>
                  <a:cubicBezTo>
                    <a:pt x="2618" y="1793"/>
                    <a:pt x="2489" y="2068"/>
                    <a:pt x="2269" y="2269"/>
                  </a:cubicBezTo>
                  <a:cubicBezTo>
                    <a:pt x="1815" y="2683"/>
                    <a:pt x="1108" y="2651"/>
                    <a:pt x="694" y="2197"/>
                  </a:cubicBezTo>
                  <a:cubicBezTo>
                    <a:pt x="279" y="1743"/>
                    <a:pt x="311" y="1037"/>
                    <a:pt x="765" y="622"/>
                  </a:cubicBezTo>
                  <a:cubicBezTo>
                    <a:pt x="1057" y="356"/>
                    <a:pt x="1456" y="264"/>
                    <a:pt x="1835" y="376"/>
                  </a:cubicBezTo>
                  <a:cubicBezTo>
                    <a:pt x="1901" y="396"/>
                    <a:pt x="1971" y="358"/>
                    <a:pt x="1991" y="292"/>
                  </a:cubicBezTo>
                  <a:cubicBezTo>
                    <a:pt x="2011" y="225"/>
                    <a:pt x="1973" y="155"/>
                    <a:pt x="1906" y="135"/>
                  </a:cubicBezTo>
                  <a:cubicBezTo>
                    <a:pt x="1450" y="0"/>
                    <a:pt x="947" y="115"/>
                    <a:pt x="596" y="436"/>
                  </a:cubicBezTo>
                  <a:cubicBezTo>
                    <a:pt x="39" y="944"/>
                    <a:pt x="0" y="1811"/>
                    <a:pt x="508" y="2366"/>
                  </a:cubicBezTo>
                  <a:cubicBezTo>
                    <a:pt x="777" y="2661"/>
                    <a:pt x="1147" y="2811"/>
                    <a:pt x="1518" y="2811"/>
                  </a:cubicBezTo>
                  <a:cubicBezTo>
                    <a:pt x="1847" y="2811"/>
                    <a:pt x="2177" y="2693"/>
                    <a:pt x="2439" y="2454"/>
                  </a:cubicBezTo>
                  <a:cubicBezTo>
                    <a:pt x="2708" y="2208"/>
                    <a:pt x="2866" y="1872"/>
                    <a:pt x="2882" y="1507"/>
                  </a:cubicBezTo>
                  <a:cubicBezTo>
                    <a:pt x="2899" y="1143"/>
                    <a:pt x="2772" y="793"/>
                    <a:pt x="2526" y="523"/>
                  </a:cubicBezTo>
                  <a:cubicBezTo>
                    <a:pt x="2498" y="493"/>
                    <a:pt x="2470" y="465"/>
                    <a:pt x="2440" y="437"/>
                  </a:cubicBezTo>
                  <a:close/>
                  <a:moveTo>
                    <a:pt x="2440" y="437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381">
              <a:extLst>
                <a:ext uri="{FF2B5EF4-FFF2-40B4-BE49-F238E27FC236}">
                  <a16:creationId xmlns:a16="http://schemas.microsoft.com/office/drawing/2014/main" id="{B6AAA1E0-22F8-49A4-A513-0F0D187C66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5" y="3452"/>
              <a:ext cx="49" cy="49"/>
            </a:xfrm>
            <a:custGeom>
              <a:avLst/>
              <a:gdLst>
                <a:gd name="T0" fmla="*/ 882 w 1469"/>
                <a:gd name="T1" fmla="*/ 15 h 1469"/>
                <a:gd name="T2" fmla="*/ 734 w 1469"/>
                <a:gd name="T3" fmla="*/ 0 h 1469"/>
                <a:gd name="T4" fmla="*/ 586 w 1469"/>
                <a:gd name="T5" fmla="*/ 15 h 1469"/>
                <a:gd name="T6" fmla="*/ 0 w 1469"/>
                <a:gd name="T7" fmla="*/ 735 h 1469"/>
                <a:gd name="T8" fmla="*/ 734 w 1469"/>
                <a:gd name="T9" fmla="*/ 1469 h 1469"/>
                <a:gd name="T10" fmla="*/ 1469 w 1469"/>
                <a:gd name="T11" fmla="*/ 735 h 1469"/>
                <a:gd name="T12" fmla="*/ 882 w 1469"/>
                <a:gd name="T13" fmla="*/ 15 h 1469"/>
                <a:gd name="T14" fmla="*/ 734 w 1469"/>
                <a:gd name="T15" fmla="*/ 1218 h 1469"/>
                <a:gd name="T16" fmla="*/ 252 w 1469"/>
                <a:gd name="T17" fmla="*/ 735 h 1469"/>
                <a:gd name="T18" fmla="*/ 734 w 1469"/>
                <a:gd name="T19" fmla="*/ 252 h 1469"/>
                <a:gd name="T20" fmla="*/ 1217 w 1469"/>
                <a:gd name="T21" fmla="*/ 735 h 1469"/>
                <a:gd name="T22" fmla="*/ 734 w 1469"/>
                <a:gd name="T23" fmla="*/ 1218 h 1469"/>
                <a:gd name="T24" fmla="*/ 734 w 1469"/>
                <a:gd name="T25" fmla="*/ 1218 h 1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69" h="1469">
                  <a:moveTo>
                    <a:pt x="882" y="15"/>
                  </a:moveTo>
                  <a:cubicBezTo>
                    <a:pt x="834" y="6"/>
                    <a:pt x="785" y="0"/>
                    <a:pt x="734" y="0"/>
                  </a:cubicBezTo>
                  <a:cubicBezTo>
                    <a:pt x="684" y="0"/>
                    <a:pt x="634" y="6"/>
                    <a:pt x="586" y="15"/>
                  </a:cubicBezTo>
                  <a:cubicBezTo>
                    <a:pt x="252" y="84"/>
                    <a:pt x="0" y="380"/>
                    <a:pt x="0" y="735"/>
                  </a:cubicBezTo>
                  <a:cubicBezTo>
                    <a:pt x="0" y="1140"/>
                    <a:pt x="329" y="1469"/>
                    <a:pt x="734" y="1469"/>
                  </a:cubicBezTo>
                  <a:cubicBezTo>
                    <a:pt x="1139" y="1469"/>
                    <a:pt x="1469" y="1140"/>
                    <a:pt x="1469" y="735"/>
                  </a:cubicBezTo>
                  <a:cubicBezTo>
                    <a:pt x="1469" y="380"/>
                    <a:pt x="1217" y="84"/>
                    <a:pt x="882" y="15"/>
                  </a:cubicBezTo>
                  <a:close/>
                  <a:moveTo>
                    <a:pt x="734" y="1218"/>
                  </a:moveTo>
                  <a:cubicBezTo>
                    <a:pt x="468" y="1218"/>
                    <a:pt x="252" y="1001"/>
                    <a:pt x="252" y="735"/>
                  </a:cubicBezTo>
                  <a:cubicBezTo>
                    <a:pt x="252" y="468"/>
                    <a:pt x="468" y="252"/>
                    <a:pt x="734" y="252"/>
                  </a:cubicBezTo>
                  <a:cubicBezTo>
                    <a:pt x="1001" y="252"/>
                    <a:pt x="1217" y="468"/>
                    <a:pt x="1217" y="735"/>
                  </a:cubicBezTo>
                  <a:cubicBezTo>
                    <a:pt x="1217" y="1001"/>
                    <a:pt x="1001" y="1218"/>
                    <a:pt x="734" y="1218"/>
                  </a:cubicBezTo>
                  <a:close/>
                  <a:moveTo>
                    <a:pt x="734" y="121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382">
              <a:extLst>
                <a:ext uri="{FF2B5EF4-FFF2-40B4-BE49-F238E27FC236}">
                  <a16:creationId xmlns:a16="http://schemas.microsoft.com/office/drawing/2014/main" id="{79374304-42E2-4D3D-A0A8-4B5CD24077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6" y="3368"/>
              <a:ext cx="279" cy="282"/>
            </a:xfrm>
            <a:custGeom>
              <a:avLst/>
              <a:gdLst>
                <a:gd name="T0" fmla="*/ 7982 w 8433"/>
                <a:gd name="T1" fmla="*/ 1329 h 8517"/>
                <a:gd name="T2" fmla="*/ 6247 w 8433"/>
                <a:gd name="T3" fmla="*/ 251 h 8517"/>
                <a:gd name="T4" fmla="*/ 6247 w 8433"/>
                <a:gd name="T5" fmla="*/ 0 h 8517"/>
                <a:gd name="T6" fmla="*/ 3586 w 8433"/>
                <a:gd name="T7" fmla="*/ 1250 h 8517"/>
                <a:gd name="T8" fmla="*/ 2858 w 8433"/>
                <a:gd name="T9" fmla="*/ 733 h 8517"/>
                <a:gd name="T10" fmla="*/ 1598 w 8433"/>
                <a:gd name="T11" fmla="*/ 1359 h 8517"/>
                <a:gd name="T12" fmla="*/ 409 w 8433"/>
                <a:gd name="T13" fmla="*/ 1962 h 8517"/>
                <a:gd name="T14" fmla="*/ 367 w 8433"/>
                <a:gd name="T15" fmla="*/ 2583 h 8517"/>
                <a:gd name="T16" fmla="*/ 551 w 8433"/>
                <a:gd name="T17" fmla="*/ 3958 h 8517"/>
                <a:gd name="T18" fmla="*/ 516 w 8433"/>
                <a:gd name="T19" fmla="*/ 4839 h 8517"/>
                <a:gd name="T20" fmla="*/ 1850 w 8433"/>
                <a:gd name="T21" fmla="*/ 5256 h 8517"/>
                <a:gd name="T22" fmla="*/ 2324 w 8433"/>
                <a:gd name="T23" fmla="*/ 6117 h 8517"/>
                <a:gd name="T24" fmla="*/ 2951 w 8433"/>
                <a:gd name="T25" fmla="*/ 6767 h 8517"/>
                <a:gd name="T26" fmla="*/ 3237 w 8433"/>
                <a:gd name="T27" fmla="*/ 7901 h 8517"/>
                <a:gd name="T28" fmla="*/ 4132 w 8433"/>
                <a:gd name="T29" fmla="*/ 8097 h 8517"/>
                <a:gd name="T30" fmla="*/ 5413 w 8433"/>
                <a:gd name="T31" fmla="*/ 8419 h 8517"/>
                <a:gd name="T32" fmla="*/ 5916 w 8433"/>
                <a:gd name="T33" fmla="*/ 8022 h 8517"/>
                <a:gd name="T34" fmla="*/ 7049 w 8433"/>
                <a:gd name="T35" fmla="*/ 7345 h 8517"/>
                <a:gd name="T36" fmla="*/ 7124 w 8433"/>
                <a:gd name="T37" fmla="*/ 6708 h 8517"/>
                <a:gd name="T38" fmla="*/ 7188 w 8433"/>
                <a:gd name="T39" fmla="*/ 5307 h 8517"/>
                <a:gd name="T40" fmla="*/ 7074 w 8433"/>
                <a:gd name="T41" fmla="*/ 4397 h 8517"/>
                <a:gd name="T42" fmla="*/ 2350 w 8433"/>
                <a:gd name="T43" fmla="*/ 5557 h 8517"/>
                <a:gd name="T44" fmla="*/ 2012 w 8433"/>
                <a:gd name="T45" fmla="*/ 5045 h 8517"/>
                <a:gd name="T46" fmla="*/ 1147 w 8433"/>
                <a:gd name="T47" fmla="*/ 5114 h 8517"/>
                <a:gd name="T48" fmla="*/ 890 w 8433"/>
                <a:gd name="T49" fmla="*/ 4300 h 8517"/>
                <a:gd name="T50" fmla="*/ 367 w 8433"/>
                <a:gd name="T51" fmla="*/ 3707 h 8517"/>
                <a:gd name="T52" fmla="*/ 633 w 8433"/>
                <a:gd name="T53" fmla="*/ 2835 h 8517"/>
                <a:gd name="T54" fmla="*/ 694 w 8433"/>
                <a:gd name="T55" fmla="*/ 2044 h 8517"/>
                <a:gd name="T56" fmla="*/ 1311 w 8433"/>
                <a:gd name="T57" fmla="*/ 1427 h 8517"/>
                <a:gd name="T58" fmla="*/ 2101 w 8433"/>
                <a:gd name="T59" fmla="*/ 1342 h 8517"/>
                <a:gd name="T60" fmla="*/ 2974 w 8433"/>
                <a:gd name="T61" fmla="*/ 1100 h 8517"/>
                <a:gd name="T62" fmla="*/ 3602 w 8433"/>
                <a:gd name="T63" fmla="*/ 1590 h 8517"/>
                <a:gd name="T64" fmla="*/ 4132 w 8433"/>
                <a:gd name="T65" fmla="*/ 1632 h 8517"/>
                <a:gd name="T66" fmla="*/ 4328 w 8433"/>
                <a:gd name="T67" fmla="*/ 3795 h 8517"/>
                <a:gd name="T68" fmla="*/ 3874 w 8433"/>
                <a:gd name="T69" fmla="*/ 3271 h 8517"/>
                <a:gd name="T70" fmla="*/ 2830 w 8433"/>
                <a:gd name="T71" fmla="*/ 4575 h 8517"/>
                <a:gd name="T72" fmla="*/ 2743 w 8433"/>
                <a:gd name="T73" fmla="*/ 5104 h 8517"/>
                <a:gd name="T74" fmla="*/ 3535 w 8433"/>
                <a:gd name="T75" fmla="*/ 3697 h 8517"/>
                <a:gd name="T76" fmla="*/ 2537 w 8433"/>
                <a:gd name="T77" fmla="*/ 4356 h 8517"/>
                <a:gd name="T78" fmla="*/ 7177 w 8433"/>
                <a:gd name="T79" fmla="*/ 5558 h 8517"/>
                <a:gd name="T80" fmla="*/ 7136 w 8433"/>
                <a:gd name="T81" fmla="*/ 6457 h 8517"/>
                <a:gd name="T82" fmla="*/ 6583 w 8433"/>
                <a:gd name="T83" fmla="*/ 7045 h 8517"/>
                <a:gd name="T84" fmla="*/ 6273 w 8433"/>
                <a:gd name="T85" fmla="*/ 7861 h 8517"/>
                <a:gd name="T86" fmla="*/ 5764 w 8433"/>
                <a:gd name="T87" fmla="*/ 7615 h 8517"/>
                <a:gd name="T88" fmla="*/ 5243 w 8433"/>
                <a:gd name="T89" fmla="*/ 8233 h 8517"/>
                <a:gd name="T90" fmla="*/ 4396 w 8433"/>
                <a:gd name="T91" fmla="*/ 7824 h 8517"/>
                <a:gd name="T92" fmla="*/ 3595 w 8433"/>
                <a:gd name="T93" fmla="*/ 7739 h 8517"/>
                <a:gd name="T94" fmla="*/ 2987 w 8433"/>
                <a:gd name="T95" fmla="*/ 7074 h 8517"/>
                <a:gd name="T96" fmla="*/ 2959 w 8433"/>
                <a:gd name="T97" fmla="*/ 6267 h 8517"/>
                <a:gd name="T98" fmla="*/ 2605 w 8433"/>
                <a:gd name="T99" fmla="*/ 5472 h 8517"/>
                <a:gd name="T100" fmla="*/ 3110 w 8433"/>
                <a:gd name="T101" fmla="*/ 5281 h 8517"/>
                <a:gd name="T102" fmla="*/ 3070 w 8433"/>
                <a:gd name="T103" fmla="*/ 4479 h 8517"/>
                <a:gd name="T104" fmla="*/ 3766 w 8433"/>
                <a:gd name="T105" fmla="*/ 3960 h 8517"/>
                <a:gd name="T106" fmla="*/ 4575 w 8433"/>
                <a:gd name="T107" fmla="*/ 3899 h 8517"/>
                <a:gd name="T108" fmla="*/ 6646 w 8433"/>
                <a:gd name="T109" fmla="*/ 4336 h 8517"/>
                <a:gd name="T110" fmla="*/ 6697 w 8433"/>
                <a:gd name="T111" fmla="*/ 4906 h 8517"/>
                <a:gd name="T112" fmla="*/ 7177 w 8433"/>
                <a:gd name="T113" fmla="*/ 5558 h 8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433" h="8517">
                  <a:moveTo>
                    <a:pt x="8433" y="2186"/>
                  </a:moveTo>
                  <a:cubicBezTo>
                    <a:pt x="8433" y="1847"/>
                    <a:pt x="8357" y="1521"/>
                    <a:pt x="8207" y="1217"/>
                  </a:cubicBezTo>
                  <a:cubicBezTo>
                    <a:pt x="8177" y="1155"/>
                    <a:pt x="8101" y="1130"/>
                    <a:pt x="8039" y="1160"/>
                  </a:cubicBezTo>
                  <a:cubicBezTo>
                    <a:pt x="7977" y="1191"/>
                    <a:pt x="7951" y="1267"/>
                    <a:pt x="7982" y="1329"/>
                  </a:cubicBezTo>
                  <a:cubicBezTo>
                    <a:pt x="8115" y="1597"/>
                    <a:pt x="8182" y="1886"/>
                    <a:pt x="8182" y="2186"/>
                  </a:cubicBezTo>
                  <a:cubicBezTo>
                    <a:pt x="8182" y="3253"/>
                    <a:pt x="7314" y="4121"/>
                    <a:pt x="6247" y="4121"/>
                  </a:cubicBezTo>
                  <a:cubicBezTo>
                    <a:pt x="5180" y="4121"/>
                    <a:pt x="4312" y="3253"/>
                    <a:pt x="4312" y="2186"/>
                  </a:cubicBezTo>
                  <a:cubicBezTo>
                    <a:pt x="4312" y="1119"/>
                    <a:pt x="5180" y="251"/>
                    <a:pt x="6247" y="251"/>
                  </a:cubicBezTo>
                  <a:cubicBezTo>
                    <a:pt x="6781" y="251"/>
                    <a:pt x="7297" y="475"/>
                    <a:pt x="7661" y="866"/>
                  </a:cubicBezTo>
                  <a:cubicBezTo>
                    <a:pt x="7709" y="917"/>
                    <a:pt x="7788" y="919"/>
                    <a:pt x="7839" y="872"/>
                  </a:cubicBezTo>
                  <a:cubicBezTo>
                    <a:pt x="7890" y="825"/>
                    <a:pt x="7892" y="745"/>
                    <a:pt x="7845" y="694"/>
                  </a:cubicBezTo>
                  <a:cubicBezTo>
                    <a:pt x="7433" y="253"/>
                    <a:pt x="6851" y="0"/>
                    <a:pt x="6247" y="0"/>
                  </a:cubicBezTo>
                  <a:cubicBezTo>
                    <a:pt x="5332" y="0"/>
                    <a:pt x="4546" y="565"/>
                    <a:pt x="4221" y="1365"/>
                  </a:cubicBezTo>
                  <a:lnTo>
                    <a:pt x="4105" y="1249"/>
                  </a:lnTo>
                  <a:cubicBezTo>
                    <a:pt x="4036" y="1180"/>
                    <a:pt x="3944" y="1142"/>
                    <a:pt x="3846" y="1142"/>
                  </a:cubicBezTo>
                  <a:cubicBezTo>
                    <a:pt x="3747" y="1142"/>
                    <a:pt x="3655" y="1180"/>
                    <a:pt x="3586" y="1250"/>
                  </a:cubicBezTo>
                  <a:lnTo>
                    <a:pt x="3489" y="1347"/>
                  </a:lnTo>
                  <a:cubicBezTo>
                    <a:pt x="3404" y="1305"/>
                    <a:pt x="3316" y="1269"/>
                    <a:pt x="3225" y="1239"/>
                  </a:cubicBezTo>
                  <a:lnTo>
                    <a:pt x="3225" y="1100"/>
                  </a:lnTo>
                  <a:cubicBezTo>
                    <a:pt x="3225" y="898"/>
                    <a:pt x="3060" y="733"/>
                    <a:pt x="2858" y="733"/>
                  </a:cubicBezTo>
                  <a:lnTo>
                    <a:pt x="2217" y="733"/>
                  </a:lnTo>
                  <a:cubicBezTo>
                    <a:pt x="2015" y="733"/>
                    <a:pt x="1850" y="898"/>
                    <a:pt x="1850" y="1100"/>
                  </a:cubicBezTo>
                  <a:lnTo>
                    <a:pt x="1850" y="1251"/>
                  </a:lnTo>
                  <a:cubicBezTo>
                    <a:pt x="1764" y="1281"/>
                    <a:pt x="1680" y="1317"/>
                    <a:pt x="1598" y="1359"/>
                  </a:cubicBezTo>
                  <a:lnTo>
                    <a:pt x="1489" y="1249"/>
                  </a:lnTo>
                  <a:cubicBezTo>
                    <a:pt x="1346" y="1106"/>
                    <a:pt x="1113" y="1106"/>
                    <a:pt x="970" y="1249"/>
                  </a:cubicBezTo>
                  <a:lnTo>
                    <a:pt x="516" y="1703"/>
                  </a:lnTo>
                  <a:cubicBezTo>
                    <a:pt x="447" y="1772"/>
                    <a:pt x="409" y="1864"/>
                    <a:pt x="409" y="1962"/>
                  </a:cubicBezTo>
                  <a:cubicBezTo>
                    <a:pt x="409" y="2061"/>
                    <a:pt x="447" y="2153"/>
                    <a:pt x="516" y="2222"/>
                  </a:cubicBezTo>
                  <a:lnTo>
                    <a:pt x="637" y="2342"/>
                  </a:lnTo>
                  <a:cubicBezTo>
                    <a:pt x="599" y="2421"/>
                    <a:pt x="567" y="2501"/>
                    <a:pt x="540" y="2583"/>
                  </a:cubicBezTo>
                  <a:lnTo>
                    <a:pt x="367" y="2583"/>
                  </a:lnTo>
                  <a:cubicBezTo>
                    <a:pt x="164" y="2583"/>
                    <a:pt x="0" y="2748"/>
                    <a:pt x="0" y="2950"/>
                  </a:cubicBezTo>
                  <a:lnTo>
                    <a:pt x="0" y="3591"/>
                  </a:lnTo>
                  <a:cubicBezTo>
                    <a:pt x="0" y="3794"/>
                    <a:pt x="164" y="3958"/>
                    <a:pt x="367" y="3958"/>
                  </a:cubicBezTo>
                  <a:lnTo>
                    <a:pt x="551" y="3958"/>
                  </a:lnTo>
                  <a:cubicBezTo>
                    <a:pt x="579" y="4037"/>
                    <a:pt x="611" y="4113"/>
                    <a:pt x="648" y="4188"/>
                  </a:cubicBezTo>
                  <a:lnTo>
                    <a:pt x="516" y="4319"/>
                  </a:lnTo>
                  <a:cubicBezTo>
                    <a:pt x="447" y="4388"/>
                    <a:pt x="409" y="4481"/>
                    <a:pt x="409" y="4579"/>
                  </a:cubicBezTo>
                  <a:cubicBezTo>
                    <a:pt x="409" y="4677"/>
                    <a:pt x="447" y="4769"/>
                    <a:pt x="516" y="4839"/>
                  </a:cubicBezTo>
                  <a:lnTo>
                    <a:pt x="970" y="5292"/>
                  </a:lnTo>
                  <a:cubicBezTo>
                    <a:pt x="1113" y="5435"/>
                    <a:pt x="1346" y="5435"/>
                    <a:pt x="1489" y="5292"/>
                  </a:cubicBezTo>
                  <a:lnTo>
                    <a:pt x="1620" y="5160"/>
                  </a:lnTo>
                  <a:cubicBezTo>
                    <a:pt x="1695" y="5197"/>
                    <a:pt x="1771" y="5229"/>
                    <a:pt x="1850" y="5256"/>
                  </a:cubicBezTo>
                  <a:lnTo>
                    <a:pt x="1850" y="5442"/>
                  </a:lnTo>
                  <a:cubicBezTo>
                    <a:pt x="1850" y="5644"/>
                    <a:pt x="2015" y="5808"/>
                    <a:pt x="2217" y="5808"/>
                  </a:cubicBezTo>
                  <a:lnTo>
                    <a:pt x="2338" y="5808"/>
                  </a:lnTo>
                  <a:lnTo>
                    <a:pt x="2324" y="6117"/>
                  </a:lnTo>
                  <a:cubicBezTo>
                    <a:pt x="2320" y="6216"/>
                    <a:pt x="2354" y="6311"/>
                    <a:pt x="2421" y="6385"/>
                  </a:cubicBezTo>
                  <a:cubicBezTo>
                    <a:pt x="2489" y="6459"/>
                    <a:pt x="2581" y="6502"/>
                    <a:pt x="2680" y="6506"/>
                  </a:cubicBezTo>
                  <a:lnTo>
                    <a:pt x="2856" y="6514"/>
                  </a:lnTo>
                  <a:cubicBezTo>
                    <a:pt x="2883" y="6600"/>
                    <a:pt x="2914" y="6685"/>
                    <a:pt x="2951" y="6767"/>
                  </a:cubicBezTo>
                  <a:lnTo>
                    <a:pt x="2818" y="6888"/>
                  </a:lnTo>
                  <a:cubicBezTo>
                    <a:pt x="2744" y="6955"/>
                    <a:pt x="2702" y="7047"/>
                    <a:pt x="2697" y="7147"/>
                  </a:cubicBezTo>
                  <a:cubicBezTo>
                    <a:pt x="2693" y="7247"/>
                    <a:pt x="2727" y="7342"/>
                    <a:pt x="2794" y="7415"/>
                  </a:cubicBezTo>
                  <a:lnTo>
                    <a:pt x="3237" y="7901"/>
                  </a:lnTo>
                  <a:cubicBezTo>
                    <a:pt x="3376" y="8052"/>
                    <a:pt x="3612" y="8063"/>
                    <a:pt x="3764" y="7924"/>
                  </a:cubicBezTo>
                  <a:lnTo>
                    <a:pt x="3906" y="7795"/>
                  </a:lnTo>
                  <a:cubicBezTo>
                    <a:pt x="3981" y="7836"/>
                    <a:pt x="4060" y="7872"/>
                    <a:pt x="4141" y="7904"/>
                  </a:cubicBezTo>
                  <a:lnTo>
                    <a:pt x="4132" y="8097"/>
                  </a:lnTo>
                  <a:cubicBezTo>
                    <a:pt x="4123" y="8302"/>
                    <a:pt x="4283" y="8477"/>
                    <a:pt x="4488" y="8486"/>
                  </a:cubicBezTo>
                  <a:lnTo>
                    <a:pt x="5145" y="8516"/>
                  </a:lnTo>
                  <a:cubicBezTo>
                    <a:pt x="5150" y="8517"/>
                    <a:pt x="5156" y="8517"/>
                    <a:pt x="5162" y="8517"/>
                  </a:cubicBezTo>
                  <a:cubicBezTo>
                    <a:pt x="5255" y="8517"/>
                    <a:pt x="5343" y="8482"/>
                    <a:pt x="5413" y="8419"/>
                  </a:cubicBezTo>
                  <a:cubicBezTo>
                    <a:pt x="5486" y="8351"/>
                    <a:pt x="5529" y="8260"/>
                    <a:pt x="5534" y="8161"/>
                  </a:cubicBezTo>
                  <a:lnTo>
                    <a:pt x="5543" y="7968"/>
                  </a:lnTo>
                  <a:cubicBezTo>
                    <a:pt x="5626" y="7944"/>
                    <a:pt x="5707" y="7915"/>
                    <a:pt x="5787" y="7881"/>
                  </a:cubicBezTo>
                  <a:lnTo>
                    <a:pt x="5916" y="8022"/>
                  </a:lnTo>
                  <a:cubicBezTo>
                    <a:pt x="5983" y="8096"/>
                    <a:pt x="6075" y="8139"/>
                    <a:pt x="6175" y="8143"/>
                  </a:cubicBezTo>
                  <a:cubicBezTo>
                    <a:pt x="6274" y="8148"/>
                    <a:pt x="6369" y="8113"/>
                    <a:pt x="6443" y="8046"/>
                  </a:cubicBezTo>
                  <a:lnTo>
                    <a:pt x="6928" y="7603"/>
                  </a:lnTo>
                  <a:cubicBezTo>
                    <a:pt x="7002" y="7536"/>
                    <a:pt x="7045" y="7444"/>
                    <a:pt x="7049" y="7345"/>
                  </a:cubicBezTo>
                  <a:cubicBezTo>
                    <a:pt x="7054" y="7245"/>
                    <a:pt x="7019" y="7150"/>
                    <a:pt x="6952" y="7076"/>
                  </a:cubicBezTo>
                  <a:lnTo>
                    <a:pt x="6831" y="6944"/>
                  </a:lnTo>
                  <a:cubicBezTo>
                    <a:pt x="6875" y="6865"/>
                    <a:pt x="6914" y="6783"/>
                    <a:pt x="6948" y="6700"/>
                  </a:cubicBezTo>
                  <a:lnTo>
                    <a:pt x="7124" y="6708"/>
                  </a:lnTo>
                  <a:cubicBezTo>
                    <a:pt x="7223" y="6713"/>
                    <a:pt x="7319" y="6678"/>
                    <a:pt x="7392" y="6611"/>
                  </a:cubicBezTo>
                  <a:cubicBezTo>
                    <a:pt x="7466" y="6544"/>
                    <a:pt x="7509" y="6452"/>
                    <a:pt x="7514" y="6353"/>
                  </a:cubicBezTo>
                  <a:lnTo>
                    <a:pt x="7544" y="5696"/>
                  </a:lnTo>
                  <a:cubicBezTo>
                    <a:pt x="7553" y="5490"/>
                    <a:pt x="7394" y="5316"/>
                    <a:pt x="7188" y="5307"/>
                  </a:cubicBezTo>
                  <a:lnTo>
                    <a:pt x="7028" y="5299"/>
                  </a:lnTo>
                  <a:cubicBezTo>
                    <a:pt x="7003" y="5207"/>
                    <a:pt x="6971" y="5117"/>
                    <a:pt x="6934" y="5030"/>
                  </a:cubicBezTo>
                  <a:lnTo>
                    <a:pt x="7050" y="4924"/>
                  </a:lnTo>
                  <a:cubicBezTo>
                    <a:pt x="7202" y="4786"/>
                    <a:pt x="7212" y="4549"/>
                    <a:pt x="7074" y="4397"/>
                  </a:cubicBezTo>
                  <a:lnTo>
                    <a:pt x="6946" y="4258"/>
                  </a:lnTo>
                  <a:cubicBezTo>
                    <a:pt x="7810" y="3965"/>
                    <a:pt x="8433" y="3147"/>
                    <a:pt x="8433" y="2186"/>
                  </a:cubicBezTo>
                  <a:close/>
                  <a:moveTo>
                    <a:pt x="2354" y="5460"/>
                  </a:moveTo>
                  <a:lnTo>
                    <a:pt x="2350" y="5557"/>
                  </a:lnTo>
                  <a:lnTo>
                    <a:pt x="2217" y="5557"/>
                  </a:lnTo>
                  <a:cubicBezTo>
                    <a:pt x="2154" y="5557"/>
                    <a:pt x="2101" y="5504"/>
                    <a:pt x="2101" y="5442"/>
                  </a:cubicBezTo>
                  <a:lnTo>
                    <a:pt x="2101" y="5165"/>
                  </a:lnTo>
                  <a:cubicBezTo>
                    <a:pt x="2101" y="5110"/>
                    <a:pt x="2065" y="5061"/>
                    <a:pt x="2012" y="5045"/>
                  </a:cubicBezTo>
                  <a:cubicBezTo>
                    <a:pt x="1889" y="5008"/>
                    <a:pt x="1769" y="4958"/>
                    <a:pt x="1657" y="4896"/>
                  </a:cubicBezTo>
                  <a:cubicBezTo>
                    <a:pt x="1608" y="4869"/>
                    <a:pt x="1547" y="4878"/>
                    <a:pt x="1507" y="4917"/>
                  </a:cubicBezTo>
                  <a:lnTo>
                    <a:pt x="1311" y="5114"/>
                  </a:lnTo>
                  <a:cubicBezTo>
                    <a:pt x="1266" y="5159"/>
                    <a:pt x="1193" y="5159"/>
                    <a:pt x="1147" y="5114"/>
                  </a:cubicBezTo>
                  <a:lnTo>
                    <a:pt x="694" y="4661"/>
                  </a:lnTo>
                  <a:cubicBezTo>
                    <a:pt x="672" y="4639"/>
                    <a:pt x="660" y="4610"/>
                    <a:pt x="660" y="4579"/>
                  </a:cubicBezTo>
                  <a:cubicBezTo>
                    <a:pt x="660" y="4548"/>
                    <a:pt x="672" y="4519"/>
                    <a:pt x="694" y="4497"/>
                  </a:cubicBezTo>
                  <a:lnTo>
                    <a:pt x="890" y="4300"/>
                  </a:lnTo>
                  <a:cubicBezTo>
                    <a:pt x="930" y="4261"/>
                    <a:pt x="939" y="4200"/>
                    <a:pt x="912" y="4151"/>
                  </a:cubicBezTo>
                  <a:cubicBezTo>
                    <a:pt x="851" y="4039"/>
                    <a:pt x="800" y="3920"/>
                    <a:pt x="763" y="3796"/>
                  </a:cubicBezTo>
                  <a:cubicBezTo>
                    <a:pt x="747" y="3743"/>
                    <a:pt x="698" y="3707"/>
                    <a:pt x="643" y="3707"/>
                  </a:cubicBezTo>
                  <a:lnTo>
                    <a:pt x="367" y="3707"/>
                  </a:lnTo>
                  <a:cubicBezTo>
                    <a:pt x="303" y="3707"/>
                    <a:pt x="251" y="3655"/>
                    <a:pt x="251" y="3591"/>
                  </a:cubicBezTo>
                  <a:lnTo>
                    <a:pt x="251" y="2950"/>
                  </a:lnTo>
                  <a:cubicBezTo>
                    <a:pt x="251" y="2886"/>
                    <a:pt x="303" y="2835"/>
                    <a:pt x="367" y="2835"/>
                  </a:cubicBezTo>
                  <a:lnTo>
                    <a:pt x="633" y="2835"/>
                  </a:lnTo>
                  <a:cubicBezTo>
                    <a:pt x="689" y="2835"/>
                    <a:pt x="738" y="2797"/>
                    <a:pt x="754" y="2743"/>
                  </a:cubicBezTo>
                  <a:cubicBezTo>
                    <a:pt x="789" y="2617"/>
                    <a:pt x="839" y="2494"/>
                    <a:pt x="901" y="2377"/>
                  </a:cubicBezTo>
                  <a:cubicBezTo>
                    <a:pt x="927" y="2328"/>
                    <a:pt x="918" y="2268"/>
                    <a:pt x="879" y="2229"/>
                  </a:cubicBezTo>
                  <a:lnTo>
                    <a:pt x="694" y="2044"/>
                  </a:lnTo>
                  <a:cubicBezTo>
                    <a:pt x="672" y="2022"/>
                    <a:pt x="660" y="1993"/>
                    <a:pt x="660" y="1962"/>
                  </a:cubicBezTo>
                  <a:cubicBezTo>
                    <a:pt x="660" y="1931"/>
                    <a:pt x="672" y="1902"/>
                    <a:pt x="694" y="1881"/>
                  </a:cubicBezTo>
                  <a:lnTo>
                    <a:pt x="1148" y="1427"/>
                  </a:lnTo>
                  <a:cubicBezTo>
                    <a:pt x="1192" y="1382"/>
                    <a:pt x="1266" y="1382"/>
                    <a:pt x="1311" y="1427"/>
                  </a:cubicBezTo>
                  <a:lnTo>
                    <a:pt x="1486" y="1602"/>
                  </a:lnTo>
                  <a:cubicBezTo>
                    <a:pt x="1526" y="1642"/>
                    <a:pt x="1587" y="1650"/>
                    <a:pt x="1636" y="1623"/>
                  </a:cubicBezTo>
                  <a:cubicBezTo>
                    <a:pt x="1757" y="1555"/>
                    <a:pt x="1883" y="1501"/>
                    <a:pt x="2012" y="1463"/>
                  </a:cubicBezTo>
                  <a:cubicBezTo>
                    <a:pt x="2065" y="1447"/>
                    <a:pt x="2101" y="1398"/>
                    <a:pt x="2101" y="1342"/>
                  </a:cubicBezTo>
                  <a:lnTo>
                    <a:pt x="2101" y="1100"/>
                  </a:lnTo>
                  <a:cubicBezTo>
                    <a:pt x="2101" y="1036"/>
                    <a:pt x="2153" y="985"/>
                    <a:pt x="2217" y="985"/>
                  </a:cubicBezTo>
                  <a:lnTo>
                    <a:pt x="2858" y="985"/>
                  </a:lnTo>
                  <a:cubicBezTo>
                    <a:pt x="2921" y="985"/>
                    <a:pt x="2974" y="1037"/>
                    <a:pt x="2974" y="1100"/>
                  </a:cubicBezTo>
                  <a:lnTo>
                    <a:pt x="2974" y="1332"/>
                  </a:lnTo>
                  <a:cubicBezTo>
                    <a:pt x="2974" y="1388"/>
                    <a:pt x="3011" y="1437"/>
                    <a:pt x="3065" y="1453"/>
                  </a:cubicBezTo>
                  <a:cubicBezTo>
                    <a:pt x="3201" y="1491"/>
                    <a:pt x="3331" y="1545"/>
                    <a:pt x="3452" y="1611"/>
                  </a:cubicBezTo>
                  <a:cubicBezTo>
                    <a:pt x="3501" y="1638"/>
                    <a:pt x="3562" y="1630"/>
                    <a:pt x="3602" y="1590"/>
                  </a:cubicBezTo>
                  <a:lnTo>
                    <a:pt x="3764" y="1427"/>
                  </a:lnTo>
                  <a:cubicBezTo>
                    <a:pt x="3785" y="1406"/>
                    <a:pt x="3814" y="1394"/>
                    <a:pt x="3846" y="1394"/>
                  </a:cubicBezTo>
                  <a:cubicBezTo>
                    <a:pt x="3877" y="1394"/>
                    <a:pt x="3906" y="1406"/>
                    <a:pt x="3927" y="1427"/>
                  </a:cubicBezTo>
                  <a:lnTo>
                    <a:pt x="4132" y="1632"/>
                  </a:lnTo>
                  <a:cubicBezTo>
                    <a:pt x="4085" y="1809"/>
                    <a:pt x="4060" y="1995"/>
                    <a:pt x="4060" y="2186"/>
                  </a:cubicBezTo>
                  <a:cubicBezTo>
                    <a:pt x="4060" y="2640"/>
                    <a:pt x="4200" y="3062"/>
                    <a:pt x="4437" y="3412"/>
                  </a:cubicBezTo>
                  <a:cubicBezTo>
                    <a:pt x="4376" y="3476"/>
                    <a:pt x="4338" y="3561"/>
                    <a:pt x="4334" y="3653"/>
                  </a:cubicBezTo>
                  <a:lnTo>
                    <a:pt x="4328" y="3795"/>
                  </a:lnTo>
                  <a:cubicBezTo>
                    <a:pt x="4232" y="3823"/>
                    <a:pt x="4139" y="3857"/>
                    <a:pt x="4049" y="3897"/>
                  </a:cubicBezTo>
                  <a:lnTo>
                    <a:pt x="3952" y="3791"/>
                  </a:lnTo>
                  <a:cubicBezTo>
                    <a:pt x="3911" y="3746"/>
                    <a:pt x="3861" y="3713"/>
                    <a:pt x="3806" y="3692"/>
                  </a:cubicBezTo>
                  <a:cubicBezTo>
                    <a:pt x="3851" y="3557"/>
                    <a:pt x="3874" y="3416"/>
                    <a:pt x="3874" y="3271"/>
                  </a:cubicBezTo>
                  <a:cubicBezTo>
                    <a:pt x="3874" y="2534"/>
                    <a:pt x="3274" y="1934"/>
                    <a:pt x="2537" y="1934"/>
                  </a:cubicBezTo>
                  <a:cubicBezTo>
                    <a:pt x="1800" y="1934"/>
                    <a:pt x="1201" y="2534"/>
                    <a:pt x="1201" y="3271"/>
                  </a:cubicBezTo>
                  <a:cubicBezTo>
                    <a:pt x="1201" y="4007"/>
                    <a:pt x="1800" y="4607"/>
                    <a:pt x="2537" y="4607"/>
                  </a:cubicBezTo>
                  <a:cubicBezTo>
                    <a:pt x="2636" y="4607"/>
                    <a:pt x="2734" y="4596"/>
                    <a:pt x="2830" y="4575"/>
                  </a:cubicBezTo>
                  <a:cubicBezTo>
                    <a:pt x="2844" y="4635"/>
                    <a:pt x="2874" y="4690"/>
                    <a:pt x="2916" y="4736"/>
                  </a:cubicBezTo>
                  <a:lnTo>
                    <a:pt x="3022" y="4852"/>
                  </a:lnTo>
                  <a:cubicBezTo>
                    <a:pt x="2976" y="4936"/>
                    <a:pt x="2937" y="5023"/>
                    <a:pt x="2903" y="5112"/>
                  </a:cubicBezTo>
                  <a:lnTo>
                    <a:pt x="2743" y="5104"/>
                  </a:lnTo>
                  <a:cubicBezTo>
                    <a:pt x="2644" y="5100"/>
                    <a:pt x="2549" y="5135"/>
                    <a:pt x="2475" y="5202"/>
                  </a:cubicBezTo>
                  <a:cubicBezTo>
                    <a:pt x="2401" y="5269"/>
                    <a:pt x="2358" y="5361"/>
                    <a:pt x="2354" y="5460"/>
                  </a:cubicBezTo>
                  <a:close/>
                  <a:moveTo>
                    <a:pt x="3622" y="3271"/>
                  </a:moveTo>
                  <a:cubicBezTo>
                    <a:pt x="3622" y="3419"/>
                    <a:pt x="3593" y="3563"/>
                    <a:pt x="3535" y="3697"/>
                  </a:cubicBezTo>
                  <a:cubicBezTo>
                    <a:pt x="3495" y="3714"/>
                    <a:pt x="3458" y="3737"/>
                    <a:pt x="3425" y="3766"/>
                  </a:cubicBezTo>
                  <a:lnTo>
                    <a:pt x="2940" y="4210"/>
                  </a:lnTo>
                  <a:cubicBezTo>
                    <a:pt x="2909" y="4238"/>
                    <a:pt x="2884" y="4270"/>
                    <a:pt x="2865" y="4305"/>
                  </a:cubicBezTo>
                  <a:cubicBezTo>
                    <a:pt x="2759" y="4339"/>
                    <a:pt x="2649" y="4356"/>
                    <a:pt x="2537" y="4356"/>
                  </a:cubicBezTo>
                  <a:cubicBezTo>
                    <a:pt x="1939" y="4356"/>
                    <a:pt x="1452" y="3869"/>
                    <a:pt x="1452" y="3271"/>
                  </a:cubicBezTo>
                  <a:cubicBezTo>
                    <a:pt x="1452" y="2672"/>
                    <a:pt x="1939" y="2186"/>
                    <a:pt x="2537" y="2186"/>
                  </a:cubicBezTo>
                  <a:cubicBezTo>
                    <a:pt x="3136" y="2186"/>
                    <a:pt x="3622" y="2672"/>
                    <a:pt x="3622" y="3271"/>
                  </a:cubicBezTo>
                  <a:close/>
                  <a:moveTo>
                    <a:pt x="7177" y="5558"/>
                  </a:moveTo>
                  <a:cubicBezTo>
                    <a:pt x="7243" y="5561"/>
                    <a:pt x="7296" y="5619"/>
                    <a:pt x="7293" y="5684"/>
                  </a:cubicBezTo>
                  <a:lnTo>
                    <a:pt x="7263" y="6341"/>
                  </a:lnTo>
                  <a:cubicBezTo>
                    <a:pt x="7261" y="6373"/>
                    <a:pt x="7247" y="6403"/>
                    <a:pt x="7223" y="6425"/>
                  </a:cubicBezTo>
                  <a:cubicBezTo>
                    <a:pt x="7199" y="6447"/>
                    <a:pt x="7168" y="6458"/>
                    <a:pt x="7136" y="6457"/>
                  </a:cubicBezTo>
                  <a:lnTo>
                    <a:pt x="6869" y="6445"/>
                  </a:lnTo>
                  <a:cubicBezTo>
                    <a:pt x="6813" y="6442"/>
                    <a:pt x="6763" y="6476"/>
                    <a:pt x="6744" y="6528"/>
                  </a:cubicBezTo>
                  <a:cubicBezTo>
                    <a:pt x="6699" y="6655"/>
                    <a:pt x="6640" y="6778"/>
                    <a:pt x="6569" y="6894"/>
                  </a:cubicBezTo>
                  <a:cubicBezTo>
                    <a:pt x="6539" y="6942"/>
                    <a:pt x="6545" y="7003"/>
                    <a:pt x="6583" y="7045"/>
                  </a:cubicBezTo>
                  <a:lnTo>
                    <a:pt x="6766" y="7245"/>
                  </a:lnTo>
                  <a:cubicBezTo>
                    <a:pt x="6788" y="7269"/>
                    <a:pt x="6799" y="7301"/>
                    <a:pt x="6798" y="7333"/>
                  </a:cubicBezTo>
                  <a:cubicBezTo>
                    <a:pt x="6796" y="7366"/>
                    <a:pt x="6783" y="7396"/>
                    <a:pt x="6759" y="7417"/>
                  </a:cubicBezTo>
                  <a:lnTo>
                    <a:pt x="6273" y="7861"/>
                  </a:lnTo>
                  <a:cubicBezTo>
                    <a:pt x="6250" y="7882"/>
                    <a:pt x="6218" y="7893"/>
                    <a:pt x="6186" y="7892"/>
                  </a:cubicBezTo>
                  <a:cubicBezTo>
                    <a:pt x="6153" y="7890"/>
                    <a:pt x="6124" y="7877"/>
                    <a:pt x="6102" y="7853"/>
                  </a:cubicBezTo>
                  <a:lnTo>
                    <a:pt x="5911" y="7644"/>
                  </a:lnTo>
                  <a:cubicBezTo>
                    <a:pt x="5874" y="7603"/>
                    <a:pt x="5814" y="7591"/>
                    <a:pt x="5764" y="7615"/>
                  </a:cubicBezTo>
                  <a:cubicBezTo>
                    <a:pt x="5645" y="7672"/>
                    <a:pt x="5519" y="7717"/>
                    <a:pt x="5392" y="7748"/>
                  </a:cubicBezTo>
                  <a:cubicBezTo>
                    <a:pt x="5337" y="7761"/>
                    <a:pt x="5298" y="7808"/>
                    <a:pt x="5296" y="7864"/>
                  </a:cubicBezTo>
                  <a:lnTo>
                    <a:pt x="5283" y="8149"/>
                  </a:lnTo>
                  <a:cubicBezTo>
                    <a:pt x="5281" y="8181"/>
                    <a:pt x="5267" y="8211"/>
                    <a:pt x="5243" y="8233"/>
                  </a:cubicBezTo>
                  <a:cubicBezTo>
                    <a:pt x="5219" y="8255"/>
                    <a:pt x="5188" y="8267"/>
                    <a:pt x="5156" y="8265"/>
                  </a:cubicBezTo>
                  <a:lnTo>
                    <a:pt x="4499" y="8235"/>
                  </a:lnTo>
                  <a:cubicBezTo>
                    <a:pt x="4433" y="8232"/>
                    <a:pt x="4381" y="8174"/>
                    <a:pt x="4383" y="8108"/>
                  </a:cubicBezTo>
                  <a:lnTo>
                    <a:pt x="4396" y="7824"/>
                  </a:lnTo>
                  <a:cubicBezTo>
                    <a:pt x="4399" y="7768"/>
                    <a:pt x="4364" y="7717"/>
                    <a:pt x="4312" y="7699"/>
                  </a:cubicBezTo>
                  <a:cubicBezTo>
                    <a:pt x="4184" y="7655"/>
                    <a:pt x="4064" y="7599"/>
                    <a:pt x="3953" y="7533"/>
                  </a:cubicBezTo>
                  <a:cubicBezTo>
                    <a:pt x="3905" y="7504"/>
                    <a:pt x="3844" y="7510"/>
                    <a:pt x="3803" y="7548"/>
                  </a:cubicBezTo>
                  <a:lnTo>
                    <a:pt x="3595" y="7739"/>
                  </a:lnTo>
                  <a:cubicBezTo>
                    <a:pt x="3545" y="7784"/>
                    <a:pt x="3468" y="7780"/>
                    <a:pt x="3423" y="7731"/>
                  </a:cubicBezTo>
                  <a:lnTo>
                    <a:pt x="2980" y="7246"/>
                  </a:lnTo>
                  <a:cubicBezTo>
                    <a:pt x="2958" y="7222"/>
                    <a:pt x="2947" y="7191"/>
                    <a:pt x="2948" y="7158"/>
                  </a:cubicBezTo>
                  <a:cubicBezTo>
                    <a:pt x="2950" y="7126"/>
                    <a:pt x="2964" y="7096"/>
                    <a:pt x="2987" y="7074"/>
                  </a:cubicBezTo>
                  <a:lnTo>
                    <a:pt x="3189" y="6891"/>
                  </a:lnTo>
                  <a:cubicBezTo>
                    <a:pt x="3230" y="6853"/>
                    <a:pt x="3241" y="6792"/>
                    <a:pt x="3216" y="6742"/>
                  </a:cubicBezTo>
                  <a:cubicBezTo>
                    <a:pt x="3156" y="6621"/>
                    <a:pt x="3108" y="6493"/>
                    <a:pt x="3075" y="6361"/>
                  </a:cubicBezTo>
                  <a:cubicBezTo>
                    <a:pt x="3061" y="6308"/>
                    <a:pt x="3014" y="6270"/>
                    <a:pt x="2959" y="6267"/>
                  </a:cubicBezTo>
                  <a:lnTo>
                    <a:pt x="2691" y="6255"/>
                  </a:lnTo>
                  <a:cubicBezTo>
                    <a:pt x="2659" y="6254"/>
                    <a:pt x="2629" y="6240"/>
                    <a:pt x="2607" y="6215"/>
                  </a:cubicBezTo>
                  <a:cubicBezTo>
                    <a:pt x="2585" y="6191"/>
                    <a:pt x="2574" y="6160"/>
                    <a:pt x="2575" y="6128"/>
                  </a:cubicBezTo>
                  <a:lnTo>
                    <a:pt x="2605" y="5472"/>
                  </a:lnTo>
                  <a:cubicBezTo>
                    <a:pt x="2607" y="5439"/>
                    <a:pt x="2621" y="5409"/>
                    <a:pt x="2645" y="5387"/>
                  </a:cubicBezTo>
                  <a:cubicBezTo>
                    <a:pt x="2669" y="5365"/>
                    <a:pt x="2700" y="5354"/>
                    <a:pt x="2732" y="5355"/>
                  </a:cubicBezTo>
                  <a:lnTo>
                    <a:pt x="2985" y="5367"/>
                  </a:lnTo>
                  <a:cubicBezTo>
                    <a:pt x="3041" y="5370"/>
                    <a:pt x="3093" y="5334"/>
                    <a:pt x="3110" y="5281"/>
                  </a:cubicBezTo>
                  <a:cubicBezTo>
                    <a:pt x="3154" y="5148"/>
                    <a:pt x="3212" y="5020"/>
                    <a:pt x="3284" y="4899"/>
                  </a:cubicBezTo>
                  <a:cubicBezTo>
                    <a:pt x="3312" y="4852"/>
                    <a:pt x="3306" y="4791"/>
                    <a:pt x="3269" y="4750"/>
                  </a:cubicBezTo>
                  <a:lnTo>
                    <a:pt x="3102" y="4567"/>
                  </a:lnTo>
                  <a:cubicBezTo>
                    <a:pt x="3080" y="4543"/>
                    <a:pt x="3069" y="4512"/>
                    <a:pt x="3070" y="4479"/>
                  </a:cubicBezTo>
                  <a:cubicBezTo>
                    <a:pt x="3072" y="4447"/>
                    <a:pt x="3086" y="4417"/>
                    <a:pt x="3109" y="4395"/>
                  </a:cubicBezTo>
                  <a:lnTo>
                    <a:pt x="3595" y="3952"/>
                  </a:lnTo>
                  <a:cubicBezTo>
                    <a:pt x="3619" y="3930"/>
                    <a:pt x="3650" y="3919"/>
                    <a:pt x="3682" y="3921"/>
                  </a:cubicBezTo>
                  <a:cubicBezTo>
                    <a:pt x="3715" y="3922"/>
                    <a:pt x="3745" y="3936"/>
                    <a:pt x="3766" y="3960"/>
                  </a:cubicBezTo>
                  <a:lnTo>
                    <a:pt x="3926" y="4135"/>
                  </a:lnTo>
                  <a:cubicBezTo>
                    <a:pt x="3964" y="4177"/>
                    <a:pt x="4025" y="4188"/>
                    <a:pt x="4076" y="4163"/>
                  </a:cubicBezTo>
                  <a:cubicBezTo>
                    <a:pt x="4202" y="4100"/>
                    <a:pt x="4338" y="4050"/>
                    <a:pt x="4479" y="4015"/>
                  </a:cubicBezTo>
                  <a:cubicBezTo>
                    <a:pt x="4533" y="4002"/>
                    <a:pt x="4572" y="3954"/>
                    <a:pt x="4575" y="3899"/>
                  </a:cubicBezTo>
                  <a:lnTo>
                    <a:pt x="4585" y="3664"/>
                  </a:lnTo>
                  <a:cubicBezTo>
                    <a:pt x="4586" y="3648"/>
                    <a:pt x="4590" y="3633"/>
                    <a:pt x="4597" y="3619"/>
                  </a:cubicBezTo>
                  <a:cubicBezTo>
                    <a:pt x="4998" y="4080"/>
                    <a:pt x="5589" y="4372"/>
                    <a:pt x="6247" y="4372"/>
                  </a:cubicBezTo>
                  <a:cubicBezTo>
                    <a:pt x="6383" y="4372"/>
                    <a:pt x="6517" y="4360"/>
                    <a:pt x="6646" y="4336"/>
                  </a:cubicBezTo>
                  <a:cubicBezTo>
                    <a:pt x="6655" y="4334"/>
                    <a:pt x="6664" y="4333"/>
                    <a:pt x="6673" y="4331"/>
                  </a:cubicBezTo>
                  <a:lnTo>
                    <a:pt x="6888" y="4567"/>
                  </a:lnTo>
                  <a:cubicBezTo>
                    <a:pt x="6933" y="4616"/>
                    <a:pt x="6930" y="4694"/>
                    <a:pt x="6880" y="4739"/>
                  </a:cubicBezTo>
                  <a:lnTo>
                    <a:pt x="6697" y="4906"/>
                  </a:lnTo>
                  <a:cubicBezTo>
                    <a:pt x="6656" y="4943"/>
                    <a:pt x="6645" y="5003"/>
                    <a:pt x="6669" y="5053"/>
                  </a:cubicBezTo>
                  <a:cubicBezTo>
                    <a:pt x="6729" y="5178"/>
                    <a:pt x="6775" y="5311"/>
                    <a:pt x="6807" y="5449"/>
                  </a:cubicBezTo>
                  <a:cubicBezTo>
                    <a:pt x="6820" y="5504"/>
                    <a:pt x="6867" y="5544"/>
                    <a:pt x="6924" y="5547"/>
                  </a:cubicBezTo>
                  <a:lnTo>
                    <a:pt x="7177" y="5558"/>
                  </a:lnTo>
                  <a:close/>
                  <a:moveTo>
                    <a:pt x="7177" y="555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83">
              <a:extLst>
                <a:ext uri="{FF2B5EF4-FFF2-40B4-BE49-F238E27FC236}">
                  <a16:creationId xmlns:a16="http://schemas.microsoft.com/office/drawing/2014/main" id="{38C424C4-5683-4017-BD66-ECB5201604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4" y="3538"/>
              <a:ext cx="50" cy="50"/>
            </a:xfrm>
            <a:custGeom>
              <a:avLst/>
              <a:gdLst>
                <a:gd name="T0" fmla="*/ 287 w 1507"/>
                <a:gd name="T1" fmla="*/ 174 h 1506"/>
                <a:gd name="T2" fmla="*/ 281 w 1507"/>
                <a:gd name="T3" fmla="*/ 179 h 1506"/>
                <a:gd name="T4" fmla="*/ 273 w 1507"/>
                <a:gd name="T5" fmla="*/ 186 h 1506"/>
                <a:gd name="T6" fmla="*/ 253 w 1507"/>
                <a:gd name="T7" fmla="*/ 204 h 1506"/>
                <a:gd name="T8" fmla="*/ 226 w 1507"/>
                <a:gd name="T9" fmla="*/ 230 h 1506"/>
                <a:gd name="T10" fmla="*/ 218 w 1507"/>
                <a:gd name="T11" fmla="*/ 237 h 1506"/>
                <a:gd name="T12" fmla="*/ 200 w 1507"/>
                <a:gd name="T13" fmla="*/ 257 h 1506"/>
                <a:gd name="T14" fmla="*/ 179 w 1507"/>
                <a:gd name="T15" fmla="*/ 281 h 1506"/>
                <a:gd name="T16" fmla="*/ 176 w 1507"/>
                <a:gd name="T17" fmla="*/ 285 h 1506"/>
                <a:gd name="T18" fmla="*/ 156 w 1507"/>
                <a:gd name="T19" fmla="*/ 311 h 1506"/>
                <a:gd name="T20" fmla="*/ 154 w 1507"/>
                <a:gd name="T21" fmla="*/ 314 h 1506"/>
                <a:gd name="T22" fmla="*/ 137 w 1507"/>
                <a:gd name="T23" fmla="*/ 337 h 1506"/>
                <a:gd name="T24" fmla="*/ 133 w 1507"/>
                <a:gd name="T25" fmla="*/ 344 h 1506"/>
                <a:gd name="T26" fmla="*/ 118 w 1507"/>
                <a:gd name="T27" fmla="*/ 366 h 1506"/>
                <a:gd name="T28" fmla="*/ 113 w 1507"/>
                <a:gd name="T29" fmla="*/ 375 h 1506"/>
                <a:gd name="T30" fmla="*/ 42 w 1507"/>
                <a:gd name="T31" fmla="*/ 535 h 1506"/>
                <a:gd name="T32" fmla="*/ 40 w 1507"/>
                <a:gd name="T33" fmla="*/ 541 h 1506"/>
                <a:gd name="T34" fmla="*/ 16 w 1507"/>
                <a:gd name="T35" fmla="*/ 648 h 1506"/>
                <a:gd name="T36" fmla="*/ 16 w 1507"/>
                <a:gd name="T37" fmla="*/ 649 h 1506"/>
                <a:gd name="T38" fmla="*/ 14 w 1507"/>
                <a:gd name="T39" fmla="*/ 665 h 1506"/>
                <a:gd name="T40" fmla="*/ 9 w 1507"/>
                <a:gd name="T41" fmla="*/ 723 h 1506"/>
                <a:gd name="T42" fmla="*/ 204 w 1507"/>
                <a:gd name="T43" fmla="*/ 1262 h 1506"/>
                <a:gd name="T44" fmla="*/ 759 w 1507"/>
                <a:gd name="T45" fmla="*/ 1506 h 1506"/>
                <a:gd name="T46" fmla="*/ 1263 w 1507"/>
                <a:gd name="T47" fmla="*/ 1311 h 1506"/>
                <a:gd name="T48" fmla="*/ 1291 w 1507"/>
                <a:gd name="T49" fmla="*/ 1284 h 1506"/>
                <a:gd name="T50" fmla="*/ 1507 w 1507"/>
                <a:gd name="T51" fmla="*/ 755 h 1506"/>
                <a:gd name="T52" fmla="*/ 1402 w 1507"/>
                <a:gd name="T53" fmla="*/ 374 h 1506"/>
                <a:gd name="T54" fmla="*/ 1311 w 1507"/>
                <a:gd name="T55" fmla="*/ 252 h 1506"/>
                <a:gd name="T56" fmla="*/ 792 w 1507"/>
                <a:gd name="T57" fmla="*/ 9 h 1506"/>
                <a:gd name="T58" fmla="*/ 287 w 1507"/>
                <a:gd name="T59" fmla="*/ 174 h 1506"/>
                <a:gd name="T60" fmla="*/ 1126 w 1507"/>
                <a:gd name="T61" fmla="*/ 421 h 1506"/>
                <a:gd name="T62" fmla="*/ 1094 w 1507"/>
                <a:gd name="T63" fmla="*/ 1125 h 1506"/>
                <a:gd name="T64" fmla="*/ 390 w 1507"/>
                <a:gd name="T65" fmla="*/ 1093 h 1506"/>
                <a:gd name="T66" fmla="*/ 261 w 1507"/>
                <a:gd name="T67" fmla="*/ 784 h 1506"/>
                <a:gd name="T68" fmla="*/ 260 w 1507"/>
                <a:gd name="T69" fmla="*/ 735 h 1506"/>
                <a:gd name="T70" fmla="*/ 422 w 1507"/>
                <a:gd name="T71" fmla="*/ 390 h 1506"/>
                <a:gd name="T72" fmla="*/ 422 w 1507"/>
                <a:gd name="T73" fmla="*/ 390 h 1506"/>
                <a:gd name="T74" fmla="*/ 758 w 1507"/>
                <a:gd name="T75" fmla="*/ 259 h 1506"/>
                <a:gd name="T76" fmla="*/ 781 w 1507"/>
                <a:gd name="T77" fmla="*/ 260 h 1506"/>
                <a:gd name="T78" fmla="*/ 1126 w 1507"/>
                <a:gd name="T79" fmla="*/ 421 h 1506"/>
                <a:gd name="T80" fmla="*/ 1126 w 1507"/>
                <a:gd name="T81" fmla="*/ 421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7" h="1506">
                  <a:moveTo>
                    <a:pt x="287" y="174"/>
                  </a:moveTo>
                  <a:cubicBezTo>
                    <a:pt x="285" y="176"/>
                    <a:pt x="283" y="178"/>
                    <a:pt x="281" y="179"/>
                  </a:cubicBezTo>
                  <a:cubicBezTo>
                    <a:pt x="278" y="182"/>
                    <a:pt x="276" y="184"/>
                    <a:pt x="273" y="186"/>
                  </a:cubicBezTo>
                  <a:cubicBezTo>
                    <a:pt x="266" y="192"/>
                    <a:pt x="260" y="198"/>
                    <a:pt x="253" y="204"/>
                  </a:cubicBezTo>
                  <a:cubicBezTo>
                    <a:pt x="244" y="212"/>
                    <a:pt x="235" y="221"/>
                    <a:pt x="226" y="230"/>
                  </a:cubicBezTo>
                  <a:cubicBezTo>
                    <a:pt x="223" y="232"/>
                    <a:pt x="221" y="235"/>
                    <a:pt x="218" y="237"/>
                  </a:cubicBezTo>
                  <a:cubicBezTo>
                    <a:pt x="212" y="244"/>
                    <a:pt x="206" y="250"/>
                    <a:pt x="200" y="257"/>
                  </a:cubicBezTo>
                  <a:cubicBezTo>
                    <a:pt x="193" y="265"/>
                    <a:pt x="186" y="273"/>
                    <a:pt x="179" y="281"/>
                  </a:cubicBezTo>
                  <a:cubicBezTo>
                    <a:pt x="178" y="282"/>
                    <a:pt x="177" y="283"/>
                    <a:pt x="176" y="285"/>
                  </a:cubicBezTo>
                  <a:cubicBezTo>
                    <a:pt x="169" y="293"/>
                    <a:pt x="162" y="302"/>
                    <a:pt x="156" y="311"/>
                  </a:cubicBezTo>
                  <a:cubicBezTo>
                    <a:pt x="155" y="312"/>
                    <a:pt x="154" y="313"/>
                    <a:pt x="154" y="314"/>
                  </a:cubicBezTo>
                  <a:cubicBezTo>
                    <a:pt x="148" y="322"/>
                    <a:pt x="143" y="329"/>
                    <a:pt x="137" y="337"/>
                  </a:cubicBezTo>
                  <a:cubicBezTo>
                    <a:pt x="136" y="339"/>
                    <a:pt x="134" y="342"/>
                    <a:pt x="133" y="344"/>
                  </a:cubicBezTo>
                  <a:cubicBezTo>
                    <a:pt x="128" y="351"/>
                    <a:pt x="123" y="359"/>
                    <a:pt x="118" y="366"/>
                  </a:cubicBezTo>
                  <a:cubicBezTo>
                    <a:pt x="117" y="369"/>
                    <a:pt x="115" y="372"/>
                    <a:pt x="113" y="375"/>
                  </a:cubicBezTo>
                  <a:cubicBezTo>
                    <a:pt x="83" y="425"/>
                    <a:pt x="59" y="479"/>
                    <a:pt x="42" y="535"/>
                  </a:cubicBezTo>
                  <a:cubicBezTo>
                    <a:pt x="41" y="537"/>
                    <a:pt x="41" y="539"/>
                    <a:pt x="40" y="541"/>
                  </a:cubicBezTo>
                  <a:cubicBezTo>
                    <a:pt x="30" y="576"/>
                    <a:pt x="22" y="612"/>
                    <a:pt x="16" y="648"/>
                  </a:cubicBezTo>
                  <a:cubicBezTo>
                    <a:pt x="16" y="648"/>
                    <a:pt x="16" y="649"/>
                    <a:pt x="16" y="649"/>
                  </a:cubicBezTo>
                  <a:cubicBezTo>
                    <a:pt x="15" y="654"/>
                    <a:pt x="15" y="660"/>
                    <a:pt x="14" y="665"/>
                  </a:cubicBezTo>
                  <a:cubicBezTo>
                    <a:pt x="12" y="684"/>
                    <a:pt x="10" y="704"/>
                    <a:pt x="9" y="723"/>
                  </a:cubicBezTo>
                  <a:cubicBezTo>
                    <a:pt x="0" y="923"/>
                    <a:pt x="69" y="1115"/>
                    <a:pt x="204" y="1262"/>
                  </a:cubicBezTo>
                  <a:cubicBezTo>
                    <a:pt x="352" y="1424"/>
                    <a:pt x="555" y="1506"/>
                    <a:pt x="759" y="1506"/>
                  </a:cubicBezTo>
                  <a:cubicBezTo>
                    <a:pt x="939" y="1506"/>
                    <a:pt x="1120" y="1442"/>
                    <a:pt x="1263" y="1311"/>
                  </a:cubicBezTo>
                  <a:cubicBezTo>
                    <a:pt x="1273" y="1302"/>
                    <a:pt x="1282" y="1293"/>
                    <a:pt x="1291" y="1284"/>
                  </a:cubicBezTo>
                  <a:cubicBezTo>
                    <a:pt x="1435" y="1139"/>
                    <a:pt x="1507" y="947"/>
                    <a:pt x="1507" y="755"/>
                  </a:cubicBezTo>
                  <a:cubicBezTo>
                    <a:pt x="1507" y="623"/>
                    <a:pt x="1472" y="491"/>
                    <a:pt x="1402" y="374"/>
                  </a:cubicBezTo>
                  <a:cubicBezTo>
                    <a:pt x="1376" y="331"/>
                    <a:pt x="1346" y="290"/>
                    <a:pt x="1311" y="252"/>
                  </a:cubicBezTo>
                  <a:cubicBezTo>
                    <a:pt x="1176" y="104"/>
                    <a:pt x="992" y="18"/>
                    <a:pt x="792" y="9"/>
                  </a:cubicBezTo>
                  <a:cubicBezTo>
                    <a:pt x="607" y="0"/>
                    <a:pt x="430" y="59"/>
                    <a:pt x="287" y="174"/>
                  </a:cubicBezTo>
                  <a:close/>
                  <a:moveTo>
                    <a:pt x="1126" y="421"/>
                  </a:moveTo>
                  <a:cubicBezTo>
                    <a:pt x="1311" y="624"/>
                    <a:pt x="1297" y="940"/>
                    <a:pt x="1094" y="1125"/>
                  </a:cubicBezTo>
                  <a:cubicBezTo>
                    <a:pt x="891" y="1310"/>
                    <a:pt x="575" y="1296"/>
                    <a:pt x="390" y="1093"/>
                  </a:cubicBezTo>
                  <a:cubicBezTo>
                    <a:pt x="312" y="1007"/>
                    <a:pt x="267" y="899"/>
                    <a:pt x="261" y="784"/>
                  </a:cubicBezTo>
                  <a:cubicBezTo>
                    <a:pt x="260" y="768"/>
                    <a:pt x="260" y="751"/>
                    <a:pt x="260" y="735"/>
                  </a:cubicBezTo>
                  <a:cubicBezTo>
                    <a:pt x="266" y="602"/>
                    <a:pt x="324" y="479"/>
                    <a:pt x="422" y="390"/>
                  </a:cubicBezTo>
                  <a:cubicBezTo>
                    <a:pt x="422" y="390"/>
                    <a:pt x="422" y="390"/>
                    <a:pt x="422" y="390"/>
                  </a:cubicBezTo>
                  <a:cubicBezTo>
                    <a:pt x="515" y="305"/>
                    <a:pt x="633" y="259"/>
                    <a:pt x="758" y="259"/>
                  </a:cubicBezTo>
                  <a:cubicBezTo>
                    <a:pt x="765" y="259"/>
                    <a:pt x="773" y="259"/>
                    <a:pt x="781" y="260"/>
                  </a:cubicBezTo>
                  <a:cubicBezTo>
                    <a:pt x="914" y="266"/>
                    <a:pt x="1036" y="323"/>
                    <a:pt x="1126" y="421"/>
                  </a:cubicBezTo>
                  <a:close/>
                  <a:moveTo>
                    <a:pt x="1126" y="42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84">
              <a:extLst>
                <a:ext uri="{FF2B5EF4-FFF2-40B4-BE49-F238E27FC236}">
                  <a16:creationId xmlns:a16="http://schemas.microsoft.com/office/drawing/2014/main" id="{F23E1864-C6BA-4D19-BCD8-75F7B0C40D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10" y="3388"/>
              <a:ext cx="105" cy="105"/>
            </a:xfrm>
            <a:custGeom>
              <a:avLst/>
              <a:gdLst>
                <a:gd name="T0" fmla="*/ 1583 w 3166"/>
                <a:gd name="T1" fmla="*/ 0 h 3166"/>
                <a:gd name="T2" fmla="*/ 0 w 3166"/>
                <a:gd name="T3" fmla="*/ 1583 h 3166"/>
                <a:gd name="T4" fmla="*/ 1583 w 3166"/>
                <a:gd name="T5" fmla="*/ 3166 h 3166"/>
                <a:gd name="T6" fmla="*/ 3166 w 3166"/>
                <a:gd name="T7" fmla="*/ 1583 h 3166"/>
                <a:gd name="T8" fmla="*/ 1583 w 3166"/>
                <a:gd name="T9" fmla="*/ 0 h 3166"/>
                <a:gd name="T10" fmla="*/ 2855 w 3166"/>
                <a:gd name="T11" fmla="*/ 1709 h 3166"/>
                <a:gd name="T12" fmla="*/ 2908 w 3166"/>
                <a:gd name="T13" fmla="*/ 1709 h 3166"/>
                <a:gd name="T14" fmla="*/ 1709 w 3166"/>
                <a:gd name="T15" fmla="*/ 2909 h 3166"/>
                <a:gd name="T16" fmla="*/ 1709 w 3166"/>
                <a:gd name="T17" fmla="*/ 2855 h 3166"/>
                <a:gd name="T18" fmla="*/ 1583 w 3166"/>
                <a:gd name="T19" fmla="*/ 2729 h 3166"/>
                <a:gd name="T20" fmla="*/ 1457 w 3166"/>
                <a:gd name="T21" fmla="*/ 2855 h 3166"/>
                <a:gd name="T22" fmla="*/ 1457 w 3166"/>
                <a:gd name="T23" fmla="*/ 2909 h 3166"/>
                <a:gd name="T24" fmla="*/ 258 w 3166"/>
                <a:gd name="T25" fmla="*/ 1709 h 3166"/>
                <a:gd name="T26" fmla="*/ 311 w 3166"/>
                <a:gd name="T27" fmla="*/ 1709 h 3166"/>
                <a:gd name="T28" fmla="*/ 437 w 3166"/>
                <a:gd name="T29" fmla="*/ 1583 h 3166"/>
                <a:gd name="T30" fmla="*/ 311 w 3166"/>
                <a:gd name="T31" fmla="*/ 1458 h 3166"/>
                <a:gd name="T32" fmla="*/ 258 w 3166"/>
                <a:gd name="T33" fmla="*/ 1458 h 3166"/>
                <a:gd name="T34" fmla="*/ 1457 w 3166"/>
                <a:gd name="T35" fmla="*/ 258 h 3166"/>
                <a:gd name="T36" fmla="*/ 1457 w 3166"/>
                <a:gd name="T37" fmla="*/ 312 h 3166"/>
                <a:gd name="T38" fmla="*/ 1583 w 3166"/>
                <a:gd name="T39" fmla="*/ 437 h 3166"/>
                <a:gd name="T40" fmla="*/ 1709 w 3166"/>
                <a:gd name="T41" fmla="*/ 312 h 3166"/>
                <a:gd name="T42" fmla="*/ 1709 w 3166"/>
                <a:gd name="T43" fmla="*/ 258 h 3166"/>
                <a:gd name="T44" fmla="*/ 2908 w 3166"/>
                <a:gd name="T45" fmla="*/ 1458 h 3166"/>
                <a:gd name="T46" fmla="*/ 2855 w 3166"/>
                <a:gd name="T47" fmla="*/ 1458 h 3166"/>
                <a:gd name="T48" fmla="*/ 2729 w 3166"/>
                <a:gd name="T49" fmla="*/ 1583 h 3166"/>
                <a:gd name="T50" fmla="*/ 2855 w 3166"/>
                <a:gd name="T51" fmla="*/ 1709 h 3166"/>
                <a:gd name="T52" fmla="*/ 2855 w 3166"/>
                <a:gd name="T53" fmla="*/ 1709 h 3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66" h="3166">
                  <a:moveTo>
                    <a:pt x="1583" y="0"/>
                  </a:moveTo>
                  <a:cubicBezTo>
                    <a:pt x="710" y="0"/>
                    <a:pt x="0" y="711"/>
                    <a:pt x="0" y="1583"/>
                  </a:cubicBezTo>
                  <a:cubicBezTo>
                    <a:pt x="0" y="2456"/>
                    <a:pt x="710" y="3166"/>
                    <a:pt x="1583" y="3166"/>
                  </a:cubicBezTo>
                  <a:cubicBezTo>
                    <a:pt x="2456" y="3166"/>
                    <a:pt x="3166" y="2456"/>
                    <a:pt x="3166" y="1583"/>
                  </a:cubicBezTo>
                  <a:cubicBezTo>
                    <a:pt x="3166" y="711"/>
                    <a:pt x="2456" y="0"/>
                    <a:pt x="1583" y="0"/>
                  </a:cubicBezTo>
                  <a:close/>
                  <a:moveTo>
                    <a:pt x="2855" y="1709"/>
                  </a:moveTo>
                  <a:lnTo>
                    <a:pt x="2908" y="1709"/>
                  </a:lnTo>
                  <a:cubicBezTo>
                    <a:pt x="2848" y="2343"/>
                    <a:pt x="2343" y="2849"/>
                    <a:pt x="1709" y="2909"/>
                  </a:cubicBezTo>
                  <a:lnTo>
                    <a:pt x="1709" y="2855"/>
                  </a:lnTo>
                  <a:cubicBezTo>
                    <a:pt x="1709" y="2786"/>
                    <a:pt x="1652" y="2729"/>
                    <a:pt x="1583" y="2729"/>
                  </a:cubicBezTo>
                  <a:cubicBezTo>
                    <a:pt x="1513" y="2729"/>
                    <a:pt x="1457" y="2786"/>
                    <a:pt x="1457" y="2855"/>
                  </a:cubicBezTo>
                  <a:lnTo>
                    <a:pt x="1457" y="2909"/>
                  </a:lnTo>
                  <a:cubicBezTo>
                    <a:pt x="823" y="2849"/>
                    <a:pt x="317" y="2343"/>
                    <a:pt x="258" y="1709"/>
                  </a:cubicBezTo>
                  <a:lnTo>
                    <a:pt x="311" y="1709"/>
                  </a:lnTo>
                  <a:cubicBezTo>
                    <a:pt x="381" y="1709"/>
                    <a:pt x="437" y="1653"/>
                    <a:pt x="437" y="1583"/>
                  </a:cubicBezTo>
                  <a:cubicBezTo>
                    <a:pt x="437" y="1514"/>
                    <a:pt x="381" y="1458"/>
                    <a:pt x="311" y="1458"/>
                  </a:cubicBezTo>
                  <a:lnTo>
                    <a:pt x="258" y="1458"/>
                  </a:lnTo>
                  <a:cubicBezTo>
                    <a:pt x="317" y="824"/>
                    <a:pt x="823" y="317"/>
                    <a:pt x="1457" y="258"/>
                  </a:cubicBezTo>
                  <a:lnTo>
                    <a:pt x="1457" y="312"/>
                  </a:lnTo>
                  <a:cubicBezTo>
                    <a:pt x="1457" y="381"/>
                    <a:pt x="1513" y="437"/>
                    <a:pt x="1583" y="437"/>
                  </a:cubicBezTo>
                  <a:cubicBezTo>
                    <a:pt x="1652" y="437"/>
                    <a:pt x="1709" y="381"/>
                    <a:pt x="1709" y="312"/>
                  </a:cubicBezTo>
                  <a:lnTo>
                    <a:pt x="1709" y="258"/>
                  </a:lnTo>
                  <a:cubicBezTo>
                    <a:pt x="2343" y="317"/>
                    <a:pt x="2848" y="824"/>
                    <a:pt x="2908" y="1458"/>
                  </a:cubicBezTo>
                  <a:lnTo>
                    <a:pt x="2855" y="1458"/>
                  </a:lnTo>
                  <a:cubicBezTo>
                    <a:pt x="2785" y="1458"/>
                    <a:pt x="2729" y="1514"/>
                    <a:pt x="2729" y="1583"/>
                  </a:cubicBezTo>
                  <a:cubicBezTo>
                    <a:pt x="2729" y="1653"/>
                    <a:pt x="2785" y="1709"/>
                    <a:pt x="2855" y="1709"/>
                  </a:cubicBezTo>
                  <a:close/>
                  <a:moveTo>
                    <a:pt x="2855" y="170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85">
              <a:extLst>
                <a:ext uri="{FF2B5EF4-FFF2-40B4-BE49-F238E27FC236}">
                  <a16:creationId xmlns:a16="http://schemas.microsoft.com/office/drawing/2014/main" id="{4715A660-BE70-4C83-BEF4-E5FDDDBFD1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4" y="3416"/>
              <a:ext cx="23" cy="36"/>
            </a:xfrm>
            <a:custGeom>
              <a:avLst/>
              <a:gdLst>
                <a:gd name="T0" fmla="*/ 543 w 669"/>
                <a:gd name="T1" fmla="*/ 0 h 1086"/>
                <a:gd name="T2" fmla="*/ 417 w 669"/>
                <a:gd name="T3" fmla="*/ 125 h 1086"/>
                <a:gd name="T4" fmla="*/ 417 w 669"/>
                <a:gd name="T5" fmla="*/ 834 h 1086"/>
                <a:gd name="T6" fmla="*/ 126 w 669"/>
                <a:gd name="T7" fmla="*/ 834 h 1086"/>
                <a:gd name="T8" fmla="*/ 0 w 669"/>
                <a:gd name="T9" fmla="*/ 960 h 1086"/>
                <a:gd name="T10" fmla="*/ 126 w 669"/>
                <a:gd name="T11" fmla="*/ 1086 h 1086"/>
                <a:gd name="T12" fmla="*/ 543 w 669"/>
                <a:gd name="T13" fmla="*/ 1086 h 1086"/>
                <a:gd name="T14" fmla="*/ 669 w 669"/>
                <a:gd name="T15" fmla="*/ 960 h 1086"/>
                <a:gd name="T16" fmla="*/ 669 w 669"/>
                <a:gd name="T17" fmla="*/ 125 h 1086"/>
                <a:gd name="T18" fmla="*/ 543 w 669"/>
                <a:gd name="T19" fmla="*/ 0 h 1086"/>
                <a:gd name="T20" fmla="*/ 543 w 669"/>
                <a:gd name="T21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9" h="1086">
                  <a:moveTo>
                    <a:pt x="543" y="0"/>
                  </a:moveTo>
                  <a:cubicBezTo>
                    <a:pt x="473" y="0"/>
                    <a:pt x="417" y="56"/>
                    <a:pt x="417" y="125"/>
                  </a:cubicBezTo>
                  <a:lnTo>
                    <a:pt x="417" y="834"/>
                  </a:lnTo>
                  <a:lnTo>
                    <a:pt x="126" y="834"/>
                  </a:lnTo>
                  <a:cubicBezTo>
                    <a:pt x="56" y="834"/>
                    <a:pt x="0" y="891"/>
                    <a:pt x="0" y="960"/>
                  </a:cubicBezTo>
                  <a:cubicBezTo>
                    <a:pt x="0" y="1029"/>
                    <a:pt x="56" y="1086"/>
                    <a:pt x="126" y="1086"/>
                  </a:cubicBezTo>
                  <a:lnTo>
                    <a:pt x="543" y="1086"/>
                  </a:lnTo>
                  <a:cubicBezTo>
                    <a:pt x="612" y="1086"/>
                    <a:pt x="669" y="1029"/>
                    <a:pt x="669" y="960"/>
                  </a:cubicBezTo>
                  <a:lnTo>
                    <a:pt x="669" y="125"/>
                  </a:lnTo>
                  <a:cubicBezTo>
                    <a:pt x="669" y="56"/>
                    <a:pt x="612" y="0"/>
                    <a:pt x="543" y="0"/>
                  </a:cubicBezTo>
                  <a:close/>
                  <a:moveTo>
                    <a:pt x="543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4" name="object 15">
            <a:extLst>
              <a:ext uri="{FF2B5EF4-FFF2-40B4-BE49-F238E27FC236}">
                <a16:creationId xmlns:a16="http://schemas.microsoft.com/office/drawing/2014/main" id="{2B64F0BC-7791-4009-B340-490FB86CC328}"/>
              </a:ext>
            </a:extLst>
          </p:cNvPr>
          <p:cNvSpPr txBox="1"/>
          <p:nvPr/>
        </p:nvSpPr>
        <p:spPr>
          <a:xfrm>
            <a:off x="1271992" y="3889633"/>
            <a:ext cx="4752571" cy="2672166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uz-Cyrl-UZ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Аудит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учун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маъсул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шахслар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қуйидагилар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бўлиши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мумкин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Ушбу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араён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хсус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жратил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ёк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йинлан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устақил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жрочи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ёк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одим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Комплаенс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инм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(агар </a:t>
            </a:r>
            <a:r>
              <a:rPr lang="uz-Cyrl-UZ" sz="1200" spc="-4" dirty="0">
                <a:solidFill>
                  <a:schemeClr val="tx2"/>
                </a:solidFill>
                <a:cs typeface="Arial" panose="020B0604020202020204" pitchFamily="34" charset="0"/>
              </a:rPr>
              <a:t>аудит</a:t>
            </a: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оҳас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увофиқлик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изимлар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аҳолаш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ёк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ушбу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им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съул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ошқ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шлар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ўз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ичи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лмас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)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удит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ркиби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ирмайди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ошқ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им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ёк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им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одимлари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Учинч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омон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10319">
              <a:spcAft>
                <a:spcPts val="600"/>
              </a:spcAft>
              <a:buClr>
                <a:srgbClr val="1BD7D3"/>
              </a:buClr>
            </a:pP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Ташкилот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аудиторнинг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ўз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фаолият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соҳасини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текшириш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билан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шуғулланмаслигини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таъминлаши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 </a:t>
            </a:r>
            <a:r>
              <a:rPr lang="ru-RU" sz="1200" b="1" spc="-4" dirty="0" err="1">
                <a:solidFill>
                  <a:srgbClr val="3A07DF"/>
                </a:solidFill>
                <a:cs typeface="Arial" panose="020B0604020202020204" pitchFamily="34" charset="0"/>
              </a:rPr>
              <a:t>керак</a:t>
            </a:r>
            <a:r>
              <a:rPr lang="ru-RU" sz="1200" b="1" spc="-4" dirty="0">
                <a:solidFill>
                  <a:srgbClr val="3A07DF"/>
                </a:solidFill>
                <a:cs typeface="Arial" panose="020B0604020202020204" pitchFamily="34" charset="0"/>
              </a:rPr>
              <a:t>. </a:t>
            </a:r>
            <a:endParaRPr lang="ru-RU" sz="1400" b="1" spc="-4" dirty="0">
              <a:solidFill>
                <a:srgbClr val="3A07DF"/>
              </a:solidFill>
              <a:cs typeface="Arial" panose="020B0604020202020204" pitchFamily="34" charset="0"/>
            </a:endParaRPr>
          </a:p>
        </p:txBody>
      </p:sp>
      <p:sp>
        <p:nvSpPr>
          <p:cNvPr id="35" name="object 12">
            <a:extLst>
              <a:ext uri="{FF2B5EF4-FFF2-40B4-BE49-F238E27FC236}">
                <a16:creationId xmlns:a16="http://schemas.microsoft.com/office/drawing/2014/main" id="{62E7A43A-4C52-46B2-8B75-8233DDDF266C}"/>
              </a:ext>
            </a:extLst>
          </p:cNvPr>
          <p:cNvSpPr/>
          <p:nvPr/>
        </p:nvSpPr>
        <p:spPr>
          <a:xfrm>
            <a:off x="456832" y="3799691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6" name="Group 248">
            <a:extLst>
              <a:ext uri="{FF2B5EF4-FFF2-40B4-BE49-F238E27FC236}">
                <a16:creationId xmlns:a16="http://schemas.microsoft.com/office/drawing/2014/main" id="{153BEBC6-6105-4C1F-8AB5-D62218A5687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6153" y="3889633"/>
            <a:ext cx="584897" cy="530671"/>
            <a:chOff x="1780" y="300"/>
            <a:chExt cx="4088" cy="3709"/>
          </a:xfrm>
          <a:solidFill>
            <a:schemeClr val="bg2">
              <a:lumMod val="25000"/>
            </a:schemeClr>
          </a:solidFill>
        </p:grpSpPr>
        <p:sp>
          <p:nvSpPr>
            <p:cNvPr id="37" name="Freeform 249">
              <a:extLst>
                <a:ext uri="{FF2B5EF4-FFF2-40B4-BE49-F238E27FC236}">
                  <a16:creationId xmlns:a16="http://schemas.microsoft.com/office/drawing/2014/main" id="{73DFB820-2D71-41C1-9AA9-4CE70E547C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0" y="300"/>
              <a:ext cx="4088" cy="3709"/>
            </a:xfrm>
            <a:custGeom>
              <a:avLst/>
              <a:gdLst>
                <a:gd name="T0" fmla="*/ 7231 w 8517"/>
                <a:gd name="T1" fmla="*/ 2632 h 7729"/>
                <a:gd name="T2" fmla="*/ 5932 w 8517"/>
                <a:gd name="T3" fmla="*/ 1311 h 7729"/>
                <a:gd name="T4" fmla="*/ 4661 w 8517"/>
                <a:gd name="T5" fmla="*/ 0 h 7729"/>
                <a:gd name="T6" fmla="*/ 2630 w 8517"/>
                <a:gd name="T7" fmla="*/ 1317 h 7729"/>
                <a:gd name="T8" fmla="*/ 941 w 8517"/>
                <a:gd name="T9" fmla="*/ 2243 h 7729"/>
                <a:gd name="T10" fmla="*/ 480 w 8517"/>
                <a:gd name="T11" fmla="*/ 3397 h 7729"/>
                <a:gd name="T12" fmla="*/ 1042 w 8517"/>
                <a:gd name="T13" fmla="*/ 5238 h 7729"/>
                <a:gd name="T14" fmla="*/ 1532 w 8517"/>
                <a:gd name="T15" fmla="*/ 7555 h 7729"/>
                <a:gd name="T16" fmla="*/ 2332 w 8517"/>
                <a:gd name="T17" fmla="*/ 6226 h 7729"/>
                <a:gd name="T18" fmla="*/ 2776 w 8517"/>
                <a:gd name="T19" fmla="*/ 7229 h 7729"/>
                <a:gd name="T20" fmla="*/ 3633 w 8517"/>
                <a:gd name="T21" fmla="*/ 7233 h 7729"/>
                <a:gd name="T22" fmla="*/ 4081 w 8517"/>
                <a:gd name="T23" fmla="*/ 6226 h 7729"/>
                <a:gd name="T24" fmla="*/ 4546 w 8517"/>
                <a:gd name="T25" fmla="*/ 7605 h 7729"/>
                <a:gd name="T26" fmla="*/ 4747 w 8517"/>
                <a:gd name="T27" fmla="*/ 6576 h 7729"/>
                <a:gd name="T28" fmla="*/ 5191 w 8517"/>
                <a:gd name="T29" fmla="*/ 7198 h 7729"/>
                <a:gd name="T30" fmla="*/ 5661 w 8517"/>
                <a:gd name="T31" fmla="*/ 7610 h 7729"/>
                <a:gd name="T32" fmla="*/ 6076 w 8517"/>
                <a:gd name="T33" fmla="*/ 6435 h 7729"/>
                <a:gd name="T34" fmla="*/ 6658 w 8517"/>
                <a:gd name="T35" fmla="*/ 7599 h 7729"/>
                <a:gd name="T36" fmla="*/ 7540 w 8517"/>
                <a:gd name="T37" fmla="*/ 6322 h 7729"/>
                <a:gd name="T38" fmla="*/ 8029 w 8517"/>
                <a:gd name="T39" fmla="*/ 5179 h 7729"/>
                <a:gd name="T40" fmla="*/ 3016 w 8517"/>
                <a:gd name="T41" fmla="*/ 3937 h 7729"/>
                <a:gd name="T42" fmla="*/ 3475 w 8517"/>
                <a:gd name="T43" fmla="*/ 3641 h 7729"/>
                <a:gd name="T44" fmla="*/ 3784 w 8517"/>
                <a:gd name="T45" fmla="*/ 4446 h 7729"/>
                <a:gd name="T46" fmla="*/ 2750 w 8517"/>
                <a:gd name="T47" fmla="*/ 5038 h 7729"/>
                <a:gd name="T48" fmla="*/ 2972 w 8517"/>
                <a:gd name="T49" fmla="*/ 5611 h 7729"/>
                <a:gd name="T50" fmla="*/ 3491 w 8517"/>
                <a:gd name="T51" fmla="*/ 5842 h 7729"/>
                <a:gd name="T52" fmla="*/ 3403 w 8517"/>
                <a:gd name="T53" fmla="*/ 7111 h 7729"/>
                <a:gd name="T54" fmla="*/ 5141 w 8517"/>
                <a:gd name="T55" fmla="*/ 4717 h 7729"/>
                <a:gd name="T56" fmla="*/ 6031 w 8517"/>
                <a:gd name="T57" fmla="*/ 4794 h 7729"/>
                <a:gd name="T58" fmla="*/ 5944 w 8517"/>
                <a:gd name="T59" fmla="*/ 5500 h 7729"/>
                <a:gd name="T60" fmla="*/ 5141 w 8517"/>
                <a:gd name="T61" fmla="*/ 4998 h 7729"/>
                <a:gd name="T62" fmla="*/ 5586 w 8517"/>
                <a:gd name="T63" fmla="*/ 5937 h 7729"/>
                <a:gd name="T64" fmla="*/ 5577 w 8517"/>
                <a:gd name="T65" fmla="*/ 7340 h 7729"/>
                <a:gd name="T66" fmla="*/ 8268 w 8517"/>
                <a:gd name="T67" fmla="*/ 4661 h 7729"/>
                <a:gd name="T68" fmla="*/ 7017 w 8517"/>
                <a:gd name="T69" fmla="*/ 6095 h 7729"/>
                <a:gd name="T70" fmla="*/ 6368 w 8517"/>
                <a:gd name="T71" fmla="*/ 6270 h 7729"/>
                <a:gd name="T72" fmla="*/ 6011 w 8517"/>
                <a:gd name="T73" fmla="*/ 6049 h 7729"/>
                <a:gd name="T74" fmla="*/ 6281 w 8517"/>
                <a:gd name="T75" fmla="*/ 4967 h 7729"/>
                <a:gd name="T76" fmla="*/ 4891 w 8517"/>
                <a:gd name="T77" fmla="*/ 4636 h 7729"/>
                <a:gd name="T78" fmla="*/ 5169 w 8517"/>
                <a:gd name="T79" fmla="*/ 5756 h 7729"/>
                <a:gd name="T80" fmla="*/ 4635 w 8517"/>
                <a:gd name="T81" fmla="*/ 6351 h 7729"/>
                <a:gd name="T82" fmla="*/ 3690 w 8517"/>
                <a:gd name="T83" fmla="*/ 5313 h 7729"/>
                <a:gd name="T84" fmla="*/ 4033 w 8517"/>
                <a:gd name="T85" fmla="*/ 3950 h 7729"/>
                <a:gd name="T86" fmla="*/ 2380 w 8517"/>
                <a:gd name="T87" fmla="*/ 4301 h 7729"/>
                <a:gd name="T88" fmla="*/ 2625 w 8517"/>
                <a:gd name="T89" fmla="*/ 5835 h 7729"/>
                <a:gd name="T90" fmla="*/ 1181 w 8517"/>
                <a:gd name="T91" fmla="*/ 6850 h 7729"/>
                <a:gd name="T92" fmla="*/ 1021 w 8517"/>
                <a:gd name="T93" fmla="*/ 4962 h 7729"/>
                <a:gd name="T94" fmla="*/ 1010 w 8517"/>
                <a:gd name="T95" fmla="*/ 3607 h 7729"/>
                <a:gd name="T96" fmla="*/ 1140 w 8517"/>
                <a:gd name="T97" fmla="*/ 1708 h 7729"/>
                <a:gd name="T98" fmla="*/ 3399 w 8517"/>
                <a:gd name="T99" fmla="*/ 1266 h 7729"/>
                <a:gd name="T100" fmla="*/ 4930 w 8517"/>
                <a:gd name="T101" fmla="*/ 503 h 7729"/>
                <a:gd name="T102" fmla="*/ 6484 w 8517"/>
                <a:gd name="T103" fmla="*/ 1167 h 7729"/>
                <a:gd name="T104" fmla="*/ 7006 w 8517"/>
                <a:gd name="T105" fmla="*/ 2795 h 7729"/>
                <a:gd name="T106" fmla="*/ 8268 w 8517"/>
                <a:gd name="T107" fmla="*/ 4661 h 7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17" h="7729">
                  <a:moveTo>
                    <a:pt x="8037" y="3397"/>
                  </a:moveTo>
                  <a:lnTo>
                    <a:pt x="7526" y="3358"/>
                  </a:lnTo>
                  <a:cubicBezTo>
                    <a:pt x="7509" y="3357"/>
                    <a:pt x="7495" y="3346"/>
                    <a:pt x="7491" y="3330"/>
                  </a:cubicBezTo>
                  <a:cubicBezTo>
                    <a:pt x="7426" y="3105"/>
                    <a:pt x="7337" y="2885"/>
                    <a:pt x="7226" y="2677"/>
                  </a:cubicBezTo>
                  <a:cubicBezTo>
                    <a:pt x="7218" y="2663"/>
                    <a:pt x="7220" y="2645"/>
                    <a:pt x="7231" y="2632"/>
                  </a:cubicBezTo>
                  <a:lnTo>
                    <a:pt x="7576" y="2243"/>
                  </a:lnTo>
                  <a:cubicBezTo>
                    <a:pt x="7757" y="2038"/>
                    <a:pt x="7748" y="1726"/>
                    <a:pt x="7554" y="1532"/>
                  </a:cubicBezTo>
                  <a:lnTo>
                    <a:pt x="7027" y="1004"/>
                  </a:lnTo>
                  <a:cubicBezTo>
                    <a:pt x="6836" y="814"/>
                    <a:pt x="6526" y="802"/>
                    <a:pt x="6321" y="977"/>
                  </a:cubicBezTo>
                  <a:lnTo>
                    <a:pt x="5932" y="1311"/>
                  </a:lnTo>
                  <a:cubicBezTo>
                    <a:pt x="5920" y="1322"/>
                    <a:pt x="5901" y="1324"/>
                    <a:pt x="5887" y="1316"/>
                  </a:cubicBezTo>
                  <a:cubicBezTo>
                    <a:pt x="5682" y="1202"/>
                    <a:pt x="5463" y="1110"/>
                    <a:pt x="5238" y="1042"/>
                  </a:cubicBezTo>
                  <a:cubicBezTo>
                    <a:pt x="5223" y="1037"/>
                    <a:pt x="5212" y="1022"/>
                    <a:pt x="5211" y="1006"/>
                  </a:cubicBezTo>
                  <a:lnTo>
                    <a:pt x="5179" y="488"/>
                  </a:lnTo>
                  <a:cubicBezTo>
                    <a:pt x="5162" y="214"/>
                    <a:pt x="4935" y="0"/>
                    <a:pt x="4661" y="0"/>
                  </a:cubicBezTo>
                  <a:lnTo>
                    <a:pt x="3915" y="0"/>
                  </a:lnTo>
                  <a:cubicBezTo>
                    <a:pt x="3645" y="0"/>
                    <a:pt x="3418" y="211"/>
                    <a:pt x="3397" y="480"/>
                  </a:cubicBezTo>
                  <a:lnTo>
                    <a:pt x="3358" y="991"/>
                  </a:lnTo>
                  <a:cubicBezTo>
                    <a:pt x="3357" y="1008"/>
                    <a:pt x="3346" y="1022"/>
                    <a:pt x="3330" y="1026"/>
                  </a:cubicBezTo>
                  <a:cubicBezTo>
                    <a:pt x="3087" y="1096"/>
                    <a:pt x="2851" y="1194"/>
                    <a:pt x="2630" y="1317"/>
                  </a:cubicBezTo>
                  <a:cubicBezTo>
                    <a:pt x="2616" y="1324"/>
                    <a:pt x="2598" y="1322"/>
                    <a:pt x="2585" y="1311"/>
                  </a:cubicBezTo>
                  <a:lnTo>
                    <a:pt x="2196" y="977"/>
                  </a:lnTo>
                  <a:cubicBezTo>
                    <a:pt x="1991" y="802"/>
                    <a:pt x="1682" y="814"/>
                    <a:pt x="1491" y="1004"/>
                  </a:cubicBezTo>
                  <a:lnTo>
                    <a:pt x="963" y="1532"/>
                  </a:lnTo>
                  <a:cubicBezTo>
                    <a:pt x="769" y="1726"/>
                    <a:pt x="760" y="2038"/>
                    <a:pt x="941" y="2243"/>
                  </a:cubicBezTo>
                  <a:lnTo>
                    <a:pt x="1286" y="2632"/>
                  </a:lnTo>
                  <a:cubicBezTo>
                    <a:pt x="1297" y="2645"/>
                    <a:pt x="1299" y="2663"/>
                    <a:pt x="1292" y="2677"/>
                  </a:cubicBezTo>
                  <a:cubicBezTo>
                    <a:pt x="1180" y="2885"/>
                    <a:pt x="1091" y="3105"/>
                    <a:pt x="1027" y="3330"/>
                  </a:cubicBezTo>
                  <a:cubicBezTo>
                    <a:pt x="1022" y="3346"/>
                    <a:pt x="1008" y="3357"/>
                    <a:pt x="991" y="3358"/>
                  </a:cubicBezTo>
                  <a:lnTo>
                    <a:pt x="480" y="3397"/>
                  </a:lnTo>
                  <a:cubicBezTo>
                    <a:pt x="211" y="3418"/>
                    <a:pt x="0" y="3645"/>
                    <a:pt x="0" y="3915"/>
                  </a:cubicBezTo>
                  <a:lnTo>
                    <a:pt x="0" y="4661"/>
                  </a:lnTo>
                  <a:cubicBezTo>
                    <a:pt x="0" y="4935"/>
                    <a:pt x="215" y="5163"/>
                    <a:pt x="488" y="5179"/>
                  </a:cubicBezTo>
                  <a:lnTo>
                    <a:pt x="1006" y="5211"/>
                  </a:lnTo>
                  <a:cubicBezTo>
                    <a:pt x="1023" y="5212"/>
                    <a:pt x="1037" y="5223"/>
                    <a:pt x="1042" y="5238"/>
                  </a:cubicBezTo>
                  <a:cubicBezTo>
                    <a:pt x="1110" y="5463"/>
                    <a:pt x="1203" y="5682"/>
                    <a:pt x="1316" y="5887"/>
                  </a:cubicBezTo>
                  <a:cubicBezTo>
                    <a:pt x="1324" y="5902"/>
                    <a:pt x="1322" y="5920"/>
                    <a:pt x="1311" y="5932"/>
                  </a:cubicBezTo>
                  <a:lnTo>
                    <a:pt x="977" y="6322"/>
                  </a:lnTo>
                  <a:cubicBezTo>
                    <a:pt x="802" y="6526"/>
                    <a:pt x="814" y="6836"/>
                    <a:pt x="1004" y="7027"/>
                  </a:cubicBezTo>
                  <a:lnTo>
                    <a:pt x="1532" y="7555"/>
                  </a:lnTo>
                  <a:cubicBezTo>
                    <a:pt x="1579" y="7602"/>
                    <a:pt x="1634" y="7639"/>
                    <a:pt x="1695" y="7665"/>
                  </a:cubicBezTo>
                  <a:cubicBezTo>
                    <a:pt x="1758" y="7692"/>
                    <a:pt x="1831" y="7663"/>
                    <a:pt x="1858" y="7599"/>
                  </a:cubicBezTo>
                  <a:cubicBezTo>
                    <a:pt x="1868" y="7576"/>
                    <a:pt x="1871" y="7552"/>
                    <a:pt x="1867" y="7529"/>
                  </a:cubicBezTo>
                  <a:lnTo>
                    <a:pt x="1867" y="6875"/>
                  </a:lnTo>
                  <a:cubicBezTo>
                    <a:pt x="1867" y="6580"/>
                    <a:pt x="2054" y="6319"/>
                    <a:pt x="2332" y="6226"/>
                  </a:cubicBezTo>
                  <a:lnTo>
                    <a:pt x="2594" y="6137"/>
                  </a:lnTo>
                  <a:cubicBezTo>
                    <a:pt x="2645" y="6121"/>
                    <a:pt x="2692" y="6097"/>
                    <a:pt x="2735" y="6067"/>
                  </a:cubicBezTo>
                  <a:cubicBezTo>
                    <a:pt x="2830" y="6096"/>
                    <a:pt x="2928" y="6116"/>
                    <a:pt x="3027" y="6126"/>
                  </a:cubicBezTo>
                  <a:lnTo>
                    <a:pt x="2749" y="7111"/>
                  </a:lnTo>
                  <a:cubicBezTo>
                    <a:pt x="2737" y="7152"/>
                    <a:pt x="2747" y="7197"/>
                    <a:pt x="2776" y="7229"/>
                  </a:cubicBezTo>
                  <a:lnTo>
                    <a:pt x="3097" y="7586"/>
                  </a:lnTo>
                  <a:cubicBezTo>
                    <a:pt x="3120" y="7612"/>
                    <a:pt x="3152" y="7627"/>
                    <a:pt x="3186" y="7628"/>
                  </a:cubicBezTo>
                  <a:lnTo>
                    <a:pt x="3190" y="7628"/>
                  </a:lnTo>
                  <a:cubicBezTo>
                    <a:pt x="3223" y="7628"/>
                    <a:pt x="3255" y="7615"/>
                    <a:pt x="3278" y="7591"/>
                  </a:cubicBezTo>
                  <a:lnTo>
                    <a:pt x="3633" y="7233"/>
                  </a:lnTo>
                  <a:cubicBezTo>
                    <a:pt x="3666" y="7200"/>
                    <a:pt x="3677" y="7152"/>
                    <a:pt x="3664" y="7108"/>
                  </a:cubicBezTo>
                  <a:lnTo>
                    <a:pt x="3355" y="6122"/>
                  </a:lnTo>
                  <a:cubicBezTo>
                    <a:pt x="3458" y="6109"/>
                    <a:pt x="3560" y="6086"/>
                    <a:pt x="3658" y="6052"/>
                  </a:cubicBezTo>
                  <a:cubicBezTo>
                    <a:pt x="3707" y="6089"/>
                    <a:pt x="3761" y="6118"/>
                    <a:pt x="3819" y="6137"/>
                  </a:cubicBezTo>
                  <a:lnTo>
                    <a:pt x="4081" y="6226"/>
                  </a:lnTo>
                  <a:cubicBezTo>
                    <a:pt x="4259" y="6286"/>
                    <a:pt x="4406" y="6418"/>
                    <a:pt x="4484" y="6589"/>
                  </a:cubicBezTo>
                  <a:cubicBezTo>
                    <a:pt x="4524" y="6676"/>
                    <a:pt x="4545" y="6768"/>
                    <a:pt x="4546" y="6862"/>
                  </a:cubicBezTo>
                  <a:cubicBezTo>
                    <a:pt x="4546" y="6865"/>
                    <a:pt x="4546" y="6867"/>
                    <a:pt x="4546" y="6869"/>
                  </a:cubicBezTo>
                  <a:cubicBezTo>
                    <a:pt x="4546" y="6871"/>
                    <a:pt x="4546" y="6873"/>
                    <a:pt x="4546" y="6875"/>
                  </a:cubicBezTo>
                  <a:lnTo>
                    <a:pt x="4546" y="7605"/>
                  </a:lnTo>
                  <a:cubicBezTo>
                    <a:pt x="4546" y="7673"/>
                    <a:pt x="4602" y="7729"/>
                    <a:pt x="4671" y="7729"/>
                  </a:cubicBezTo>
                  <a:cubicBezTo>
                    <a:pt x="4740" y="7729"/>
                    <a:pt x="4796" y="7673"/>
                    <a:pt x="4796" y="7605"/>
                  </a:cubicBezTo>
                  <a:lnTo>
                    <a:pt x="4796" y="6875"/>
                  </a:lnTo>
                  <a:cubicBezTo>
                    <a:pt x="4796" y="6868"/>
                    <a:pt x="4796" y="6862"/>
                    <a:pt x="4796" y="6856"/>
                  </a:cubicBezTo>
                  <a:cubicBezTo>
                    <a:pt x="4794" y="6760"/>
                    <a:pt x="4777" y="6666"/>
                    <a:pt x="4747" y="6576"/>
                  </a:cubicBezTo>
                  <a:cubicBezTo>
                    <a:pt x="4788" y="6547"/>
                    <a:pt x="4834" y="6523"/>
                    <a:pt x="4883" y="6507"/>
                  </a:cubicBezTo>
                  <a:lnTo>
                    <a:pt x="5096" y="6435"/>
                  </a:lnTo>
                  <a:cubicBezTo>
                    <a:pt x="5136" y="6422"/>
                    <a:pt x="5173" y="6404"/>
                    <a:pt x="5207" y="6381"/>
                  </a:cubicBezTo>
                  <a:cubicBezTo>
                    <a:pt x="5274" y="6401"/>
                    <a:pt x="5341" y="6415"/>
                    <a:pt x="5410" y="6424"/>
                  </a:cubicBezTo>
                  <a:lnTo>
                    <a:pt x="5191" y="7198"/>
                  </a:lnTo>
                  <a:cubicBezTo>
                    <a:pt x="5180" y="7239"/>
                    <a:pt x="5190" y="7283"/>
                    <a:pt x="5218" y="7315"/>
                  </a:cubicBezTo>
                  <a:lnTo>
                    <a:pt x="5479" y="7606"/>
                  </a:lnTo>
                  <a:cubicBezTo>
                    <a:pt x="5502" y="7631"/>
                    <a:pt x="5535" y="7646"/>
                    <a:pt x="5569" y="7647"/>
                  </a:cubicBezTo>
                  <a:cubicBezTo>
                    <a:pt x="5570" y="7647"/>
                    <a:pt x="5571" y="7647"/>
                    <a:pt x="5572" y="7647"/>
                  </a:cubicBezTo>
                  <a:cubicBezTo>
                    <a:pt x="5605" y="7647"/>
                    <a:pt x="5637" y="7634"/>
                    <a:pt x="5661" y="7610"/>
                  </a:cubicBezTo>
                  <a:lnTo>
                    <a:pt x="5949" y="7319"/>
                  </a:lnTo>
                  <a:cubicBezTo>
                    <a:pt x="5982" y="7286"/>
                    <a:pt x="5993" y="7238"/>
                    <a:pt x="5979" y="7194"/>
                  </a:cubicBezTo>
                  <a:lnTo>
                    <a:pt x="5737" y="6420"/>
                  </a:lnTo>
                  <a:cubicBezTo>
                    <a:pt x="5809" y="6409"/>
                    <a:pt x="5879" y="6393"/>
                    <a:pt x="5949" y="6369"/>
                  </a:cubicBezTo>
                  <a:cubicBezTo>
                    <a:pt x="5987" y="6398"/>
                    <a:pt x="6030" y="6420"/>
                    <a:pt x="6076" y="6435"/>
                  </a:cubicBezTo>
                  <a:lnTo>
                    <a:pt x="6288" y="6507"/>
                  </a:lnTo>
                  <a:cubicBezTo>
                    <a:pt x="6505" y="6580"/>
                    <a:pt x="6651" y="6783"/>
                    <a:pt x="6651" y="7012"/>
                  </a:cubicBezTo>
                  <a:lnTo>
                    <a:pt x="6651" y="7522"/>
                  </a:lnTo>
                  <a:cubicBezTo>
                    <a:pt x="6651" y="7523"/>
                    <a:pt x="6651" y="7523"/>
                    <a:pt x="6651" y="7524"/>
                  </a:cubicBezTo>
                  <a:cubicBezTo>
                    <a:pt x="6645" y="7548"/>
                    <a:pt x="6647" y="7574"/>
                    <a:pt x="6658" y="7599"/>
                  </a:cubicBezTo>
                  <a:cubicBezTo>
                    <a:pt x="6678" y="7647"/>
                    <a:pt x="6724" y="7675"/>
                    <a:pt x="6773" y="7675"/>
                  </a:cubicBezTo>
                  <a:cubicBezTo>
                    <a:pt x="6789" y="7675"/>
                    <a:pt x="6805" y="7672"/>
                    <a:pt x="6821" y="7665"/>
                  </a:cubicBezTo>
                  <a:cubicBezTo>
                    <a:pt x="6883" y="7639"/>
                    <a:pt x="6938" y="7602"/>
                    <a:pt x="6985" y="7555"/>
                  </a:cubicBezTo>
                  <a:lnTo>
                    <a:pt x="7513" y="7027"/>
                  </a:lnTo>
                  <a:cubicBezTo>
                    <a:pt x="7704" y="6836"/>
                    <a:pt x="7716" y="6526"/>
                    <a:pt x="7540" y="6322"/>
                  </a:cubicBezTo>
                  <a:lnTo>
                    <a:pt x="7206" y="5932"/>
                  </a:lnTo>
                  <a:cubicBezTo>
                    <a:pt x="7195" y="5920"/>
                    <a:pt x="7193" y="5902"/>
                    <a:pt x="7201" y="5887"/>
                  </a:cubicBezTo>
                  <a:cubicBezTo>
                    <a:pt x="7315" y="5682"/>
                    <a:pt x="7407" y="5463"/>
                    <a:pt x="7476" y="5238"/>
                  </a:cubicBezTo>
                  <a:cubicBezTo>
                    <a:pt x="7480" y="5223"/>
                    <a:pt x="7495" y="5212"/>
                    <a:pt x="7512" y="5211"/>
                  </a:cubicBezTo>
                  <a:lnTo>
                    <a:pt x="8029" y="5179"/>
                  </a:lnTo>
                  <a:cubicBezTo>
                    <a:pt x="8303" y="5163"/>
                    <a:pt x="8517" y="4935"/>
                    <a:pt x="8517" y="4661"/>
                  </a:cubicBezTo>
                  <a:lnTo>
                    <a:pt x="8517" y="3915"/>
                  </a:lnTo>
                  <a:cubicBezTo>
                    <a:pt x="8517" y="3645"/>
                    <a:pt x="8306" y="3418"/>
                    <a:pt x="8037" y="3397"/>
                  </a:cubicBezTo>
                  <a:close/>
                  <a:moveTo>
                    <a:pt x="3784" y="4184"/>
                  </a:moveTo>
                  <a:lnTo>
                    <a:pt x="3016" y="3937"/>
                  </a:lnTo>
                  <a:cubicBezTo>
                    <a:pt x="2984" y="3927"/>
                    <a:pt x="2949" y="3930"/>
                    <a:pt x="2920" y="3945"/>
                  </a:cubicBezTo>
                  <a:lnTo>
                    <a:pt x="2629" y="4097"/>
                  </a:lnTo>
                  <a:lnTo>
                    <a:pt x="2629" y="3950"/>
                  </a:lnTo>
                  <a:cubicBezTo>
                    <a:pt x="2629" y="3780"/>
                    <a:pt x="2768" y="3641"/>
                    <a:pt x="2938" y="3641"/>
                  </a:cubicBezTo>
                  <a:lnTo>
                    <a:pt x="3475" y="3641"/>
                  </a:lnTo>
                  <a:cubicBezTo>
                    <a:pt x="3645" y="3641"/>
                    <a:pt x="3784" y="3780"/>
                    <a:pt x="3784" y="3950"/>
                  </a:cubicBezTo>
                  <a:lnTo>
                    <a:pt x="3784" y="4184"/>
                  </a:lnTo>
                  <a:close/>
                  <a:moveTo>
                    <a:pt x="2629" y="4378"/>
                  </a:moveTo>
                  <a:lnTo>
                    <a:pt x="2989" y="4190"/>
                  </a:lnTo>
                  <a:lnTo>
                    <a:pt x="3784" y="4446"/>
                  </a:lnTo>
                  <a:lnTo>
                    <a:pt x="3784" y="4822"/>
                  </a:lnTo>
                  <a:cubicBezTo>
                    <a:pt x="3784" y="4910"/>
                    <a:pt x="3737" y="4992"/>
                    <a:pt x="3663" y="5038"/>
                  </a:cubicBezTo>
                  <a:lnTo>
                    <a:pt x="3337" y="5236"/>
                  </a:lnTo>
                  <a:cubicBezTo>
                    <a:pt x="3257" y="5285"/>
                    <a:pt x="3156" y="5285"/>
                    <a:pt x="3076" y="5236"/>
                  </a:cubicBezTo>
                  <a:lnTo>
                    <a:pt x="2750" y="5038"/>
                  </a:lnTo>
                  <a:cubicBezTo>
                    <a:pt x="2676" y="4992"/>
                    <a:pt x="2629" y="4910"/>
                    <a:pt x="2629" y="4822"/>
                  </a:cubicBezTo>
                  <a:lnTo>
                    <a:pt x="2629" y="4378"/>
                  </a:lnTo>
                  <a:close/>
                  <a:moveTo>
                    <a:pt x="3201" y="5884"/>
                  </a:moveTo>
                  <a:cubicBezTo>
                    <a:pt x="3104" y="5886"/>
                    <a:pt x="3009" y="5876"/>
                    <a:pt x="2915" y="5856"/>
                  </a:cubicBezTo>
                  <a:cubicBezTo>
                    <a:pt x="2952" y="5781"/>
                    <a:pt x="2972" y="5697"/>
                    <a:pt x="2972" y="5611"/>
                  </a:cubicBezTo>
                  <a:lnTo>
                    <a:pt x="2972" y="5464"/>
                  </a:lnTo>
                  <a:cubicBezTo>
                    <a:pt x="3046" y="5503"/>
                    <a:pt x="3126" y="5523"/>
                    <a:pt x="3206" y="5523"/>
                  </a:cubicBezTo>
                  <a:cubicBezTo>
                    <a:pt x="3287" y="5523"/>
                    <a:pt x="3367" y="5503"/>
                    <a:pt x="3441" y="5464"/>
                  </a:cubicBezTo>
                  <a:lnTo>
                    <a:pt x="3441" y="5611"/>
                  </a:lnTo>
                  <a:cubicBezTo>
                    <a:pt x="3441" y="5692"/>
                    <a:pt x="3458" y="5771"/>
                    <a:pt x="3491" y="5842"/>
                  </a:cubicBezTo>
                  <a:cubicBezTo>
                    <a:pt x="3396" y="5867"/>
                    <a:pt x="3299" y="5881"/>
                    <a:pt x="3201" y="5884"/>
                  </a:cubicBezTo>
                  <a:close/>
                  <a:moveTo>
                    <a:pt x="3194" y="7321"/>
                  </a:moveTo>
                  <a:lnTo>
                    <a:pt x="3007" y="7113"/>
                  </a:lnTo>
                  <a:lnTo>
                    <a:pt x="3196" y="6448"/>
                  </a:lnTo>
                  <a:lnTo>
                    <a:pt x="3403" y="7111"/>
                  </a:lnTo>
                  <a:lnTo>
                    <a:pt x="3194" y="7321"/>
                  </a:lnTo>
                  <a:close/>
                  <a:moveTo>
                    <a:pt x="6031" y="4794"/>
                  </a:moveTo>
                  <a:lnTo>
                    <a:pt x="5438" y="4603"/>
                  </a:lnTo>
                  <a:cubicBezTo>
                    <a:pt x="5406" y="4593"/>
                    <a:pt x="5372" y="4596"/>
                    <a:pt x="5342" y="4611"/>
                  </a:cubicBezTo>
                  <a:lnTo>
                    <a:pt x="5141" y="4717"/>
                  </a:lnTo>
                  <a:lnTo>
                    <a:pt x="5141" y="4636"/>
                  </a:lnTo>
                  <a:cubicBezTo>
                    <a:pt x="5141" y="4511"/>
                    <a:pt x="5242" y="4408"/>
                    <a:pt x="5368" y="4408"/>
                  </a:cubicBezTo>
                  <a:lnTo>
                    <a:pt x="5804" y="4408"/>
                  </a:lnTo>
                  <a:cubicBezTo>
                    <a:pt x="5929" y="4408"/>
                    <a:pt x="6031" y="4511"/>
                    <a:pt x="6031" y="4636"/>
                  </a:cubicBezTo>
                  <a:lnTo>
                    <a:pt x="6031" y="4794"/>
                  </a:lnTo>
                  <a:close/>
                  <a:moveTo>
                    <a:pt x="5141" y="4998"/>
                  </a:moveTo>
                  <a:lnTo>
                    <a:pt x="5411" y="4857"/>
                  </a:lnTo>
                  <a:lnTo>
                    <a:pt x="6031" y="5056"/>
                  </a:lnTo>
                  <a:lnTo>
                    <a:pt x="6031" y="5345"/>
                  </a:lnTo>
                  <a:cubicBezTo>
                    <a:pt x="6031" y="5408"/>
                    <a:pt x="5998" y="5467"/>
                    <a:pt x="5944" y="5500"/>
                  </a:cubicBezTo>
                  <a:lnTo>
                    <a:pt x="5680" y="5661"/>
                  </a:lnTo>
                  <a:cubicBezTo>
                    <a:pt x="5622" y="5696"/>
                    <a:pt x="5550" y="5696"/>
                    <a:pt x="5492" y="5661"/>
                  </a:cubicBezTo>
                  <a:lnTo>
                    <a:pt x="5227" y="5500"/>
                  </a:lnTo>
                  <a:cubicBezTo>
                    <a:pt x="5174" y="5467"/>
                    <a:pt x="5141" y="5408"/>
                    <a:pt x="5141" y="5345"/>
                  </a:cubicBezTo>
                  <a:lnTo>
                    <a:pt x="5141" y="4998"/>
                  </a:lnTo>
                  <a:close/>
                  <a:moveTo>
                    <a:pt x="5581" y="6183"/>
                  </a:moveTo>
                  <a:cubicBezTo>
                    <a:pt x="5514" y="6185"/>
                    <a:pt x="5448" y="6179"/>
                    <a:pt x="5382" y="6167"/>
                  </a:cubicBezTo>
                  <a:cubicBezTo>
                    <a:pt x="5406" y="6110"/>
                    <a:pt x="5419" y="6048"/>
                    <a:pt x="5419" y="5985"/>
                  </a:cubicBezTo>
                  <a:lnTo>
                    <a:pt x="5419" y="5903"/>
                  </a:lnTo>
                  <a:cubicBezTo>
                    <a:pt x="5472" y="5926"/>
                    <a:pt x="5529" y="5937"/>
                    <a:pt x="5586" y="5937"/>
                  </a:cubicBezTo>
                  <a:cubicBezTo>
                    <a:pt x="5643" y="5937"/>
                    <a:pt x="5699" y="5926"/>
                    <a:pt x="5753" y="5903"/>
                  </a:cubicBezTo>
                  <a:lnTo>
                    <a:pt x="5753" y="5985"/>
                  </a:lnTo>
                  <a:cubicBezTo>
                    <a:pt x="5753" y="6045"/>
                    <a:pt x="5764" y="6103"/>
                    <a:pt x="5785" y="6157"/>
                  </a:cubicBezTo>
                  <a:cubicBezTo>
                    <a:pt x="5718" y="6173"/>
                    <a:pt x="5650" y="6182"/>
                    <a:pt x="5581" y="6183"/>
                  </a:cubicBezTo>
                  <a:close/>
                  <a:moveTo>
                    <a:pt x="5577" y="7340"/>
                  </a:moveTo>
                  <a:lnTo>
                    <a:pt x="5450" y="7199"/>
                  </a:lnTo>
                  <a:lnTo>
                    <a:pt x="5578" y="6747"/>
                  </a:lnTo>
                  <a:lnTo>
                    <a:pt x="5719" y="7197"/>
                  </a:lnTo>
                  <a:lnTo>
                    <a:pt x="5577" y="7340"/>
                  </a:lnTo>
                  <a:close/>
                  <a:moveTo>
                    <a:pt x="8268" y="4661"/>
                  </a:moveTo>
                  <a:cubicBezTo>
                    <a:pt x="8268" y="4803"/>
                    <a:pt x="8156" y="4922"/>
                    <a:pt x="8014" y="4930"/>
                  </a:cubicBezTo>
                  <a:lnTo>
                    <a:pt x="7496" y="4962"/>
                  </a:lnTo>
                  <a:cubicBezTo>
                    <a:pt x="7376" y="4969"/>
                    <a:pt x="7272" y="5051"/>
                    <a:pt x="7237" y="5166"/>
                  </a:cubicBezTo>
                  <a:cubicBezTo>
                    <a:pt x="7174" y="5374"/>
                    <a:pt x="7088" y="5576"/>
                    <a:pt x="6983" y="5766"/>
                  </a:cubicBezTo>
                  <a:cubicBezTo>
                    <a:pt x="6924" y="5871"/>
                    <a:pt x="6938" y="6003"/>
                    <a:pt x="7017" y="6095"/>
                  </a:cubicBezTo>
                  <a:lnTo>
                    <a:pt x="7351" y="6484"/>
                  </a:lnTo>
                  <a:cubicBezTo>
                    <a:pt x="7442" y="6591"/>
                    <a:pt x="7436" y="6751"/>
                    <a:pt x="7337" y="6850"/>
                  </a:cubicBezTo>
                  <a:lnTo>
                    <a:pt x="6900" y="7287"/>
                  </a:lnTo>
                  <a:lnTo>
                    <a:pt x="6900" y="7012"/>
                  </a:lnTo>
                  <a:cubicBezTo>
                    <a:pt x="6900" y="6675"/>
                    <a:pt x="6686" y="6377"/>
                    <a:pt x="6368" y="6270"/>
                  </a:cubicBezTo>
                  <a:lnTo>
                    <a:pt x="6200" y="6214"/>
                  </a:lnTo>
                  <a:cubicBezTo>
                    <a:pt x="6685" y="5731"/>
                    <a:pt x="6979" y="5080"/>
                    <a:pt x="7013" y="4402"/>
                  </a:cubicBezTo>
                  <a:cubicBezTo>
                    <a:pt x="7017" y="4333"/>
                    <a:pt x="6964" y="4275"/>
                    <a:pt x="6895" y="4271"/>
                  </a:cubicBezTo>
                  <a:cubicBezTo>
                    <a:pt x="6826" y="4268"/>
                    <a:pt x="6768" y="4321"/>
                    <a:pt x="6764" y="4390"/>
                  </a:cubicBezTo>
                  <a:cubicBezTo>
                    <a:pt x="6733" y="5012"/>
                    <a:pt x="6460" y="5609"/>
                    <a:pt x="6011" y="6049"/>
                  </a:cubicBezTo>
                  <a:cubicBezTo>
                    <a:pt x="6005" y="6029"/>
                    <a:pt x="6002" y="6007"/>
                    <a:pt x="6002" y="5985"/>
                  </a:cubicBezTo>
                  <a:lnTo>
                    <a:pt x="6002" y="5756"/>
                  </a:lnTo>
                  <a:lnTo>
                    <a:pt x="6074" y="5713"/>
                  </a:lnTo>
                  <a:cubicBezTo>
                    <a:pt x="6202" y="5635"/>
                    <a:pt x="6281" y="5494"/>
                    <a:pt x="6281" y="5345"/>
                  </a:cubicBezTo>
                  <a:lnTo>
                    <a:pt x="6281" y="4967"/>
                  </a:lnTo>
                  <a:lnTo>
                    <a:pt x="6281" y="4966"/>
                  </a:lnTo>
                  <a:lnTo>
                    <a:pt x="6281" y="4636"/>
                  </a:lnTo>
                  <a:cubicBezTo>
                    <a:pt x="6281" y="4373"/>
                    <a:pt x="6067" y="4159"/>
                    <a:pt x="5804" y="4159"/>
                  </a:cubicBezTo>
                  <a:lnTo>
                    <a:pt x="5368" y="4159"/>
                  </a:lnTo>
                  <a:cubicBezTo>
                    <a:pt x="5105" y="4159"/>
                    <a:pt x="4891" y="4373"/>
                    <a:pt x="4891" y="4636"/>
                  </a:cubicBezTo>
                  <a:lnTo>
                    <a:pt x="4891" y="4920"/>
                  </a:lnTo>
                  <a:lnTo>
                    <a:pt x="4891" y="4921"/>
                  </a:lnTo>
                  <a:lnTo>
                    <a:pt x="4891" y="5345"/>
                  </a:lnTo>
                  <a:cubicBezTo>
                    <a:pt x="4891" y="5494"/>
                    <a:pt x="4970" y="5635"/>
                    <a:pt x="5097" y="5713"/>
                  </a:cubicBezTo>
                  <a:lnTo>
                    <a:pt x="5169" y="5756"/>
                  </a:lnTo>
                  <a:lnTo>
                    <a:pt x="5169" y="5985"/>
                  </a:lnTo>
                  <a:cubicBezTo>
                    <a:pt x="5169" y="6048"/>
                    <a:pt x="5143" y="6108"/>
                    <a:pt x="5098" y="6150"/>
                  </a:cubicBezTo>
                  <a:cubicBezTo>
                    <a:pt x="5074" y="6172"/>
                    <a:pt x="5047" y="6188"/>
                    <a:pt x="5017" y="6199"/>
                  </a:cubicBezTo>
                  <a:lnTo>
                    <a:pt x="4804" y="6270"/>
                  </a:lnTo>
                  <a:cubicBezTo>
                    <a:pt x="4744" y="6291"/>
                    <a:pt x="4687" y="6318"/>
                    <a:pt x="4635" y="6351"/>
                  </a:cubicBezTo>
                  <a:cubicBezTo>
                    <a:pt x="4521" y="6183"/>
                    <a:pt x="4354" y="6054"/>
                    <a:pt x="4160" y="5989"/>
                  </a:cubicBezTo>
                  <a:lnTo>
                    <a:pt x="3898" y="5901"/>
                  </a:lnTo>
                  <a:cubicBezTo>
                    <a:pt x="3851" y="5885"/>
                    <a:pt x="3810" y="5859"/>
                    <a:pt x="3775" y="5823"/>
                  </a:cubicBezTo>
                  <a:cubicBezTo>
                    <a:pt x="3720" y="5766"/>
                    <a:pt x="3690" y="5690"/>
                    <a:pt x="3690" y="5611"/>
                  </a:cubicBezTo>
                  <a:lnTo>
                    <a:pt x="3690" y="5313"/>
                  </a:lnTo>
                  <a:lnTo>
                    <a:pt x="3793" y="5251"/>
                  </a:lnTo>
                  <a:cubicBezTo>
                    <a:pt x="3941" y="5160"/>
                    <a:pt x="4033" y="4996"/>
                    <a:pt x="4033" y="4822"/>
                  </a:cubicBezTo>
                  <a:lnTo>
                    <a:pt x="4033" y="4357"/>
                  </a:lnTo>
                  <a:lnTo>
                    <a:pt x="4033" y="4356"/>
                  </a:lnTo>
                  <a:lnTo>
                    <a:pt x="4033" y="3950"/>
                  </a:lnTo>
                  <a:cubicBezTo>
                    <a:pt x="4033" y="3642"/>
                    <a:pt x="3783" y="3391"/>
                    <a:pt x="3475" y="3391"/>
                  </a:cubicBezTo>
                  <a:lnTo>
                    <a:pt x="2938" y="3391"/>
                  </a:lnTo>
                  <a:cubicBezTo>
                    <a:pt x="2630" y="3391"/>
                    <a:pt x="2380" y="3642"/>
                    <a:pt x="2380" y="3950"/>
                  </a:cubicBezTo>
                  <a:lnTo>
                    <a:pt x="2380" y="4301"/>
                  </a:lnTo>
                  <a:lnTo>
                    <a:pt x="2380" y="4301"/>
                  </a:lnTo>
                  <a:lnTo>
                    <a:pt x="2380" y="4822"/>
                  </a:lnTo>
                  <a:cubicBezTo>
                    <a:pt x="2380" y="4996"/>
                    <a:pt x="2472" y="5160"/>
                    <a:pt x="2620" y="5251"/>
                  </a:cubicBezTo>
                  <a:lnTo>
                    <a:pt x="2723" y="5313"/>
                  </a:lnTo>
                  <a:lnTo>
                    <a:pt x="2723" y="5611"/>
                  </a:lnTo>
                  <a:cubicBezTo>
                    <a:pt x="2723" y="5696"/>
                    <a:pt x="2687" y="5778"/>
                    <a:pt x="2625" y="5835"/>
                  </a:cubicBezTo>
                  <a:cubicBezTo>
                    <a:pt x="2593" y="5865"/>
                    <a:pt x="2556" y="5887"/>
                    <a:pt x="2515" y="5901"/>
                  </a:cubicBezTo>
                  <a:lnTo>
                    <a:pt x="2253" y="5989"/>
                  </a:lnTo>
                  <a:cubicBezTo>
                    <a:pt x="1873" y="6117"/>
                    <a:pt x="1617" y="6473"/>
                    <a:pt x="1617" y="6875"/>
                  </a:cubicBezTo>
                  <a:lnTo>
                    <a:pt x="1617" y="7287"/>
                  </a:lnTo>
                  <a:lnTo>
                    <a:pt x="1181" y="6850"/>
                  </a:lnTo>
                  <a:cubicBezTo>
                    <a:pt x="1082" y="6751"/>
                    <a:pt x="1076" y="6591"/>
                    <a:pt x="1167" y="6484"/>
                  </a:cubicBezTo>
                  <a:lnTo>
                    <a:pt x="1501" y="6095"/>
                  </a:lnTo>
                  <a:cubicBezTo>
                    <a:pt x="1579" y="6003"/>
                    <a:pt x="1593" y="5871"/>
                    <a:pt x="1535" y="5766"/>
                  </a:cubicBezTo>
                  <a:cubicBezTo>
                    <a:pt x="1429" y="5576"/>
                    <a:pt x="1344" y="5374"/>
                    <a:pt x="1280" y="5166"/>
                  </a:cubicBezTo>
                  <a:cubicBezTo>
                    <a:pt x="1246" y="5051"/>
                    <a:pt x="1141" y="4969"/>
                    <a:pt x="1021" y="4962"/>
                  </a:cubicBezTo>
                  <a:lnTo>
                    <a:pt x="503" y="4930"/>
                  </a:lnTo>
                  <a:cubicBezTo>
                    <a:pt x="361" y="4922"/>
                    <a:pt x="250" y="4803"/>
                    <a:pt x="250" y="4661"/>
                  </a:cubicBezTo>
                  <a:lnTo>
                    <a:pt x="250" y="3915"/>
                  </a:lnTo>
                  <a:cubicBezTo>
                    <a:pt x="250" y="3775"/>
                    <a:pt x="359" y="3657"/>
                    <a:pt x="499" y="3646"/>
                  </a:cubicBezTo>
                  <a:lnTo>
                    <a:pt x="1010" y="3607"/>
                  </a:lnTo>
                  <a:cubicBezTo>
                    <a:pt x="1130" y="3598"/>
                    <a:pt x="1233" y="3514"/>
                    <a:pt x="1266" y="3399"/>
                  </a:cubicBezTo>
                  <a:cubicBezTo>
                    <a:pt x="1326" y="3190"/>
                    <a:pt x="1409" y="2987"/>
                    <a:pt x="1512" y="2795"/>
                  </a:cubicBezTo>
                  <a:cubicBezTo>
                    <a:pt x="1568" y="2689"/>
                    <a:pt x="1553" y="2557"/>
                    <a:pt x="1473" y="2467"/>
                  </a:cubicBezTo>
                  <a:lnTo>
                    <a:pt x="1128" y="2078"/>
                  </a:lnTo>
                  <a:cubicBezTo>
                    <a:pt x="1034" y="1971"/>
                    <a:pt x="1039" y="1809"/>
                    <a:pt x="1140" y="1708"/>
                  </a:cubicBezTo>
                  <a:lnTo>
                    <a:pt x="1667" y="1181"/>
                  </a:lnTo>
                  <a:cubicBezTo>
                    <a:pt x="1766" y="1082"/>
                    <a:pt x="1927" y="1075"/>
                    <a:pt x="2033" y="1167"/>
                  </a:cubicBezTo>
                  <a:lnTo>
                    <a:pt x="2423" y="1501"/>
                  </a:lnTo>
                  <a:cubicBezTo>
                    <a:pt x="2514" y="1579"/>
                    <a:pt x="2646" y="1593"/>
                    <a:pt x="2751" y="1535"/>
                  </a:cubicBezTo>
                  <a:cubicBezTo>
                    <a:pt x="2956" y="1421"/>
                    <a:pt x="3174" y="1331"/>
                    <a:pt x="3399" y="1266"/>
                  </a:cubicBezTo>
                  <a:cubicBezTo>
                    <a:pt x="3514" y="1233"/>
                    <a:pt x="3598" y="1130"/>
                    <a:pt x="3607" y="1010"/>
                  </a:cubicBezTo>
                  <a:lnTo>
                    <a:pt x="3646" y="499"/>
                  </a:lnTo>
                  <a:cubicBezTo>
                    <a:pt x="3657" y="359"/>
                    <a:pt x="3775" y="250"/>
                    <a:pt x="3915" y="250"/>
                  </a:cubicBezTo>
                  <a:lnTo>
                    <a:pt x="4661" y="250"/>
                  </a:lnTo>
                  <a:cubicBezTo>
                    <a:pt x="4803" y="250"/>
                    <a:pt x="4921" y="361"/>
                    <a:pt x="4930" y="503"/>
                  </a:cubicBezTo>
                  <a:lnTo>
                    <a:pt x="4962" y="1021"/>
                  </a:lnTo>
                  <a:cubicBezTo>
                    <a:pt x="4969" y="1141"/>
                    <a:pt x="5051" y="1245"/>
                    <a:pt x="5166" y="1280"/>
                  </a:cubicBezTo>
                  <a:cubicBezTo>
                    <a:pt x="5374" y="1344"/>
                    <a:pt x="5576" y="1429"/>
                    <a:pt x="5766" y="1535"/>
                  </a:cubicBezTo>
                  <a:cubicBezTo>
                    <a:pt x="5871" y="1593"/>
                    <a:pt x="6003" y="1579"/>
                    <a:pt x="6095" y="1501"/>
                  </a:cubicBezTo>
                  <a:lnTo>
                    <a:pt x="6484" y="1167"/>
                  </a:lnTo>
                  <a:cubicBezTo>
                    <a:pt x="6590" y="1076"/>
                    <a:pt x="6751" y="1082"/>
                    <a:pt x="6850" y="1181"/>
                  </a:cubicBezTo>
                  <a:lnTo>
                    <a:pt x="7378" y="1708"/>
                  </a:lnTo>
                  <a:cubicBezTo>
                    <a:pt x="7478" y="1809"/>
                    <a:pt x="7483" y="1971"/>
                    <a:pt x="7389" y="2078"/>
                  </a:cubicBezTo>
                  <a:lnTo>
                    <a:pt x="7045" y="2467"/>
                  </a:lnTo>
                  <a:cubicBezTo>
                    <a:pt x="6965" y="2557"/>
                    <a:pt x="6949" y="2689"/>
                    <a:pt x="7006" y="2795"/>
                  </a:cubicBezTo>
                  <a:cubicBezTo>
                    <a:pt x="7109" y="2987"/>
                    <a:pt x="7191" y="3190"/>
                    <a:pt x="7251" y="3399"/>
                  </a:cubicBezTo>
                  <a:cubicBezTo>
                    <a:pt x="7284" y="3514"/>
                    <a:pt x="7387" y="3598"/>
                    <a:pt x="7507" y="3607"/>
                  </a:cubicBezTo>
                  <a:lnTo>
                    <a:pt x="8018" y="3646"/>
                  </a:lnTo>
                  <a:cubicBezTo>
                    <a:pt x="8158" y="3657"/>
                    <a:pt x="8268" y="3775"/>
                    <a:pt x="8268" y="3915"/>
                  </a:cubicBezTo>
                  <a:lnTo>
                    <a:pt x="8268" y="4661"/>
                  </a:lnTo>
                  <a:close/>
                  <a:moveTo>
                    <a:pt x="8268" y="4661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50">
              <a:extLst>
                <a:ext uri="{FF2B5EF4-FFF2-40B4-BE49-F238E27FC236}">
                  <a16:creationId xmlns:a16="http://schemas.microsoft.com/office/drawing/2014/main" id="{0ACE1DB4-93ED-4A19-854F-711B2FCD2A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7" y="987"/>
              <a:ext cx="2648" cy="2103"/>
            </a:xfrm>
            <a:custGeom>
              <a:avLst/>
              <a:gdLst>
                <a:gd name="T0" fmla="*/ 2641 w 5517"/>
                <a:gd name="T1" fmla="*/ 71 h 4381"/>
                <a:gd name="T2" fmla="*/ 837 w 5517"/>
                <a:gd name="T3" fmla="*/ 877 h 4381"/>
                <a:gd name="T4" fmla="*/ 30 w 5517"/>
                <a:gd name="T5" fmla="*/ 2682 h 4381"/>
                <a:gd name="T6" fmla="*/ 468 w 5517"/>
                <a:gd name="T7" fmla="*/ 4324 h 4381"/>
                <a:gd name="T8" fmla="*/ 573 w 5517"/>
                <a:gd name="T9" fmla="*/ 4381 h 4381"/>
                <a:gd name="T10" fmla="*/ 641 w 5517"/>
                <a:gd name="T11" fmla="*/ 4361 h 4381"/>
                <a:gd name="T12" fmla="*/ 678 w 5517"/>
                <a:gd name="T13" fmla="*/ 4188 h 4381"/>
                <a:gd name="T14" fmla="*/ 279 w 5517"/>
                <a:gd name="T15" fmla="*/ 2695 h 4381"/>
                <a:gd name="T16" fmla="*/ 1013 w 5517"/>
                <a:gd name="T17" fmla="*/ 1054 h 4381"/>
                <a:gd name="T18" fmla="*/ 2654 w 5517"/>
                <a:gd name="T19" fmla="*/ 320 h 4381"/>
                <a:gd name="T20" fmla="*/ 5260 w 5517"/>
                <a:gd name="T21" fmla="*/ 2412 h 4381"/>
                <a:gd name="T22" fmla="*/ 5403 w 5517"/>
                <a:gd name="T23" fmla="*/ 2515 h 4381"/>
                <a:gd name="T24" fmla="*/ 5506 w 5517"/>
                <a:gd name="T25" fmla="*/ 2372 h 4381"/>
                <a:gd name="T26" fmla="*/ 2641 w 5517"/>
                <a:gd name="T27" fmla="*/ 71 h 4381"/>
                <a:gd name="T28" fmla="*/ 2641 w 5517"/>
                <a:gd name="T29" fmla="*/ 71 h 4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17" h="4381">
                  <a:moveTo>
                    <a:pt x="2641" y="71"/>
                  </a:moveTo>
                  <a:cubicBezTo>
                    <a:pt x="1963" y="105"/>
                    <a:pt x="1322" y="392"/>
                    <a:pt x="837" y="877"/>
                  </a:cubicBezTo>
                  <a:cubicBezTo>
                    <a:pt x="351" y="1363"/>
                    <a:pt x="64" y="2004"/>
                    <a:pt x="30" y="2682"/>
                  </a:cubicBezTo>
                  <a:cubicBezTo>
                    <a:pt x="0" y="3268"/>
                    <a:pt x="152" y="3836"/>
                    <a:pt x="468" y="4324"/>
                  </a:cubicBezTo>
                  <a:cubicBezTo>
                    <a:pt x="492" y="4361"/>
                    <a:pt x="532" y="4381"/>
                    <a:pt x="573" y="4381"/>
                  </a:cubicBezTo>
                  <a:cubicBezTo>
                    <a:pt x="596" y="4381"/>
                    <a:pt x="620" y="4374"/>
                    <a:pt x="641" y="4361"/>
                  </a:cubicBezTo>
                  <a:cubicBezTo>
                    <a:pt x="699" y="4323"/>
                    <a:pt x="715" y="4246"/>
                    <a:pt x="678" y="4188"/>
                  </a:cubicBezTo>
                  <a:cubicBezTo>
                    <a:pt x="390" y="3744"/>
                    <a:pt x="252" y="3228"/>
                    <a:pt x="279" y="2695"/>
                  </a:cubicBezTo>
                  <a:cubicBezTo>
                    <a:pt x="310" y="2079"/>
                    <a:pt x="571" y="1496"/>
                    <a:pt x="1013" y="1054"/>
                  </a:cubicBezTo>
                  <a:cubicBezTo>
                    <a:pt x="1455" y="612"/>
                    <a:pt x="2038" y="351"/>
                    <a:pt x="2654" y="320"/>
                  </a:cubicBezTo>
                  <a:cubicBezTo>
                    <a:pt x="3932" y="255"/>
                    <a:pt x="5051" y="1155"/>
                    <a:pt x="5260" y="2412"/>
                  </a:cubicBezTo>
                  <a:cubicBezTo>
                    <a:pt x="5271" y="2480"/>
                    <a:pt x="5335" y="2526"/>
                    <a:pt x="5403" y="2515"/>
                  </a:cubicBezTo>
                  <a:cubicBezTo>
                    <a:pt x="5471" y="2504"/>
                    <a:pt x="5517" y="2440"/>
                    <a:pt x="5506" y="2372"/>
                  </a:cubicBezTo>
                  <a:cubicBezTo>
                    <a:pt x="5277" y="989"/>
                    <a:pt x="4045" y="0"/>
                    <a:pt x="2641" y="71"/>
                  </a:cubicBezTo>
                  <a:close/>
                  <a:moveTo>
                    <a:pt x="2641" y="71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9" name="object 15">
            <a:extLst>
              <a:ext uri="{FF2B5EF4-FFF2-40B4-BE49-F238E27FC236}">
                <a16:creationId xmlns:a16="http://schemas.microsoft.com/office/drawing/2014/main" id="{167A167C-6C46-4718-A642-C4EE3B210FB4}"/>
              </a:ext>
            </a:extLst>
          </p:cNvPr>
          <p:cNvSpPr txBox="1"/>
          <p:nvPr/>
        </p:nvSpPr>
        <p:spPr>
          <a:xfrm>
            <a:off x="6943178" y="1957631"/>
            <a:ext cx="4739988" cy="2641388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Аудит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соҳалари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Ички </a:t>
            </a:r>
            <a:r>
              <a:rPr lang="uz-Cyrl-UZ" sz="1200" spc="-4" dirty="0">
                <a:solidFill>
                  <a:schemeClr val="tx2"/>
                </a:solidFill>
                <a:cs typeface="Arial" panose="020B0604020202020204" pitchFamily="34" charset="0"/>
              </a:rPr>
              <a:t>аудит</a:t>
            </a:r>
            <a:r>
              <a:rPr lang="en-US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ртиб-таомиллар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шкилотлардаг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араёнлар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екшириш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атил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иб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уйидагилар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ниқлайд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: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Порахўрлик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ёк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порахўрлик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гумо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илиш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иёсат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ёк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шкилот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елгилан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ошқ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лаб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ртиблар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узиш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онтрагент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омонид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шкилотд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елгилан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коррупцияга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ўлланилади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лабларг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иоя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илмаслик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Порахўрликк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ошқарув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изими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комиллаштир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учу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амчилик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ёк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мкониятлар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40" name="object 12">
            <a:extLst>
              <a:ext uri="{FF2B5EF4-FFF2-40B4-BE49-F238E27FC236}">
                <a16:creationId xmlns:a16="http://schemas.microsoft.com/office/drawing/2014/main" id="{44F8027F-E9E7-40B3-B05F-267A098D4290}"/>
              </a:ext>
            </a:extLst>
          </p:cNvPr>
          <p:cNvSpPr/>
          <p:nvPr/>
        </p:nvSpPr>
        <p:spPr>
          <a:xfrm>
            <a:off x="6180020" y="177459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41" name="Group 2101">
            <a:extLst>
              <a:ext uri="{FF2B5EF4-FFF2-40B4-BE49-F238E27FC236}">
                <a16:creationId xmlns:a16="http://schemas.microsoft.com/office/drawing/2014/main" id="{C3F9C75E-9650-4DFA-8B47-BA2C5A10289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67438" y="1859276"/>
            <a:ext cx="501244" cy="519251"/>
            <a:chOff x="6533" y="1657"/>
            <a:chExt cx="167" cy="173"/>
          </a:xfrm>
          <a:solidFill>
            <a:schemeClr val="bg2">
              <a:lumMod val="25000"/>
            </a:schemeClr>
          </a:solidFill>
        </p:grpSpPr>
        <p:sp>
          <p:nvSpPr>
            <p:cNvPr id="42" name="Freeform 2102">
              <a:extLst>
                <a:ext uri="{FF2B5EF4-FFF2-40B4-BE49-F238E27FC236}">
                  <a16:creationId xmlns:a16="http://schemas.microsoft.com/office/drawing/2014/main" id="{86B2FE97-324D-43F0-B46F-C9E6F9EB9D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02" y="1732"/>
              <a:ext cx="98" cy="98"/>
            </a:xfrm>
            <a:custGeom>
              <a:avLst/>
              <a:gdLst>
                <a:gd name="T0" fmla="*/ 4007 w 4524"/>
                <a:gd name="T1" fmla="*/ 1735 h 4523"/>
                <a:gd name="T2" fmla="*/ 4090 w 4524"/>
                <a:gd name="T3" fmla="*/ 1033 h 4523"/>
                <a:gd name="T4" fmla="*/ 3655 w 4524"/>
                <a:gd name="T5" fmla="*/ 455 h 4523"/>
                <a:gd name="T6" fmla="*/ 3123 w 4524"/>
                <a:gd name="T7" fmla="*/ 656 h 4523"/>
                <a:gd name="T8" fmla="*/ 2789 w 4524"/>
                <a:gd name="T9" fmla="*/ 518 h 4523"/>
                <a:gd name="T10" fmla="*/ 2556 w 4524"/>
                <a:gd name="T11" fmla="*/ 0 h 4523"/>
                <a:gd name="T12" fmla="*/ 1840 w 4524"/>
                <a:gd name="T13" fmla="*/ 101 h 4523"/>
                <a:gd name="T14" fmla="*/ 1403 w 4524"/>
                <a:gd name="T15" fmla="*/ 656 h 4523"/>
                <a:gd name="T16" fmla="*/ 871 w 4524"/>
                <a:gd name="T17" fmla="*/ 455 h 4523"/>
                <a:gd name="T18" fmla="*/ 435 w 4524"/>
                <a:gd name="T19" fmla="*/ 1033 h 4523"/>
                <a:gd name="T20" fmla="*/ 519 w 4524"/>
                <a:gd name="T21" fmla="*/ 1735 h 4523"/>
                <a:gd name="T22" fmla="*/ 0 w 4524"/>
                <a:gd name="T23" fmla="*/ 1968 h 4523"/>
                <a:gd name="T24" fmla="*/ 101 w 4524"/>
                <a:gd name="T25" fmla="*/ 2684 h 4523"/>
                <a:gd name="T26" fmla="*/ 657 w 4524"/>
                <a:gd name="T27" fmla="*/ 3121 h 4523"/>
                <a:gd name="T28" fmla="*/ 455 w 4524"/>
                <a:gd name="T29" fmla="*/ 3653 h 4523"/>
                <a:gd name="T30" fmla="*/ 1033 w 4524"/>
                <a:gd name="T31" fmla="*/ 4088 h 4523"/>
                <a:gd name="T32" fmla="*/ 1735 w 4524"/>
                <a:gd name="T33" fmla="*/ 4005 h 4523"/>
                <a:gd name="T34" fmla="*/ 1968 w 4524"/>
                <a:gd name="T35" fmla="*/ 4523 h 4523"/>
                <a:gd name="T36" fmla="*/ 2685 w 4524"/>
                <a:gd name="T37" fmla="*/ 4422 h 4523"/>
                <a:gd name="T38" fmla="*/ 3122 w 4524"/>
                <a:gd name="T39" fmla="*/ 3867 h 4523"/>
                <a:gd name="T40" fmla="*/ 3654 w 4524"/>
                <a:gd name="T41" fmla="*/ 4068 h 4523"/>
                <a:gd name="T42" fmla="*/ 4089 w 4524"/>
                <a:gd name="T43" fmla="*/ 3490 h 4523"/>
                <a:gd name="T44" fmla="*/ 4006 w 4524"/>
                <a:gd name="T45" fmla="*/ 2789 h 4523"/>
                <a:gd name="T46" fmla="*/ 4524 w 4524"/>
                <a:gd name="T47" fmla="*/ 2555 h 4523"/>
                <a:gd name="T48" fmla="*/ 4424 w 4524"/>
                <a:gd name="T49" fmla="*/ 1839 h 4523"/>
                <a:gd name="T50" fmla="*/ 3867 w 4524"/>
                <a:gd name="T51" fmla="*/ 2550 h 4523"/>
                <a:gd name="T52" fmla="*/ 3600 w 4524"/>
                <a:gd name="T53" fmla="*/ 3056 h 4523"/>
                <a:gd name="T54" fmla="*/ 3808 w 4524"/>
                <a:gd name="T55" fmla="*/ 3539 h 4523"/>
                <a:gd name="T56" fmla="*/ 3194 w 4524"/>
                <a:gd name="T57" fmla="*/ 3600 h 4523"/>
                <a:gd name="T58" fmla="*/ 2648 w 4524"/>
                <a:gd name="T59" fmla="*/ 3770 h 4523"/>
                <a:gd name="T60" fmla="*/ 2452 w 4524"/>
                <a:gd name="T61" fmla="*/ 4258 h 4523"/>
                <a:gd name="T62" fmla="*/ 1975 w 4524"/>
                <a:gd name="T63" fmla="*/ 3867 h 4523"/>
                <a:gd name="T64" fmla="*/ 1468 w 4524"/>
                <a:gd name="T65" fmla="*/ 3600 h 4523"/>
                <a:gd name="T66" fmla="*/ 986 w 4524"/>
                <a:gd name="T67" fmla="*/ 3808 h 4523"/>
                <a:gd name="T68" fmla="*/ 925 w 4524"/>
                <a:gd name="T69" fmla="*/ 3194 h 4523"/>
                <a:gd name="T70" fmla="*/ 755 w 4524"/>
                <a:gd name="T71" fmla="*/ 2647 h 4523"/>
                <a:gd name="T72" fmla="*/ 267 w 4524"/>
                <a:gd name="T73" fmla="*/ 2452 h 4523"/>
                <a:gd name="T74" fmla="*/ 658 w 4524"/>
                <a:gd name="T75" fmla="*/ 1974 h 4523"/>
                <a:gd name="T76" fmla="*/ 925 w 4524"/>
                <a:gd name="T77" fmla="*/ 1468 h 4523"/>
                <a:gd name="T78" fmla="*/ 717 w 4524"/>
                <a:gd name="T79" fmla="*/ 985 h 4523"/>
                <a:gd name="T80" fmla="*/ 1331 w 4524"/>
                <a:gd name="T81" fmla="*/ 924 h 4523"/>
                <a:gd name="T82" fmla="*/ 1878 w 4524"/>
                <a:gd name="T83" fmla="*/ 754 h 4523"/>
                <a:gd name="T84" fmla="*/ 2073 w 4524"/>
                <a:gd name="T85" fmla="*/ 266 h 4523"/>
                <a:gd name="T86" fmla="*/ 2550 w 4524"/>
                <a:gd name="T87" fmla="*/ 658 h 4523"/>
                <a:gd name="T88" fmla="*/ 3057 w 4524"/>
                <a:gd name="T89" fmla="*/ 925 h 4523"/>
                <a:gd name="T90" fmla="*/ 3539 w 4524"/>
                <a:gd name="T91" fmla="*/ 717 h 4523"/>
                <a:gd name="T92" fmla="*/ 3600 w 4524"/>
                <a:gd name="T93" fmla="*/ 1331 h 4523"/>
                <a:gd name="T94" fmla="*/ 3771 w 4524"/>
                <a:gd name="T95" fmla="*/ 1877 h 4523"/>
                <a:gd name="T96" fmla="*/ 4259 w 4524"/>
                <a:gd name="T97" fmla="*/ 2072 h 4523"/>
                <a:gd name="T98" fmla="*/ 4259 w 4524"/>
                <a:gd name="T99" fmla="*/ 2452 h 4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524" h="4523">
                  <a:moveTo>
                    <a:pt x="4424" y="1839"/>
                  </a:moveTo>
                  <a:lnTo>
                    <a:pt x="4007" y="1735"/>
                  </a:lnTo>
                  <a:cubicBezTo>
                    <a:pt x="3972" y="1620"/>
                    <a:pt x="3925" y="1508"/>
                    <a:pt x="3868" y="1402"/>
                  </a:cubicBezTo>
                  <a:lnTo>
                    <a:pt x="4090" y="1033"/>
                  </a:lnTo>
                  <a:cubicBezTo>
                    <a:pt x="4121" y="981"/>
                    <a:pt x="4113" y="914"/>
                    <a:pt x="4070" y="871"/>
                  </a:cubicBezTo>
                  <a:lnTo>
                    <a:pt x="3655" y="455"/>
                  </a:lnTo>
                  <a:cubicBezTo>
                    <a:pt x="3611" y="412"/>
                    <a:pt x="3544" y="403"/>
                    <a:pt x="3492" y="435"/>
                  </a:cubicBezTo>
                  <a:lnTo>
                    <a:pt x="3123" y="656"/>
                  </a:lnTo>
                  <a:cubicBezTo>
                    <a:pt x="3075" y="631"/>
                    <a:pt x="3026" y="607"/>
                    <a:pt x="2976" y="585"/>
                  </a:cubicBezTo>
                  <a:cubicBezTo>
                    <a:pt x="2915" y="560"/>
                    <a:pt x="2853" y="537"/>
                    <a:pt x="2789" y="518"/>
                  </a:cubicBezTo>
                  <a:lnTo>
                    <a:pt x="2685" y="101"/>
                  </a:lnTo>
                  <a:cubicBezTo>
                    <a:pt x="2670" y="41"/>
                    <a:pt x="2617" y="0"/>
                    <a:pt x="2556" y="0"/>
                  </a:cubicBezTo>
                  <a:lnTo>
                    <a:pt x="1969" y="0"/>
                  </a:lnTo>
                  <a:cubicBezTo>
                    <a:pt x="1908" y="0"/>
                    <a:pt x="1855" y="41"/>
                    <a:pt x="1840" y="101"/>
                  </a:cubicBezTo>
                  <a:lnTo>
                    <a:pt x="1736" y="518"/>
                  </a:lnTo>
                  <a:cubicBezTo>
                    <a:pt x="1620" y="553"/>
                    <a:pt x="1509" y="599"/>
                    <a:pt x="1403" y="656"/>
                  </a:cubicBezTo>
                  <a:lnTo>
                    <a:pt x="1034" y="435"/>
                  </a:lnTo>
                  <a:cubicBezTo>
                    <a:pt x="982" y="403"/>
                    <a:pt x="914" y="412"/>
                    <a:pt x="871" y="455"/>
                  </a:cubicBezTo>
                  <a:lnTo>
                    <a:pt x="455" y="870"/>
                  </a:lnTo>
                  <a:cubicBezTo>
                    <a:pt x="412" y="913"/>
                    <a:pt x="404" y="980"/>
                    <a:pt x="435" y="1033"/>
                  </a:cubicBezTo>
                  <a:lnTo>
                    <a:pt x="657" y="1402"/>
                  </a:lnTo>
                  <a:cubicBezTo>
                    <a:pt x="600" y="1508"/>
                    <a:pt x="554" y="1619"/>
                    <a:pt x="519" y="1735"/>
                  </a:cubicBezTo>
                  <a:lnTo>
                    <a:pt x="101" y="1839"/>
                  </a:lnTo>
                  <a:cubicBezTo>
                    <a:pt x="42" y="1854"/>
                    <a:pt x="0" y="1907"/>
                    <a:pt x="0" y="1968"/>
                  </a:cubicBezTo>
                  <a:lnTo>
                    <a:pt x="0" y="2555"/>
                  </a:lnTo>
                  <a:cubicBezTo>
                    <a:pt x="0" y="2616"/>
                    <a:pt x="42" y="2670"/>
                    <a:pt x="101" y="2684"/>
                  </a:cubicBezTo>
                  <a:lnTo>
                    <a:pt x="519" y="2789"/>
                  </a:lnTo>
                  <a:cubicBezTo>
                    <a:pt x="554" y="2904"/>
                    <a:pt x="600" y="3015"/>
                    <a:pt x="657" y="3121"/>
                  </a:cubicBezTo>
                  <a:lnTo>
                    <a:pt x="435" y="3490"/>
                  </a:lnTo>
                  <a:cubicBezTo>
                    <a:pt x="404" y="3543"/>
                    <a:pt x="412" y="3610"/>
                    <a:pt x="455" y="3653"/>
                  </a:cubicBezTo>
                  <a:lnTo>
                    <a:pt x="871" y="4068"/>
                  </a:lnTo>
                  <a:cubicBezTo>
                    <a:pt x="914" y="4112"/>
                    <a:pt x="981" y="4120"/>
                    <a:pt x="1033" y="4088"/>
                  </a:cubicBezTo>
                  <a:lnTo>
                    <a:pt x="1402" y="3867"/>
                  </a:lnTo>
                  <a:cubicBezTo>
                    <a:pt x="1508" y="3924"/>
                    <a:pt x="1620" y="3970"/>
                    <a:pt x="1735" y="4005"/>
                  </a:cubicBezTo>
                  <a:lnTo>
                    <a:pt x="1839" y="4422"/>
                  </a:lnTo>
                  <a:cubicBezTo>
                    <a:pt x="1854" y="4482"/>
                    <a:pt x="1907" y="4523"/>
                    <a:pt x="1968" y="4523"/>
                  </a:cubicBezTo>
                  <a:lnTo>
                    <a:pt x="2556" y="4523"/>
                  </a:lnTo>
                  <a:cubicBezTo>
                    <a:pt x="2617" y="4523"/>
                    <a:pt x="2670" y="4482"/>
                    <a:pt x="2685" y="4422"/>
                  </a:cubicBezTo>
                  <a:lnTo>
                    <a:pt x="2789" y="4005"/>
                  </a:lnTo>
                  <a:cubicBezTo>
                    <a:pt x="2904" y="3970"/>
                    <a:pt x="3016" y="3924"/>
                    <a:pt x="3122" y="3867"/>
                  </a:cubicBezTo>
                  <a:lnTo>
                    <a:pt x="3491" y="4088"/>
                  </a:lnTo>
                  <a:cubicBezTo>
                    <a:pt x="3543" y="4120"/>
                    <a:pt x="3610" y="4112"/>
                    <a:pt x="3654" y="4068"/>
                  </a:cubicBezTo>
                  <a:lnTo>
                    <a:pt x="4069" y="3653"/>
                  </a:lnTo>
                  <a:cubicBezTo>
                    <a:pt x="4112" y="3610"/>
                    <a:pt x="4120" y="3543"/>
                    <a:pt x="4089" y="3490"/>
                  </a:cubicBezTo>
                  <a:lnTo>
                    <a:pt x="3867" y="3121"/>
                  </a:lnTo>
                  <a:cubicBezTo>
                    <a:pt x="3924" y="3015"/>
                    <a:pt x="3971" y="2904"/>
                    <a:pt x="4006" y="2789"/>
                  </a:cubicBezTo>
                  <a:lnTo>
                    <a:pt x="4423" y="2684"/>
                  </a:lnTo>
                  <a:cubicBezTo>
                    <a:pt x="4482" y="2670"/>
                    <a:pt x="4524" y="2616"/>
                    <a:pt x="4524" y="2555"/>
                  </a:cubicBezTo>
                  <a:lnTo>
                    <a:pt x="4524" y="1968"/>
                  </a:lnTo>
                  <a:cubicBezTo>
                    <a:pt x="4524" y="1908"/>
                    <a:pt x="4483" y="1855"/>
                    <a:pt x="4424" y="1839"/>
                  </a:cubicBezTo>
                  <a:close/>
                  <a:moveTo>
                    <a:pt x="4259" y="2452"/>
                  </a:moveTo>
                  <a:lnTo>
                    <a:pt x="3867" y="2550"/>
                  </a:lnTo>
                  <a:cubicBezTo>
                    <a:pt x="3820" y="2562"/>
                    <a:pt x="3782" y="2599"/>
                    <a:pt x="3770" y="2646"/>
                  </a:cubicBezTo>
                  <a:cubicBezTo>
                    <a:pt x="3734" y="2790"/>
                    <a:pt x="3676" y="2929"/>
                    <a:pt x="3600" y="3056"/>
                  </a:cubicBezTo>
                  <a:cubicBezTo>
                    <a:pt x="3575" y="3098"/>
                    <a:pt x="3575" y="3151"/>
                    <a:pt x="3600" y="3193"/>
                  </a:cubicBezTo>
                  <a:lnTo>
                    <a:pt x="3808" y="3539"/>
                  </a:lnTo>
                  <a:lnTo>
                    <a:pt x="3540" y="3808"/>
                  </a:lnTo>
                  <a:lnTo>
                    <a:pt x="3194" y="3600"/>
                  </a:lnTo>
                  <a:cubicBezTo>
                    <a:pt x="3152" y="3575"/>
                    <a:pt x="3100" y="3575"/>
                    <a:pt x="3058" y="3600"/>
                  </a:cubicBezTo>
                  <a:cubicBezTo>
                    <a:pt x="2930" y="3676"/>
                    <a:pt x="2792" y="3733"/>
                    <a:pt x="2648" y="3770"/>
                  </a:cubicBezTo>
                  <a:cubicBezTo>
                    <a:pt x="2600" y="3782"/>
                    <a:pt x="2563" y="3819"/>
                    <a:pt x="2551" y="3867"/>
                  </a:cubicBezTo>
                  <a:lnTo>
                    <a:pt x="2452" y="4258"/>
                  </a:lnTo>
                  <a:lnTo>
                    <a:pt x="2073" y="4258"/>
                  </a:lnTo>
                  <a:lnTo>
                    <a:pt x="1975" y="3867"/>
                  </a:lnTo>
                  <a:cubicBezTo>
                    <a:pt x="1963" y="3819"/>
                    <a:pt x="1926" y="3782"/>
                    <a:pt x="1879" y="3770"/>
                  </a:cubicBezTo>
                  <a:cubicBezTo>
                    <a:pt x="1734" y="3733"/>
                    <a:pt x="1596" y="3676"/>
                    <a:pt x="1468" y="3600"/>
                  </a:cubicBezTo>
                  <a:cubicBezTo>
                    <a:pt x="1426" y="3575"/>
                    <a:pt x="1374" y="3575"/>
                    <a:pt x="1332" y="3600"/>
                  </a:cubicBezTo>
                  <a:lnTo>
                    <a:pt x="986" y="3808"/>
                  </a:lnTo>
                  <a:lnTo>
                    <a:pt x="717" y="3540"/>
                  </a:lnTo>
                  <a:lnTo>
                    <a:pt x="925" y="3194"/>
                  </a:lnTo>
                  <a:cubicBezTo>
                    <a:pt x="950" y="3152"/>
                    <a:pt x="950" y="3099"/>
                    <a:pt x="925" y="3057"/>
                  </a:cubicBezTo>
                  <a:cubicBezTo>
                    <a:pt x="849" y="2929"/>
                    <a:pt x="791" y="2791"/>
                    <a:pt x="755" y="2647"/>
                  </a:cubicBezTo>
                  <a:cubicBezTo>
                    <a:pt x="743" y="2600"/>
                    <a:pt x="705" y="2562"/>
                    <a:pt x="658" y="2551"/>
                  </a:cubicBezTo>
                  <a:lnTo>
                    <a:pt x="267" y="2452"/>
                  </a:lnTo>
                  <a:lnTo>
                    <a:pt x="267" y="2072"/>
                  </a:lnTo>
                  <a:lnTo>
                    <a:pt x="658" y="1974"/>
                  </a:lnTo>
                  <a:cubicBezTo>
                    <a:pt x="706" y="1963"/>
                    <a:pt x="743" y="1926"/>
                    <a:pt x="755" y="1878"/>
                  </a:cubicBezTo>
                  <a:cubicBezTo>
                    <a:pt x="792" y="1734"/>
                    <a:pt x="849" y="1596"/>
                    <a:pt x="925" y="1468"/>
                  </a:cubicBezTo>
                  <a:cubicBezTo>
                    <a:pt x="950" y="1426"/>
                    <a:pt x="950" y="1373"/>
                    <a:pt x="925" y="1331"/>
                  </a:cubicBezTo>
                  <a:lnTo>
                    <a:pt x="717" y="985"/>
                  </a:lnTo>
                  <a:lnTo>
                    <a:pt x="985" y="716"/>
                  </a:lnTo>
                  <a:lnTo>
                    <a:pt x="1331" y="924"/>
                  </a:lnTo>
                  <a:cubicBezTo>
                    <a:pt x="1373" y="949"/>
                    <a:pt x="1426" y="949"/>
                    <a:pt x="1468" y="924"/>
                  </a:cubicBezTo>
                  <a:cubicBezTo>
                    <a:pt x="1595" y="848"/>
                    <a:pt x="1734" y="791"/>
                    <a:pt x="1878" y="754"/>
                  </a:cubicBezTo>
                  <a:cubicBezTo>
                    <a:pt x="1925" y="742"/>
                    <a:pt x="1962" y="705"/>
                    <a:pt x="1974" y="657"/>
                  </a:cubicBezTo>
                  <a:lnTo>
                    <a:pt x="2073" y="266"/>
                  </a:lnTo>
                  <a:lnTo>
                    <a:pt x="2452" y="266"/>
                  </a:lnTo>
                  <a:lnTo>
                    <a:pt x="2550" y="658"/>
                  </a:lnTo>
                  <a:cubicBezTo>
                    <a:pt x="2562" y="705"/>
                    <a:pt x="2599" y="742"/>
                    <a:pt x="2647" y="755"/>
                  </a:cubicBezTo>
                  <a:cubicBezTo>
                    <a:pt x="2791" y="791"/>
                    <a:pt x="2929" y="848"/>
                    <a:pt x="3057" y="925"/>
                  </a:cubicBezTo>
                  <a:cubicBezTo>
                    <a:pt x="3099" y="950"/>
                    <a:pt x="3151" y="950"/>
                    <a:pt x="3193" y="925"/>
                  </a:cubicBezTo>
                  <a:lnTo>
                    <a:pt x="3539" y="717"/>
                  </a:lnTo>
                  <a:lnTo>
                    <a:pt x="3808" y="985"/>
                  </a:lnTo>
                  <a:lnTo>
                    <a:pt x="3600" y="1331"/>
                  </a:lnTo>
                  <a:cubicBezTo>
                    <a:pt x="3575" y="1373"/>
                    <a:pt x="3575" y="1425"/>
                    <a:pt x="3600" y="1467"/>
                  </a:cubicBezTo>
                  <a:cubicBezTo>
                    <a:pt x="3677" y="1595"/>
                    <a:pt x="3734" y="1733"/>
                    <a:pt x="3771" y="1877"/>
                  </a:cubicBezTo>
                  <a:cubicBezTo>
                    <a:pt x="3783" y="1925"/>
                    <a:pt x="3820" y="1962"/>
                    <a:pt x="3867" y="1974"/>
                  </a:cubicBezTo>
                  <a:lnTo>
                    <a:pt x="4259" y="2072"/>
                  </a:lnTo>
                  <a:lnTo>
                    <a:pt x="4259" y="2452"/>
                  </a:lnTo>
                  <a:close/>
                  <a:moveTo>
                    <a:pt x="4259" y="2452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103">
              <a:extLst>
                <a:ext uri="{FF2B5EF4-FFF2-40B4-BE49-F238E27FC236}">
                  <a16:creationId xmlns:a16="http://schemas.microsoft.com/office/drawing/2014/main" id="{E252E846-1F6F-464A-99E6-4FDC8B7FED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8" y="1758"/>
              <a:ext cx="47" cy="46"/>
            </a:xfrm>
            <a:custGeom>
              <a:avLst/>
              <a:gdLst>
                <a:gd name="T0" fmla="*/ 1065 w 2129"/>
                <a:gd name="T1" fmla="*/ 0 h 2129"/>
                <a:gd name="T2" fmla="*/ 0 w 2129"/>
                <a:gd name="T3" fmla="*/ 1064 h 2129"/>
                <a:gd name="T4" fmla="*/ 1065 w 2129"/>
                <a:gd name="T5" fmla="*/ 2129 h 2129"/>
                <a:gd name="T6" fmla="*/ 2129 w 2129"/>
                <a:gd name="T7" fmla="*/ 1064 h 2129"/>
                <a:gd name="T8" fmla="*/ 1065 w 2129"/>
                <a:gd name="T9" fmla="*/ 0 h 2129"/>
                <a:gd name="T10" fmla="*/ 1065 w 2129"/>
                <a:gd name="T11" fmla="*/ 1863 h 2129"/>
                <a:gd name="T12" fmla="*/ 266 w 2129"/>
                <a:gd name="T13" fmla="*/ 1064 h 2129"/>
                <a:gd name="T14" fmla="*/ 1065 w 2129"/>
                <a:gd name="T15" fmla="*/ 266 h 2129"/>
                <a:gd name="T16" fmla="*/ 1863 w 2129"/>
                <a:gd name="T17" fmla="*/ 1064 h 2129"/>
                <a:gd name="T18" fmla="*/ 1065 w 2129"/>
                <a:gd name="T19" fmla="*/ 1863 h 2129"/>
                <a:gd name="T20" fmla="*/ 1065 w 2129"/>
                <a:gd name="T21" fmla="*/ 1863 h 2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29" h="2129">
                  <a:moveTo>
                    <a:pt x="1065" y="0"/>
                  </a:moveTo>
                  <a:cubicBezTo>
                    <a:pt x="477" y="0"/>
                    <a:pt x="0" y="476"/>
                    <a:pt x="0" y="1064"/>
                  </a:cubicBezTo>
                  <a:cubicBezTo>
                    <a:pt x="0" y="1652"/>
                    <a:pt x="477" y="2129"/>
                    <a:pt x="1065" y="2129"/>
                  </a:cubicBezTo>
                  <a:cubicBezTo>
                    <a:pt x="1653" y="2129"/>
                    <a:pt x="2129" y="1652"/>
                    <a:pt x="2129" y="1064"/>
                  </a:cubicBezTo>
                  <a:cubicBezTo>
                    <a:pt x="2129" y="476"/>
                    <a:pt x="1652" y="0"/>
                    <a:pt x="1065" y="0"/>
                  </a:cubicBezTo>
                  <a:close/>
                  <a:moveTo>
                    <a:pt x="1065" y="1863"/>
                  </a:moveTo>
                  <a:cubicBezTo>
                    <a:pt x="624" y="1863"/>
                    <a:pt x="266" y="1505"/>
                    <a:pt x="266" y="1064"/>
                  </a:cubicBezTo>
                  <a:cubicBezTo>
                    <a:pt x="266" y="623"/>
                    <a:pt x="624" y="266"/>
                    <a:pt x="1065" y="266"/>
                  </a:cubicBezTo>
                  <a:cubicBezTo>
                    <a:pt x="1506" y="266"/>
                    <a:pt x="1863" y="623"/>
                    <a:pt x="1863" y="1064"/>
                  </a:cubicBezTo>
                  <a:cubicBezTo>
                    <a:pt x="1863" y="1505"/>
                    <a:pt x="1505" y="1862"/>
                    <a:pt x="1065" y="1863"/>
                  </a:cubicBezTo>
                  <a:close/>
                  <a:moveTo>
                    <a:pt x="1065" y="186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104">
              <a:extLst>
                <a:ext uri="{FF2B5EF4-FFF2-40B4-BE49-F238E27FC236}">
                  <a16:creationId xmlns:a16="http://schemas.microsoft.com/office/drawing/2014/main" id="{0B5FD065-7B14-4F50-A56C-87204BA1A4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6" y="1692"/>
              <a:ext cx="6" cy="46"/>
            </a:xfrm>
            <a:custGeom>
              <a:avLst/>
              <a:gdLst>
                <a:gd name="T0" fmla="*/ 0 w 266"/>
                <a:gd name="T1" fmla="*/ 0 h 2129"/>
                <a:gd name="T2" fmla="*/ 266 w 266"/>
                <a:gd name="T3" fmla="*/ 0 h 2129"/>
                <a:gd name="T4" fmla="*/ 266 w 266"/>
                <a:gd name="T5" fmla="*/ 2129 h 2129"/>
                <a:gd name="T6" fmla="*/ 0 w 266"/>
                <a:gd name="T7" fmla="*/ 2129 h 2129"/>
                <a:gd name="T8" fmla="*/ 0 w 266"/>
                <a:gd name="T9" fmla="*/ 0 h 2129"/>
                <a:gd name="T10" fmla="*/ 0 w 266"/>
                <a:gd name="T11" fmla="*/ 0 h 2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129">
                  <a:moveTo>
                    <a:pt x="0" y="0"/>
                  </a:moveTo>
                  <a:lnTo>
                    <a:pt x="266" y="0"/>
                  </a:lnTo>
                  <a:lnTo>
                    <a:pt x="266" y="2129"/>
                  </a:lnTo>
                  <a:lnTo>
                    <a:pt x="0" y="2129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105">
              <a:extLst>
                <a:ext uri="{FF2B5EF4-FFF2-40B4-BE49-F238E27FC236}">
                  <a16:creationId xmlns:a16="http://schemas.microsoft.com/office/drawing/2014/main" id="{D47405C2-E635-4C74-AE5A-71B593CF16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3" y="1657"/>
              <a:ext cx="150" cy="162"/>
            </a:xfrm>
            <a:custGeom>
              <a:avLst/>
              <a:gdLst>
                <a:gd name="T0" fmla="*/ 532 w 6919"/>
                <a:gd name="T1" fmla="*/ 7319 h 7452"/>
                <a:gd name="T2" fmla="*/ 3460 w 6919"/>
                <a:gd name="T3" fmla="*/ 7452 h 7452"/>
                <a:gd name="T4" fmla="*/ 798 w 6919"/>
                <a:gd name="T5" fmla="*/ 7186 h 7452"/>
                <a:gd name="T6" fmla="*/ 2395 w 6919"/>
                <a:gd name="T7" fmla="*/ 6787 h 7452"/>
                <a:gd name="T8" fmla="*/ 2987 w 6919"/>
                <a:gd name="T9" fmla="*/ 6507 h 7452"/>
                <a:gd name="T10" fmla="*/ 2987 w 6919"/>
                <a:gd name="T11" fmla="*/ 6269 h 7452"/>
                <a:gd name="T12" fmla="*/ 2395 w 6919"/>
                <a:gd name="T13" fmla="*/ 5988 h 7452"/>
                <a:gd name="T14" fmla="*/ 798 w 6919"/>
                <a:gd name="T15" fmla="*/ 1464 h 7452"/>
                <a:gd name="T16" fmla="*/ 6387 w 6919"/>
                <a:gd name="T17" fmla="*/ 932 h 7452"/>
                <a:gd name="T18" fmla="*/ 6254 w 6919"/>
                <a:gd name="T19" fmla="*/ 532 h 7452"/>
                <a:gd name="T20" fmla="*/ 5855 w 6919"/>
                <a:gd name="T21" fmla="*/ 798 h 7452"/>
                <a:gd name="T22" fmla="*/ 6121 w 6919"/>
                <a:gd name="T23" fmla="*/ 932 h 7452"/>
                <a:gd name="T24" fmla="*/ 5589 w 6919"/>
                <a:gd name="T25" fmla="*/ 932 h 7452"/>
                <a:gd name="T26" fmla="*/ 5855 w 6919"/>
                <a:gd name="T27" fmla="*/ 266 h 7452"/>
                <a:gd name="T28" fmla="*/ 6653 w 6919"/>
                <a:gd name="T29" fmla="*/ 532 h 7452"/>
                <a:gd name="T30" fmla="*/ 6919 w 6919"/>
                <a:gd name="T31" fmla="*/ 3593 h 7452"/>
                <a:gd name="T32" fmla="*/ 6387 w 6919"/>
                <a:gd name="T33" fmla="*/ 0 h 7452"/>
                <a:gd name="T34" fmla="*/ 0 w 6919"/>
                <a:gd name="T35" fmla="*/ 532 h 7452"/>
                <a:gd name="T36" fmla="*/ 532 w 6919"/>
                <a:gd name="T37" fmla="*/ 1464 h 7452"/>
                <a:gd name="T38" fmla="*/ 399 w 6919"/>
                <a:gd name="T39" fmla="*/ 5988 h 7452"/>
                <a:gd name="T40" fmla="*/ 399 w 6919"/>
                <a:gd name="T41" fmla="*/ 6787 h 7452"/>
                <a:gd name="T42" fmla="*/ 266 w 6919"/>
                <a:gd name="T43" fmla="*/ 932 h 7452"/>
                <a:gd name="T44" fmla="*/ 532 w 6919"/>
                <a:gd name="T45" fmla="*/ 266 h 7452"/>
                <a:gd name="T46" fmla="*/ 5323 w 6919"/>
                <a:gd name="T47" fmla="*/ 532 h 7452"/>
                <a:gd name="T48" fmla="*/ 5397 w 6919"/>
                <a:gd name="T49" fmla="*/ 1198 h 7452"/>
                <a:gd name="T50" fmla="*/ 266 w 6919"/>
                <a:gd name="T51" fmla="*/ 932 h 7452"/>
                <a:gd name="T52" fmla="*/ 2364 w 6919"/>
                <a:gd name="T53" fmla="*/ 6521 h 7452"/>
                <a:gd name="T54" fmla="*/ 2262 w 6919"/>
                <a:gd name="T55" fmla="*/ 6254 h 7452"/>
                <a:gd name="T56" fmla="*/ 2630 w 6919"/>
                <a:gd name="T57" fmla="*/ 6388 h 7452"/>
                <a:gd name="T58" fmla="*/ 399 w 6919"/>
                <a:gd name="T59" fmla="*/ 6254 h 7452"/>
                <a:gd name="T60" fmla="*/ 1996 w 6919"/>
                <a:gd name="T61" fmla="*/ 6521 h 7452"/>
                <a:gd name="T62" fmla="*/ 266 w 6919"/>
                <a:gd name="T63" fmla="*/ 6388 h 7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919" h="7452">
                  <a:moveTo>
                    <a:pt x="532" y="6787"/>
                  </a:moveTo>
                  <a:lnTo>
                    <a:pt x="532" y="7319"/>
                  </a:lnTo>
                  <a:cubicBezTo>
                    <a:pt x="532" y="7393"/>
                    <a:pt x="592" y="7452"/>
                    <a:pt x="665" y="7452"/>
                  </a:cubicBezTo>
                  <a:lnTo>
                    <a:pt x="3460" y="7452"/>
                  </a:lnTo>
                  <a:lnTo>
                    <a:pt x="3460" y="7186"/>
                  </a:lnTo>
                  <a:lnTo>
                    <a:pt x="798" y="7186"/>
                  </a:lnTo>
                  <a:lnTo>
                    <a:pt x="798" y="6787"/>
                  </a:lnTo>
                  <a:lnTo>
                    <a:pt x="2395" y="6787"/>
                  </a:lnTo>
                  <a:cubicBezTo>
                    <a:pt x="2416" y="6787"/>
                    <a:pt x="2436" y="6782"/>
                    <a:pt x="2454" y="6773"/>
                  </a:cubicBezTo>
                  <a:lnTo>
                    <a:pt x="2987" y="6507"/>
                  </a:lnTo>
                  <a:cubicBezTo>
                    <a:pt x="3032" y="6485"/>
                    <a:pt x="3060" y="6439"/>
                    <a:pt x="3060" y="6388"/>
                  </a:cubicBezTo>
                  <a:cubicBezTo>
                    <a:pt x="3060" y="6338"/>
                    <a:pt x="3032" y="6292"/>
                    <a:pt x="2987" y="6269"/>
                  </a:cubicBezTo>
                  <a:lnTo>
                    <a:pt x="2454" y="6003"/>
                  </a:lnTo>
                  <a:cubicBezTo>
                    <a:pt x="2436" y="5993"/>
                    <a:pt x="2416" y="5988"/>
                    <a:pt x="2395" y="5988"/>
                  </a:cubicBezTo>
                  <a:lnTo>
                    <a:pt x="798" y="5988"/>
                  </a:lnTo>
                  <a:lnTo>
                    <a:pt x="798" y="1464"/>
                  </a:lnTo>
                  <a:lnTo>
                    <a:pt x="5855" y="1464"/>
                  </a:lnTo>
                  <a:cubicBezTo>
                    <a:pt x="6149" y="1464"/>
                    <a:pt x="6387" y="1225"/>
                    <a:pt x="6387" y="932"/>
                  </a:cubicBezTo>
                  <a:lnTo>
                    <a:pt x="6387" y="665"/>
                  </a:lnTo>
                  <a:cubicBezTo>
                    <a:pt x="6387" y="592"/>
                    <a:pt x="6328" y="532"/>
                    <a:pt x="6254" y="532"/>
                  </a:cubicBezTo>
                  <a:lnTo>
                    <a:pt x="5855" y="532"/>
                  </a:lnTo>
                  <a:lnTo>
                    <a:pt x="5855" y="798"/>
                  </a:lnTo>
                  <a:lnTo>
                    <a:pt x="6121" y="798"/>
                  </a:lnTo>
                  <a:lnTo>
                    <a:pt x="6121" y="932"/>
                  </a:lnTo>
                  <a:cubicBezTo>
                    <a:pt x="6121" y="1078"/>
                    <a:pt x="6002" y="1198"/>
                    <a:pt x="5855" y="1198"/>
                  </a:cubicBezTo>
                  <a:cubicBezTo>
                    <a:pt x="5708" y="1198"/>
                    <a:pt x="5589" y="1078"/>
                    <a:pt x="5589" y="932"/>
                  </a:cubicBezTo>
                  <a:lnTo>
                    <a:pt x="5589" y="532"/>
                  </a:lnTo>
                  <a:cubicBezTo>
                    <a:pt x="5589" y="385"/>
                    <a:pt x="5708" y="266"/>
                    <a:pt x="5855" y="266"/>
                  </a:cubicBezTo>
                  <a:lnTo>
                    <a:pt x="6387" y="266"/>
                  </a:lnTo>
                  <a:cubicBezTo>
                    <a:pt x="6534" y="266"/>
                    <a:pt x="6653" y="385"/>
                    <a:pt x="6653" y="532"/>
                  </a:cubicBezTo>
                  <a:lnTo>
                    <a:pt x="6653" y="3593"/>
                  </a:lnTo>
                  <a:lnTo>
                    <a:pt x="6919" y="3593"/>
                  </a:lnTo>
                  <a:lnTo>
                    <a:pt x="6919" y="532"/>
                  </a:lnTo>
                  <a:cubicBezTo>
                    <a:pt x="6919" y="238"/>
                    <a:pt x="6681" y="0"/>
                    <a:pt x="6387" y="0"/>
                  </a:cubicBezTo>
                  <a:lnTo>
                    <a:pt x="532" y="0"/>
                  </a:lnTo>
                  <a:cubicBezTo>
                    <a:pt x="238" y="0"/>
                    <a:pt x="0" y="238"/>
                    <a:pt x="0" y="532"/>
                  </a:cubicBezTo>
                  <a:lnTo>
                    <a:pt x="0" y="932"/>
                  </a:lnTo>
                  <a:cubicBezTo>
                    <a:pt x="0" y="1225"/>
                    <a:pt x="238" y="1464"/>
                    <a:pt x="532" y="1464"/>
                  </a:cubicBezTo>
                  <a:lnTo>
                    <a:pt x="532" y="5988"/>
                  </a:lnTo>
                  <a:lnTo>
                    <a:pt x="399" y="5988"/>
                  </a:lnTo>
                  <a:cubicBezTo>
                    <a:pt x="178" y="5988"/>
                    <a:pt x="0" y="6167"/>
                    <a:pt x="0" y="6388"/>
                  </a:cubicBezTo>
                  <a:cubicBezTo>
                    <a:pt x="0" y="6608"/>
                    <a:pt x="178" y="6787"/>
                    <a:pt x="399" y="6787"/>
                  </a:cubicBezTo>
                  <a:lnTo>
                    <a:pt x="532" y="6787"/>
                  </a:lnTo>
                  <a:close/>
                  <a:moveTo>
                    <a:pt x="266" y="932"/>
                  </a:moveTo>
                  <a:lnTo>
                    <a:pt x="266" y="532"/>
                  </a:lnTo>
                  <a:cubicBezTo>
                    <a:pt x="266" y="385"/>
                    <a:pt x="385" y="266"/>
                    <a:pt x="532" y="266"/>
                  </a:cubicBezTo>
                  <a:lnTo>
                    <a:pt x="5397" y="266"/>
                  </a:lnTo>
                  <a:cubicBezTo>
                    <a:pt x="5349" y="347"/>
                    <a:pt x="5323" y="439"/>
                    <a:pt x="5323" y="532"/>
                  </a:cubicBezTo>
                  <a:lnTo>
                    <a:pt x="5323" y="932"/>
                  </a:lnTo>
                  <a:cubicBezTo>
                    <a:pt x="5323" y="1025"/>
                    <a:pt x="5349" y="1117"/>
                    <a:pt x="5397" y="1198"/>
                  </a:cubicBezTo>
                  <a:lnTo>
                    <a:pt x="532" y="1198"/>
                  </a:lnTo>
                  <a:cubicBezTo>
                    <a:pt x="385" y="1198"/>
                    <a:pt x="266" y="1078"/>
                    <a:pt x="266" y="932"/>
                  </a:cubicBezTo>
                  <a:close/>
                  <a:moveTo>
                    <a:pt x="2630" y="6388"/>
                  </a:moveTo>
                  <a:lnTo>
                    <a:pt x="2364" y="6521"/>
                  </a:lnTo>
                  <a:lnTo>
                    <a:pt x="2262" y="6521"/>
                  </a:lnTo>
                  <a:lnTo>
                    <a:pt x="2262" y="6254"/>
                  </a:lnTo>
                  <a:lnTo>
                    <a:pt x="2364" y="6254"/>
                  </a:lnTo>
                  <a:lnTo>
                    <a:pt x="2630" y="6388"/>
                  </a:lnTo>
                  <a:close/>
                  <a:moveTo>
                    <a:pt x="266" y="6388"/>
                  </a:moveTo>
                  <a:cubicBezTo>
                    <a:pt x="266" y="6314"/>
                    <a:pt x="325" y="6254"/>
                    <a:pt x="399" y="6254"/>
                  </a:cubicBezTo>
                  <a:lnTo>
                    <a:pt x="1996" y="6254"/>
                  </a:lnTo>
                  <a:lnTo>
                    <a:pt x="1996" y="6521"/>
                  </a:lnTo>
                  <a:lnTo>
                    <a:pt x="399" y="6521"/>
                  </a:lnTo>
                  <a:cubicBezTo>
                    <a:pt x="325" y="6521"/>
                    <a:pt x="266" y="6461"/>
                    <a:pt x="266" y="6388"/>
                  </a:cubicBezTo>
                  <a:close/>
                  <a:moveTo>
                    <a:pt x="266" y="638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106">
              <a:extLst>
                <a:ext uri="{FF2B5EF4-FFF2-40B4-BE49-F238E27FC236}">
                  <a16:creationId xmlns:a16="http://schemas.microsoft.com/office/drawing/2014/main" id="{27F9C0B6-5B15-4B07-B929-8F60158F23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3" y="1700"/>
              <a:ext cx="6" cy="58"/>
            </a:xfrm>
            <a:custGeom>
              <a:avLst/>
              <a:gdLst>
                <a:gd name="T0" fmla="*/ 0 w 266"/>
                <a:gd name="T1" fmla="*/ 0 h 2662"/>
                <a:gd name="T2" fmla="*/ 266 w 266"/>
                <a:gd name="T3" fmla="*/ 0 h 2662"/>
                <a:gd name="T4" fmla="*/ 266 w 266"/>
                <a:gd name="T5" fmla="*/ 2662 h 2662"/>
                <a:gd name="T6" fmla="*/ 0 w 266"/>
                <a:gd name="T7" fmla="*/ 2662 h 2662"/>
                <a:gd name="T8" fmla="*/ 0 w 266"/>
                <a:gd name="T9" fmla="*/ 0 h 2662"/>
                <a:gd name="T10" fmla="*/ 0 w 266"/>
                <a:gd name="T11" fmla="*/ 0 h 2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662">
                  <a:moveTo>
                    <a:pt x="0" y="0"/>
                  </a:moveTo>
                  <a:lnTo>
                    <a:pt x="266" y="0"/>
                  </a:lnTo>
                  <a:lnTo>
                    <a:pt x="266" y="2662"/>
                  </a:lnTo>
                  <a:lnTo>
                    <a:pt x="0" y="2662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107">
              <a:extLst>
                <a:ext uri="{FF2B5EF4-FFF2-40B4-BE49-F238E27FC236}">
                  <a16:creationId xmlns:a16="http://schemas.microsoft.com/office/drawing/2014/main" id="{14C7F391-2F8C-41FE-A826-8DEF9A5262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9" y="1694"/>
              <a:ext cx="87" cy="38"/>
            </a:xfrm>
            <a:custGeom>
              <a:avLst/>
              <a:gdLst>
                <a:gd name="T0" fmla="*/ 4015 w 4015"/>
                <a:gd name="T1" fmla="*/ 410 h 1741"/>
                <a:gd name="T2" fmla="*/ 4015 w 4015"/>
                <a:gd name="T3" fmla="*/ 144 h 1741"/>
                <a:gd name="T4" fmla="*/ 2285 w 4015"/>
                <a:gd name="T5" fmla="*/ 144 h 1741"/>
                <a:gd name="T6" fmla="*/ 2190 w 4015"/>
                <a:gd name="T7" fmla="*/ 183 h 1741"/>
                <a:gd name="T8" fmla="*/ 1947 w 4015"/>
                <a:gd name="T9" fmla="*/ 426 h 1741"/>
                <a:gd name="T10" fmla="*/ 52 w 4015"/>
                <a:gd name="T11" fmla="*/ 573 h 1741"/>
                <a:gd name="T12" fmla="*/ 52 w 4015"/>
                <a:gd name="T13" fmla="*/ 761 h 1741"/>
                <a:gd name="T14" fmla="*/ 993 w 4015"/>
                <a:gd name="T15" fmla="*/ 1702 h 1741"/>
                <a:gd name="T16" fmla="*/ 1087 w 4015"/>
                <a:gd name="T17" fmla="*/ 1741 h 1741"/>
                <a:gd name="T18" fmla="*/ 2418 w 4015"/>
                <a:gd name="T19" fmla="*/ 1741 h 1741"/>
                <a:gd name="T20" fmla="*/ 2551 w 4015"/>
                <a:gd name="T21" fmla="*/ 1608 h 1741"/>
                <a:gd name="T22" fmla="*/ 2148 w 4015"/>
                <a:gd name="T23" fmla="*/ 602 h 1741"/>
                <a:gd name="T24" fmla="*/ 2340 w 4015"/>
                <a:gd name="T25" fmla="*/ 410 h 1741"/>
                <a:gd name="T26" fmla="*/ 4015 w 4015"/>
                <a:gd name="T27" fmla="*/ 410 h 1741"/>
                <a:gd name="T28" fmla="*/ 2277 w 4015"/>
                <a:gd name="T29" fmla="*/ 1475 h 1741"/>
                <a:gd name="T30" fmla="*/ 1142 w 4015"/>
                <a:gd name="T31" fmla="*/ 1475 h 1741"/>
                <a:gd name="T32" fmla="*/ 339 w 4015"/>
                <a:gd name="T33" fmla="*/ 672 h 1741"/>
                <a:gd name="T34" fmla="*/ 1757 w 4015"/>
                <a:gd name="T35" fmla="*/ 617 h 1741"/>
                <a:gd name="T36" fmla="*/ 1392 w 4015"/>
                <a:gd name="T37" fmla="*/ 981 h 1741"/>
                <a:gd name="T38" fmla="*/ 1580 w 4015"/>
                <a:gd name="T39" fmla="*/ 1170 h 1741"/>
                <a:gd name="T40" fmla="*/ 1960 w 4015"/>
                <a:gd name="T41" fmla="*/ 790 h 1741"/>
                <a:gd name="T42" fmla="*/ 2277 w 4015"/>
                <a:gd name="T43" fmla="*/ 1475 h 1741"/>
                <a:gd name="T44" fmla="*/ 2277 w 4015"/>
                <a:gd name="T45" fmla="*/ 1475 h 1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15" h="1741">
                  <a:moveTo>
                    <a:pt x="4015" y="410"/>
                  </a:moveTo>
                  <a:lnTo>
                    <a:pt x="4015" y="144"/>
                  </a:lnTo>
                  <a:lnTo>
                    <a:pt x="2285" y="144"/>
                  </a:lnTo>
                  <a:cubicBezTo>
                    <a:pt x="2249" y="144"/>
                    <a:pt x="2215" y="158"/>
                    <a:pt x="2190" y="183"/>
                  </a:cubicBezTo>
                  <a:lnTo>
                    <a:pt x="1947" y="426"/>
                  </a:lnTo>
                  <a:cubicBezTo>
                    <a:pt x="1366" y="0"/>
                    <a:pt x="561" y="62"/>
                    <a:pt x="52" y="573"/>
                  </a:cubicBezTo>
                  <a:cubicBezTo>
                    <a:pt x="0" y="624"/>
                    <a:pt x="0" y="709"/>
                    <a:pt x="52" y="761"/>
                  </a:cubicBezTo>
                  <a:lnTo>
                    <a:pt x="993" y="1702"/>
                  </a:lnTo>
                  <a:cubicBezTo>
                    <a:pt x="1018" y="1727"/>
                    <a:pt x="1052" y="1741"/>
                    <a:pt x="1087" y="1741"/>
                  </a:cubicBezTo>
                  <a:lnTo>
                    <a:pt x="2418" y="1741"/>
                  </a:lnTo>
                  <a:cubicBezTo>
                    <a:pt x="2491" y="1741"/>
                    <a:pt x="2551" y="1681"/>
                    <a:pt x="2551" y="1608"/>
                  </a:cubicBezTo>
                  <a:cubicBezTo>
                    <a:pt x="2551" y="1233"/>
                    <a:pt x="2406" y="873"/>
                    <a:pt x="2148" y="602"/>
                  </a:cubicBezTo>
                  <a:lnTo>
                    <a:pt x="2340" y="410"/>
                  </a:lnTo>
                  <a:lnTo>
                    <a:pt x="4015" y="410"/>
                  </a:lnTo>
                  <a:close/>
                  <a:moveTo>
                    <a:pt x="2277" y="1475"/>
                  </a:moveTo>
                  <a:lnTo>
                    <a:pt x="1142" y="1475"/>
                  </a:lnTo>
                  <a:lnTo>
                    <a:pt x="339" y="672"/>
                  </a:lnTo>
                  <a:cubicBezTo>
                    <a:pt x="748" y="344"/>
                    <a:pt x="1323" y="322"/>
                    <a:pt x="1757" y="617"/>
                  </a:cubicBezTo>
                  <a:lnTo>
                    <a:pt x="1392" y="981"/>
                  </a:lnTo>
                  <a:lnTo>
                    <a:pt x="1580" y="1170"/>
                  </a:lnTo>
                  <a:lnTo>
                    <a:pt x="1960" y="790"/>
                  </a:lnTo>
                  <a:cubicBezTo>
                    <a:pt x="2137" y="978"/>
                    <a:pt x="2248" y="1218"/>
                    <a:pt x="2277" y="1475"/>
                  </a:cubicBezTo>
                  <a:close/>
                  <a:moveTo>
                    <a:pt x="2277" y="1475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108">
              <a:extLst>
                <a:ext uri="{FF2B5EF4-FFF2-40B4-BE49-F238E27FC236}">
                  <a16:creationId xmlns:a16="http://schemas.microsoft.com/office/drawing/2014/main" id="{29E77E84-BB7F-4636-9D75-ACC2B2E651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51" y="1697"/>
              <a:ext cx="6" cy="6"/>
            </a:xfrm>
            <a:custGeom>
              <a:avLst/>
              <a:gdLst>
                <a:gd name="T0" fmla="*/ 0 w 266"/>
                <a:gd name="T1" fmla="*/ 0 h 266"/>
                <a:gd name="T2" fmla="*/ 266 w 266"/>
                <a:gd name="T3" fmla="*/ 0 h 266"/>
                <a:gd name="T4" fmla="*/ 266 w 266"/>
                <a:gd name="T5" fmla="*/ 266 h 266"/>
                <a:gd name="T6" fmla="*/ 0 w 266"/>
                <a:gd name="T7" fmla="*/ 266 h 266"/>
                <a:gd name="T8" fmla="*/ 0 w 266"/>
                <a:gd name="T9" fmla="*/ 0 h 266"/>
                <a:gd name="T10" fmla="*/ 0 w 266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266" y="0"/>
                  </a:lnTo>
                  <a:lnTo>
                    <a:pt x="266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109">
              <a:extLst>
                <a:ext uri="{FF2B5EF4-FFF2-40B4-BE49-F238E27FC236}">
                  <a16:creationId xmlns:a16="http://schemas.microsoft.com/office/drawing/2014/main" id="{F0EBD4E6-6714-4C11-86F7-C57F0B53EF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65" y="1741"/>
              <a:ext cx="6" cy="5"/>
            </a:xfrm>
            <a:custGeom>
              <a:avLst/>
              <a:gdLst>
                <a:gd name="T0" fmla="*/ 0 w 267"/>
                <a:gd name="T1" fmla="*/ 0 h 266"/>
                <a:gd name="T2" fmla="*/ 267 w 267"/>
                <a:gd name="T3" fmla="*/ 0 h 266"/>
                <a:gd name="T4" fmla="*/ 267 w 267"/>
                <a:gd name="T5" fmla="*/ 266 h 266"/>
                <a:gd name="T6" fmla="*/ 0 w 267"/>
                <a:gd name="T7" fmla="*/ 266 h 266"/>
                <a:gd name="T8" fmla="*/ 0 w 267"/>
                <a:gd name="T9" fmla="*/ 0 h 266"/>
                <a:gd name="T10" fmla="*/ 0 w 267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6">
                  <a:moveTo>
                    <a:pt x="0" y="0"/>
                  </a:moveTo>
                  <a:lnTo>
                    <a:pt x="267" y="0"/>
                  </a:lnTo>
                  <a:lnTo>
                    <a:pt x="267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110">
              <a:extLst>
                <a:ext uri="{FF2B5EF4-FFF2-40B4-BE49-F238E27FC236}">
                  <a16:creationId xmlns:a16="http://schemas.microsoft.com/office/drawing/2014/main" id="{154A163D-ED98-4E53-BBF4-0662B609F3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77" y="1741"/>
              <a:ext cx="28" cy="5"/>
            </a:xfrm>
            <a:custGeom>
              <a:avLst/>
              <a:gdLst>
                <a:gd name="T0" fmla="*/ 0 w 1330"/>
                <a:gd name="T1" fmla="*/ 0 h 266"/>
                <a:gd name="T2" fmla="*/ 1330 w 1330"/>
                <a:gd name="T3" fmla="*/ 0 h 266"/>
                <a:gd name="T4" fmla="*/ 1330 w 1330"/>
                <a:gd name="T5" fmla="*/ 266 h 266"/>
                <a:gd name="T6" fmla="*/ 0 w 1330"/>
                <a:gd name="T7" fmla="*/ 266 h 266"/>
                <a:gd name="T8" fmla="*/ 0 w 1330"/>
                <a:gd name="T9" fmla="*/ 0 h 266"/>
                <a:gd name="T10" fmla="*/ 0 w 1330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0" h="266">
                  <a:moveTo>
                    <a:pt x="0" y="0"/>
                  </a:moveTo>
                  <a:lnTo>
                    <a:pt x="1330" y="0"/>
                  </a:lnTo>
                  <a:lnTo>
                    <a:pt x="1330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111">
              <a:extLst>
                <a:ext uri="{FF2B5EF4-FFF2-40B4-BE49-F238E27FC236}">
                  <a16:creationId xmlns:a16="http://schemas.microsoft.com/office/drawing/2014/main" id="{C3B440BB-A5D3-4824-BCF9-9BE3A6FE19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9" y="1752"/>
              <a:ext cx="46" cy="6"/>
            </a:xfrm>
            <a:custGeom>
              <a:avLst/>
              <a:gdLst>
                <a:gd name="T0" fmla="*/ 0 w 2129"/>
                <a:gd name="T1" fmla="*/ 0 h 267"/>
                <a:gd name="T2" fmla="*/ 2129 w 2129"/>
                <a:gd name="T3" fmla="*/ 0 h 267"/>
                <a:gd name="T4" fmla="*/ 2129 w 2129"/>
                <a:gd name="T5" fmla="*/ 267 h 267"/>
                <a:gd name="T6" fmla="*/ 0 w 2129"/>
                <a:gd name="T7" fmla="*/ 267 h 267"/>
                <a:gd name="T8" fmla="*/ 0 w 2129"/>
                <a:gd name="T9" fmla="*/ 0 h 267"/>
                <a:gd name="T10" fmla="*/ 0 w 2129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29" h="267">
                  <a:moveTo>
                    <a:pt x="0" y="0"/>
                  </a:moveTo>
                  <a:lnTo>
                    <a:pt x="2129" y="0"/>
                  </a:lnTo>
                  <a:lnTo>
                    <a:pt x="2129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112">
              <a:extLst>
                <a:ext uri="{FF2B5EF4-FFF2-40B4-BE49-F238E27FC236}">
                  <a16:creationId xmlns:a16="http://schemas.microsoft.com/office/drawing/2014/main" id="{18BE5D97-C754-47FD-9B65-4F76550818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3" y="1709"/>
              <a:ext cx="5" cy="6"/>
            </a:xfrm>
            <a:custGeom>
              <a:avLst/>
              <a:gdLst>
                <a:gd name="T0" fmla="*/ 0 w 266"/>
                <a:gd name="T1" fmla="*/ 0 h 266"/>
                <a:gd name="T2" fmla="*/ 266 w 266"/>
                <a:gd name="T3" fmla="*/ 0 h 266"/>
                <a:gd name="T4" fmla="*/ 266 w 266"/>
                <a:gd name="T5" fmla="*/ 266 h 266"/>
                <a:gd name="T6" fmla="*/ 0 w 266"/>
                <a:gd name="T7" fmla="*/ 266 h 266"/>
                <a:gd name="T8" fmla="*/ 0 w 266"/>
                <a:gd name="T9" fmla="*/ 0 h 266"/>
                <a:gd name="T10" fmla="*/ 0 w 266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266" y="0"/>
                  </a:lnTo>
                  <a:lnTo>
                    <a:pt x="266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113">
              <a:extLst>
                <a:ext uri="{FF2B5EF4-FFF2-40B4-BE49-F238E27FC236}">
                  <a16:creationId xmlns:a16="http://schemas.microsoft.com/office/drawing/2014/main" id="{46926B67-B999-41D2-8D02-CDF2DFE2F3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4" y="1709"/>
              <a:ext cx="23" cy="6"/>
            </a:xfrm>
            <a:custGeom>
              <a:avLst/>
              <a:gdLst>
                <a:gd name="T0" fmla="*/ 0 w 1065"/>
                <a:gd name="T1" fmla="*/ 0 h 266"/>
                <a:gd name="T2" fmla="*/ 1065 w 1065"/>
                <a:gd name="T3" fmla="*/ 0 h 266"/>
                <a:gd name="T4" fmla="*/ 1065 w 1065"/>
                <a:gd name="T5" fmla="*/ 266 h 266"/>
                <a:gd name="T6" fmla="*/ 0 w 1065"/>
                <a:gd name="T7" fmla="*/ 266 h 266"/>
                <a:gd name="T8" fmla="*/ 0 w 1065"/>
                <a:gd name="T9" fmla="*/ 0 h 266"/>
                <a:gd name="T10" fmla="*/ 0 w 1065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5" h="266">
                  <a:moveTo>
                    <a:pt x="0" y="0"/>
                  </a:moveTo>
                  <a:lnTo>
                    <a:pt x="1065" y="0"/>
                  </a:lnTo>
                  <a:lnTo>
                    <a:pt x="1065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114">
              <a:extLst>
                <a:ext uri="{FF2B5EF4-FFF2-40B4-BE49-F238E27FC236}">
                  <a16:creationId xmlns:a16="http://schemas.microsoft.com/office/drawing/2014/main" id="{B97E2908-F367-4CA2-B77B-318329073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3" y="1720"/>
              <a:ext cx="34" cy="6"/>
            </a:xfrm>
            <a:custGeom>
              <a:avLst/>
              <a:gdLst>
                <a:gd name="T0" fmla="*/ 0 w 1597"/>
                <a:gd name="T1" fmla="*/ 0 h 266"/>
                <a:gd name="T2" fmla="*/ 1597 w 1597"/>
                <a:gd name="T3" fmla="*/ 0 h 266"/>
                <a:gd name="T4" fmla="*/ 1597 w 1597"/>
                <a:gd name="T5" fmla="*/ 266 h 266"/>
                <a:gd name="T6" fmla="*/ 0 w 1597"/>
                <a:gd name="T7" fmla="*/ 266 h 266"/>
                <a:gd name="T8" fmla="*/ 0 w 1597"/>
                <a:gd name="T9" fmla="*/ 0 h 266"/>
                <a:gd name="T10" fmla="*/ 0 w 1597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97" h="266">
                  <a:moveTo>
                    <a:pt x="0" y="0"/>
                  </a:moveTo>
                  <a:lnTo>
                    <a:pt x="1597" y="0"/>
                  </a:lnTo>
                  <a:lnTo>
                    <a:pt x="1597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115">
              <a:extLst>
                <a:ext uri="{FF2B5EF4-FFF2-40B4-BE49-F238E27FC236}">
                  <a16:creationId xmlns:a16="http://schemas.microsoft.com/office/drawing/2014/main" id="{B96BD401-AC47-4994-9763-AEE9347F31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9" y="1764"/>
              <a:ext cx="38" cy="5"/>
            </a:xfrm>
            <a:custGeom>
              <a:avLst/>
              <a:gdLst>
                <a:gd name="T0" fmla="*/ 0 w 1730"/>
                <a:gd name="T1" fmla="*/ 0 h 266"/>
                <a:gd name="T2" fmla="*/ 1730 w 1730"/>
                <a:gd name="T3" fmla="*/ 0 h 266"/>
                <a:gd name="T4" fmla="*/ 1730 w 1730"/>
                <a:gd name="T5" fmla="*/ 266 h 266"/>
                <a:gd name="T6" fmla="*/ 0 w 1730"/>
                <a:gd name="T7" fmla="*/ 266 h 266"/>
                <a:gd name="T8" fmla="*/ 0 w 1730"/>
                <a:gd name="T9" fmla="*/ 0 h 266"/>
                <a:gd name="T10" fmla="*/ 0 w 1730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30" h="266">
                  <a:moveTo>
                    <a:pt x="0" y="0"/>
                  </a:moveTo>
                  <a:lnTo>
                    <a:pt x="1730" y="0"/>
                  </a:lnTo>
                  <a:lnTo>
                    <a:pt x="1730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6" name="object 15">
            <a:extLst>
              <a:ext uri="{FF2B5EF4-FFF2-40B4-BE49-F238E27FC236}">
                <a16:creationId xmlns:a16="http://schemas.microsoft.com/office/drawing/2014/main" id="{BCF6C634-746D-45FE-BBBC-D08004E88914}"/>
              </a:ext>
            </a:extLst>
          </p:cNvPr>
          <p:cNvSpPr txBox="1"/>
          <p:nvPr/>
        </p:nvSpPr>
        <p:spPr>
          <a:xfrm>
            <a:off x="6995180" y="4726543"/>
            <a:ext cx="4760667" cy="1379504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Aft>
                <a:spcPts val="600"/>
              </a:spcAft>
            </a:pP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Аудит </a:t>
            </a:r>
            <a:r>
              <a:rPr lang="ru-RU" sz="1400" b="1" spc="-4" dirty="0" err="1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усуллари</a:t>
            </a:r>
            <a:r>
              <a:rPr lang="ru-RU" sz="1400" b="1" spc="-4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:</a:t>
            </a: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араён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евосит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узатиш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съул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шахс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ил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уҳбатлар</a:t>
            </a:r>
            <a:endParaRPr lang="ru-RU" sz="1200" spc="-4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296069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ужжатлаштирилган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ълумотларн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ўрганиш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(ички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ртиб-таомил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чизма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пецификация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тандарт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ижоз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лаблари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, Қонунчилик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еъёрий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лаблар</a:t>
            </a:r>
            <a:r>
              <a:rPr lang="ru-RU" sz="1200" spc="-4" dirty="0">
                <a:solidFill>
                  <a:schemeClr val="tx2"/>
                </a:solidFill>
                <a:cs typeface="Arial" panose="020B0604020202020204" pitchFamily="34" charset="0"/>
              </a:rPr>
              <a:t>).</a:t>
            </a:r>
          </a:p>
        </p:txBody>
      </p:sp>
      <p:sp>
        <p:nvSpPr>
          <p:cNvPr id="57" name="object 12">
            <a:extLst>
              <a:ext uri="{FF2B5EF4-FFF2-40B4-BE49-F238E27FC236}">
                <a16:creationId xmlns:a16="http://schemas.microsoft.com/office/drawing/2014/main" id="{1D72BD36-D954-40D5-8246-A1AD34385202}"/>
              </a:ext>
            </a:extLst>
          </p:cNvPr>
          <p:cNvSpPr/>
          <p:nvPr/>
        </p:nvSpPr>
        <p:spPr>
          <a:xfrm>
            <a:off x="6180020" y="4678364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7531DEE5-60DF-4918-BF2F-48F73F80704F}"/>
              </a:ext>
            </a:extLst>
          </p:cNvPr>
          <p:cNvGrpSpPr/>
          <p:nvPr/>
        </p:nvGrpSpPr>
        <p:grpSpPr>
          <a:xfrm>
            <a:off x="6168399" y="4782708"/>
            <a:ext cx="486235" cy="486235"/>
            <a:chOff x="3101975" y="2686050"/>
            <a:chExt cx="857250" cy="857250"/>
          </a:xfrm>
          <a:solidFill>
            <a:schemeClr val="bg2">
              <a:lumMod val="25000"/>
            </a:schemeClr>
          </a:solidFill>
        </p:grpSpPr>
        <p:sp>
          <p:nvSpPr>
            <p:cNvPr id="59" name="Freeform 111">
              <a:extLst>
                <a:ext uri="{FF2B5EF4-FFF2-40B4-BE49-F238E27FC236}">
                  <a16:creationId xmlns:a16="http://schemas.microsoft.com/office/drawing/2014/main" id="{4FDA6561-1A9F-499D-B58C-8287B8482F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1975" y="2686050"/>
              <a:ext cx="857250" cy="857250"/>
            </a:xfrm>
            <a:custGeom>
              <a:avLst/>
              <a:gdLst>
                <a:gd name="T0" fmla="*/ 7515 w 8267"/>
                <a:gd name="T1" fmla="*/ 2933 h 8267"/>
                <a:gd name="T2" fmla="*/ 6267 w 8267"/>
                <a:gd name="T3" fmla="*/ 0 h 8267"/>
                <a:gd name="T4" fmla="*/ 5019 w 8267"/>
                <a:gd name="T5" fmla="*/ 2933 h 8267"/>
                <a:gd name="T6" fmla="*/ 4267 w 8267"/>
                <a:gd name="T7" fmla="*/ 933 h 8267"/>
                <a:gd name="T8" fmla="*/ 3428 w 8267"/>
                <a:gd name="T9" fmla="*/ 39 h 8267"/>
                <a:gd name="T10" fmla="*/ 133 w 8267"/>
                <a:gd name="T11" fmla="*/ 0 h 8267"/>
                <a:gd name="T12" fmla="*/ 0 w 8267"/>
                <a:gd name="T13" fmla="*/ 5200 h 8267"/>
                <a:gd name="T14" fmla="*/ 1067 w 8267"/>
                <a:gd name="T15" fmla="*/ 5333 h 8267"/>
                <a:gd name="T16" fmla="*/ 1467 w 8267"/>
                <a:gd name="T17" fmla="*/ 6933 h 8267"/>
                <a:gd name="T18" fmla="*/ 4133 w 8267"/>
                <a:gd name="T19" fmla="*/ 7467 h 8267"/>
                <a:gd name="T20" fmla="*/ 2800 w 8267"/>
                <a:gd name="T21" fmla="*/ 8133 h 8267"/>
                <a:gd name="T22" fmla="*/ 6400 w 8267"/>
                <a:gd name="T23" fmla="*/ 8267 h 8267"/>
                <a:gd name="T24" fmla="*/ 5867 w 8267"/>
                <a:gd name="T25" fmla="*/ 7467 h 8267"/>
                <a:gd name="T26" fmla="*/ 5200 w 8267"/>
                <a:gd name="T27" fmla="*/ 6933 h 8267"/>
                <a:gd name="T28" fmla="*/ 8267 w 8267"/>
                <a:gd name="T29" fmla="*/ 6533 h 8267"/>
                <a:gd name="T30" fmla="*/ 7867 w 8267"/>
                <a:gd name="T31" fmla="*/ 2933 h 8267"/>
                <a:gd name="T32" fmla="*/ 7733 w 8267"/>
                <a:gd name="T33" fmla="*/ 1733 h 8267"/>
                <a:gd name="T34" fmla="*/ 4800 w 8267"/>
                <a:gd name="T35" fmla="*/ 1733 h 8267"/>
                <a:gd name="T36" fmla="*/ 6000 w 8267"/>
                <a:gd name="T37" fmla="*/ 4533 h 8267"/>
                <a:gd name="T38" fmla="*/ 6533 w 8267"/>
                <a:gd name="T39" fmla="*/ 5867 h 8267"/>
                <a:gd name="T40" fmla="*/ 6000 w 8267"/>
                <a:gd name="T41" fmla="*/ 5867 h 8267"/>
                <a:gd name="T42" fmla="*/ 6000 w 8267"/>
                <a:gd name="T43" fmla="*/ 4267 h 8267"/>
                <a:gd name="T44" fmla="*/ 6533 w 8267"/>
                <a:gd name="T45" fmla="*/ 4000 h 8267"/>
                <a:gd name="T46" fmla="*/ 6000 w 8267"/>
                <a:gd name="T47" fmla="*/ 4267 h 8267"/>
                <a:gd name="T48" fmla="*/ 6000 w 8267"/>
                <a:gd name="T49" fmla="*/ 3733 h 8267"/>
                <a:gd name="T50" fmla="*/ 6267 w 8267"/>
                <a:gd name="T51" fmla="*/ 3467 h 8267"/>
                <a:gd name="T52" fmla="*/ 6533 w 8267"/>
                <a:gd name="T53" fmla="*/ 3733 h 8267"/>
                <a:gd name="T54" fmla="*/ 5733 w 8267"/>
                <a:gd name="T55" fmla="*/ 3382 h 8267"/>
                <a:gd name="T56" fmla="*/ 4267 w 8267"/>
                <a:gd name="T57" fmla="*/ 3467 h 8267"/>
                <a:gd name="T58" fmla="*/ 5347 w 8267"/>
                <a:gd name="T59" fmla="*/ 3200 h 8267"/>
                <a:gd name="T60" fmla="*/ 3811 w 8267"/>
                <a:gd name="T61" fmla="*/ 800 h 8267"/>
                <a:gd name="T62" fmla="*/ 3467 w 8267"/>
                <a:gd name="T63" fmla="*/ 455 h 8267"/>
                <a:gd name="T64" fmla="*/ 3200 w 8267"/>
                <a:gd name="T65" fmla="*/ 267 h 8267"/>
                <a:gd name="T66" fmla="*/ 3333 w 8267"/>
                <a:gd name="T67" fmla="*/ 1067 h 8267"/>
                <a:gd name="T68" fmla="*/ 4000 w 8267"/>
                <a:gd name="T69" fmla="*/ 5067 h 8267"/>
                <a:gd name="T70" fmla="*/ 267 w 8267"/>
                <a:gd name="T71" fmla="*/ 267 h 8267"/>
                <a:gd name="T72" fmla="*/ 3089 w 8267"/>
                <a:gd name="T73" fmla="*/ 8000 h 8267"/>
                <a:gd name="T74" fmla="*/ 5867 w 8267"/>
                <a:gd name="T75" fmla="*/ 7733 h 8267"/>
                <a:gd name="T76" fmla="*/ 4933 w 8267"/>
                <a:gd name="T77" fmla="*/ 7467 h 8267"/>
                <a:gd name="T78" fmla="*/ 4400 w 8267"/>
                <a:gd name="T79" fmla="*/ 6933 h 8267"/>
                <a:gd name="T80" fmla="*/ 4933 w 8267"/>
                <a:gd name="T81" fmla="*/ 7467 h 8267"/>
                <a:gd name="T82" fmla="*/ 7867 w 8267"/>
                <a:gd name="T83" fmla="*/ 6667 h 8267"/>
                <a:gd name="T84" fmla="*/ 1333 w 8267"/>
                <a:gd name="T85" fmla="*/ 6533 h 8267"/>
                <a:gd name="T86" fmla="*/ 1600 w 8267"/>
                <a:gd name="T87" fmla="*/ 5333 h 8267"/>
                <a:gd name="T88" fmla="*/ 1733 w 8267"/>
                <a:gd name="T89" fmla="*/ 6400 h 8267"/>
                <a:gd name="T90" fmla="*/ 5467 w 8267"/>
                <a:gd name="T91" fmla="*/ 6133 h 8267"/>
                <a:gd name="T92" fmla="*/ 1867 w 8267"/>
                <a:gd name="T93" fmla="*/ 5333 h 8267"/>
                <a:gd name="T94" fmla="*/ 4267 w 8267"/>
                <a:gd name="T95" fmla="*/ 5200 h 8267"/>
                <a:gd name="T96" fmla="*/ 5733 w 8267"/>
                <a:gd name="T97" fmla="*/ 3733 h 8267"/>
                <a:gd name="T98" fmla="*/ 5467 w 8267"/>
                <a:gd name="T99" fmla="*/ 4267 h 8267"/>
                <a:gd name="T100" fmla="*/ 5733 w 8267"/>
                <a:gd name="T101" fmla="*/ 4533 h 8267"/>
                <a:gd name="T102" fmla="*/ 6267 w 8267"/>
                <a:gd name="T103" fmla="*/ 6400 h 8267"/>
                <a:gd name="T104" fmla="*/ 6800 w 8267"/>
                <a:gd name="T105" fmla="*/ 4533 h 8267"/>
                <a:gd name="T106" fmla="*/ 7067 w 8267"/>
                <a:gd name="T107" fmla="*/ 4267 h 8267"/>
                <a:gd name="T108" fmla="*/ 6800 w 8267"/>
                <a:gd name="T109" fmla="*/ 3733 h 8267"/>
                <a:gd name="T110" fmla="*/ 7467 w 8267"/>
                <a:gd name="T111" fmla="*/ 6133 h 8267"/>
                <a:gd name="T112" fmla="*/ 7067 w 8267"/>
                <a:gd name="T113" fmla="*/ 6400 h 8267"/>
                <a:gd name="T114" fmla="*/ 7733 w 8267"/>
                <a:gd name="T115" fmla="*/ 6267 h 8267"/>
                <a:gd name="T116" fmla="*/ 7600 w 8267"/>
                <a:gd name="T117" fmla="*/ 3467 h 8267"/>
                <a:gd name="T118" fmla="*/ 6800 w 8267"/>
                <a:gd name="T119" fmla="*/ 3382 h 8267"/>
                <a:gd name="T120" fmla="*/ 7867 w 8267"/>
                <a:gd name="T121" fmla="*/ 3200 h 8267"/>
                <a:gd name="T122" fmla="*/ 8000 w 8267"/>
                <a:gd name="T123" fmla="*/ 6533 h 8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267" h="8267">
                  <a:moveTo>
                    <a:pt x="7867" y="2933"/>
                  </a:moveTo>
                  <a:lnTo>
                    <a:pt x="7515" y="2933"/>
                  </a:lnTo>
                  <a:cubicBezTo>
                    <a:pt x="7814" y="2622"/>
                    <a:pt x="8000" y="2199"/>
                    <a:pt x="8000" y="1733"/>
                  </a:cubicBezTo>
                  <a:cubicBezTo>
                    <a:pt x="8000" y="778"/>
                    <a:pt x="7222" y="0"/>
                    <a:pt x="6267" y="0"/>
                  </a:cubicBezTo>
                  <a:cubicBezTo>
                    <a:pt x="5311" y="0"/>
                    <a:pt x="4533" y="778"/>
                    <a:pt x="4533" y="1733"/>
                  </a:cubicBezTo>
                  <a:cubicBezTo>
                    <a:pt x="4533" y="2199"/>
                    <a:pt x="4719" y="2622"/>
                    <a:pt x="5019" y="2933"/>
                  </a:cubicBezTo>
                  <a:lnTo>
                    <a:pt x="4267" y="2933"/>
                  </a:lnTo>
                  <a:lnTo>
                    <a:pt x="4267" y="933"/>
                  </a:lnTo>
                  <a:cubicBezTo>
                    <a:pt x="4267" y="896"/>
                    <a:pt x="4252" y="863"/>
                    <a:pt x="4227" y="839"/>
                  </a:cubicBezTo>
                  <a:lnTo>
                    <a:pt x="3428" y="39"/>
                  </a:lnTo>
                  <a:cubicBezTo>
                    <a:pt x="3404" y="15"/>
                    <a:pt x="3370" y="0"/>
                    <a:pt x="3333" y="0"/>
                  </a:cubicBezTo>
                  <a:lnTo>
                    <a:pt x="133" y="0"/>
                  </a:lnTo>
                  <a:cubicBezTo>
                    <a:pt x="60" y="0"/>
                    <a:pt x="0" y="60"/>
                    <a:pt x="0" y="133"/>
                  </a:cubicBezTo>
                  <a:lnTo>
                    <a:pt x="0" y="5200"/>
                  </a:lnTo>
                  <a:cubicBezTo>
                    <a:pt x="0" y="5274"/>
                    <a:pt x="60" y="5333"/>
                    <a:pt x="133" y="5333"/>
                  </a:cubicBezTo>
                  <a:lnTo>
                    <a:pt x="1067" y="5333"/>
                  </a:lnTo>
                  <a:lnTo>
                    <a:pt x="1067" y="6533"/>
                  </a:lnTo>
                  <a:cubicBezTo>
                    <a:pt x="1067" y="6754"/>
                    <a:pt x="1246" y="6933"/>
                    <a:pt x="1467" y="6933"/>
                  </a:cubicBezTo>
                  <a:lnTo>
                    <a:pt x="4133" y="6933"/>
                  </a:lnTo>
                  <a:lnTo>
                    <a:pt x="4133" y="7467"/>
                  </a:lnTo>
                  <a:lnTo>
                    <a:pt x="3467" y="7467"/>
                  </a:lnTo>
                  <a:cubicBezTo>
                    <a:pt x="3099" y="7467"/>
                    <a:pt x="2800" y="7766"/>
                    <a:pt x="2800" y="8133"/>
                  </a:cubicBezTo>
                  <a:cubicBezTo>
                    <a:pt x="2800" y="8207"/>
                    <a:pt x="2860" y="8267"/>
                    <a:pt x="2933" y="8267"/>
                  </a:cubicBezTo>
                  <a:lnTo>
                    <a:pt x="6400" y="8267"/>
                  </a:lnTo>
                  <a:cubicBezTo>
                    <a:pt x="6474" y="8267"/>
                    <a:pt x="6533" y="8207"/>
                    <a:pt x="6533" y="8133"/>
                  </a:cubicBezTo>
                  <a:cubicBezTo>
                    <a:pt x="6533" y="7766"/>
                    <a:pt x="6234" y="7467"/>
                    <a:pt x="5867" y="7467"/>
                  </a:cubicBezTo>
                  <a:lnTo>
                    <a:pt x="5200" y="7467"/>
                  </a:lnTo>
                  <a:lnTo>
                    <a:pt x="5200" y="6933"/>
                  </a:lnTo>
                  <a:lnTo>
                    <a:pt x="7867" y="6933"/>
                  </a:lnTo>
                  <a:cubicBezTo>
                    <a:pt x="8087" y="6933"/>
                    <a:pt x="8267" y="6754"/>
                    <a:pt x="8267" y="6533"/>
                  </a:cubicBezTo>
                  <a:lnTo>
                    <a:pt x="8267" y="3333"/>
                  </a:lnTo>
                  <a:cubicBezTo>
                    <a:pt x="8267" y="3113"/>
                    <a:pt x="8087" y="2933"/>
                    <a:pt x="7867" y="2933"/>
                  </a:cubicBezTo>
                  <a:close/>
                  <a:moveTo>
                    <a:pt x="6267" y="267"/>
                  </a:moveTo>
                  <a:cubicBezTo>
                    <a:pt x="7075" y="267"/>
                    <a:pt x="7733" y="925"/>
                    <a:pt x="7733" y="1733"/>
                  </a:cubicBezTo>
                  <a:cubicBezTo>
                    <a:pt x="7733" y="2542"/>
                    <a:pt x="7075" y="3200"/>
                    <a:pt x="6267" y="3200"/>
                  </a:cubicBezTo>
                  <a:cubicBezTo>
                    <a:pt x="5458" y="3200"/>
                    <a:pt x="4800" y="2542"/>
                    <a:pt x="4800" y="1733"/>
                  </a:cubicBezTo>
                  <a:cubicBezTo>
                    <a:pt x="4800" y="925"/>
                    <a:pt x="5458" y="267"/>
                    <a:pt x="6267" y="267"/>
                  </a:cubicBezTo>
                  <a:close/>
                  <a:moveTo>
                    <a:pt x="6000" y="4533"/>
                  </a:moveTo>
                  <a:lnTo>
                    <a:pt x="6533" y="4533"/>
                  </a:lnTo>
                  <a:lnTo>
                    <a:pt x="6533" y="5867"/>
                  </a:lnTo>
                  <a:cubicBezTo>
                    <a:pt x="6533" y="6014"/>
                    <a:pt x="6414" y="6133"/>
                    <a:pt x="6267" y="6133"/>
                  </a:cubicBezTo>
                  <a:cubicBezTo>
                    <a:pt x="6120" y="6133"/>
                    <a:pt x="6000" y="6014"/>
                    <a:pt x="6000" y="5867"/>
                  </a:cubicBezTo>
                  <a:lnTo>
                    <a:pt x="6000" y="4533"/>
                  </a:lnTo>
                  <a:close/>
                  <a:moveTo>
                    <a:pt x="6000" y="4267"/>
                  </a:moveTo>
                  <a:lnTo>
                    <a:pt x="6000" y="4000"/>
                  </a:lnTo>
                  <a:lnTo>
                    <a:pt x="6533" y="4000"/>
                  </a:lnTo>
                  <a:lnTo>
                    <a:pt x="6533" y="4267"/>
                  </a:lnTo>
                  <a:lnTo>
                    <a:pt x="6000" y="4267"/>
                  </a:lnTo>
                  <a:close/>
                  <a:moveTo>
                    <a:pt x="6533" y="3733"/>
                  </a:moveTo>
                  <a:lnTo>
                    <a:pt x="6000" y="3733"/>
                  </a:lnTo>
                  <a:lnTo>
                    <a:pt x="6000" y="3444"/>
                  </a:lnTo>
                  <a:cubicBezTo>
                    <a:pt x="6087" y="3458"/>
                    <a:pt x="6176" y="3467"/>
                    <a:pt x="6267" y="3467"/>
                  </a:cubicBezTo>
                  <a:cubicBezTo>
                    <a:pt x="6358" y="3467"/>
                    <a:pt x="6446" y="3457"/>
                    <a:pt x="6533" y="3444"/>
                  </a:cubicBezTo>
                  <a:lnTo>
                    <a:pt x="6533" y="3733"/>
                  </a:lnTo>
                  <a:close/>
                  <a:moveTo>
                    <a:pt x="5347" y="3200"/>
                  </a:moveTo>
                  <a:cubicBezTo>
                    <a:pt x="5467" y="3275"/>
                    <a:pt x="5596" y="3337"/>
                    <a:pt x="5733" y="3382"/>
                  </a:cubicBezTo>
                  <a:lnTo>
                    <a:pt x="5733" y="3467"/>
                  </a:lnTo>
                  <a:lnTo>
                    <a:pt x="4267" y="3467"/>
                  </a:lnTo>
                  <a:lnTo>
                    <a:pt x="4267" y="3200"/>
                  </a:lnTo>
                  <a:lnTo>
                    <a:pt x="5347" y="3200"/>
                  </a:lnTo>
                  <a:close/>
                  <a:moveTo>
                    <a:pt x="3467" y="455"/>
                  </a:moveTo>
                  <a:lnTo>
                    <a:pt x="3811" y="800"/>
                  </a:lnTo>
                  <a:lnTo>
                    <a:pt x="3467" y="800"/>
                  </a:lnTo>
                  <a:lnTo>
                    <a:pt x="3467" y="455"/>
                  </a:lnTo>
                  <a:close/>
                  <a:moveTo>
                    <a:pt x="267" y="267"/>
                  </a:moveTo>
                  <a:lnTo>
                    <a:pt x="3200" y="267"/>
                  </a:lnTo>
                  <a:lnTo>
                    <a:pt x="3200" y="933"/>
                  </a:lnTo>
                  <a:cubicBezTo>
                    <a:pt x="3200" y="1007"/>
                    <a:pt x="3260" y="1067"/>
                    <a:pt x="3333" y="1067"/>
                  </a:cubicBezTo>
                  <a:lnTo>
                    <a:pt x="4000" y="1067"/>
                  </a:lnTo>
                  <a:lnTo>
                    <a:pt x="4000" y="5067"/>
                  </a:lnTo>
                  <a:lnTo>
                    <a:pt x="267" y="5067"/>
                  </a:lnTo>
                  <a:lnTo>
                    <a:pt x="267" y="267"/>
                  </a:lnTo>
                  <a:close/>
                  <a:moveTo>
                    <a:pt x="6244" y="8000"/>
                  </a:moveTo>
                  <a:lnTo>
                    <a:pt x="3089" y="8000"/>
                  </a:lnTo>
                  <a:cubicBezTo>
                    <a:pt x="3145" y="7845"/>
                    <a:pt x="3293" y="7733"/>
                    <a:pt x="3467" y="7733"/>
                  </a:cubicBezTo>
                  <a:lnTo>
                    <a:pt x="5867" y="7733"/>
                  </a:lnTo>
                  <a:cubicBezTo>
                    <a:pt x="6041" y="7733"/>
                    <a:pt x="6189" y="7845"/>
                    <a:pt x="6244" y="8000"/>
                  </a:cubicBezTo>
                  <a:close/>
                  <a:moveTo>
                    <a:pt x="4933" y="7467"/>
                  </a:moveTo>
                  <a:lnTo>
                    <a:pt x="4400" y="7467"/>
                  </a:lnTo>
                  <a:lnTo>
                    <a:pt x="4400" y="6933"/>
                  </a:lnTo>
                  <a:lnTo>
                    <a:pt x="4933" y="6933"/>
                  </a:lnTo>
                  <a:lnTo>
                    <a:pt x="4933" y="7467"/>
                  </a:lnTo>
                  <a:close/>
                  <a:moveTo>
                    <a:pt x="8000" y="6533"/>
                  </a:moveTo>
                  <a:cubicBezTo>
                    <a:pt x="8000" y="6607"/>
                    <a:pt x="7940" y="6667"/>
                    <a:pt x="7867" y="6667"/>
                  </a:cubicBezTo>
                  <a:lnTo>
                    <a:pt x="1467" y="6667"/>
                  </a:lnTo>
                  <a:cubicBezTo>
                    <a:pt x="1393" y="6667"/>
                    <a:pt x="1333" y="6607"/>
                    <a:pt x="1333" y="6533"/>
                  </a:cubicBezTo>
                  <a:lnTo>
                    <a:pt x="1333" y="5333"/>
                  </a:lnTo>
                  <a:lnTo>
                    <a:pt x="1600" y="5333"/>
                  </a:lnTo>
                  <a:lnTo>
                    <a:pt x="1600" y="6267"/>
                  </a:lnTo>
                  <a:cubicBezTo>
                    <a:pt x="1600" y="6340"/>
                    <a:pt x="1660" y="6400"/>
                    <a:pt x="1733" y="6400"/>
                  </a:cubicBezTo>
                  <a:lnTo>
                    <a:pt x="5467" y="6400"/>
                  </a:lnTo>
                  <a:lnTo>
                    <a:pt x="5467" y="6133"/>
                  </a:lnTo>
                  <a:lnTo>
                    <a:pt x="1867" y="6133"/>
                  </a:lnTo>
                  <a:lnTo>
                    <a:pt x="1867" y="5333"/>
                  </a:lnTo>
                  <a:lnTo>
                    <a:pt x="4133" y="5333"/>
                  </a:lnTo>
                  <a:cubicBezTo>
                    <a:pt x="4207" y="5333"/>
                    <a:pt x="4267" y="5274"/>
                    <a:pt x="4267" y="5200"/>
                  </a:cubicBezTo>
                  <a:lnTo>
                    <a:pt x="4267" y="3733"/>
                  </a:lnTo>
                  <a:lnTo>
                    <a:pt x="5733" y="3733"/>
                  </a:lnTo>
                  <a:lnTo>
                    <a:pt x="5733" y="4267"/>
                  </a:lnTo>
                  <a:lnTo>
                    <a:pt x="5467" y="4267"/>
                  </a:lnTo>
                  <a:lnTo>
                    <a:pt x="5467" y="4533"/>
                  </a:lnTo>
                  <a:lnTo>
                    <a:pt x="5733" y="4533"/>
                  </a:lnTo>
                  <a:lnTo>
                    <a:pt x="5733" y="5867"/>
                  </a:lnTo>
                  <a:cubicBezTo>
                    <a:pt x="5733" y="6161"/>
                    <a:pt x="5973" y="6400"/>
                    <a:pt x="6267" y="6400"/>
                  </a:cubicBezTo>
                  <a:cubicBezTo>
                    <a:pt x="6561" y="6400"/>
                    <a:pt x="6800" y="6161"/>
                    <a:pt x="6800" y="5867"/>
                  </a:cubicBezTo>
                  <a:lnTo>
                    <a:pt x="6800" y="4533"/>
                  </a:lnTo>
                  <a:lnTo>
                    <a:pt x="7067" y="4533"/>
                  </a:lnTo>
                  <a:lnTo>
                    <a:pt x="7067" y="4267"/>
                  </a:lnTo>
                  <a:lnTo>
                    <a:pt x="6800" y="4267"/>
                  </a:lnTo>
                  <a:lnTo>
                    <a:pt x="6800" y="3733"/>
                  </a:lnTo>
                  <a:lnTo>
                    <a:pt x="7467" y="3733"/>
                  </a:lnTo>
                  <a:lnTo>
                    <a:pt x="7467" y="6133"/>
                  </a:lnTo>
                  <a:lnTo>
                    <a:pt x="7067" y="6133"/>
                  </a:lnTo>
                  <a:lnTo>
                    <a:pt x="7067" y="6400"/>
                  </a:lnTo>
                  <a:lnTo>
                    <a:pt x="7600" y="6400"/>
                  </a:lnTo>
                  <a:cubicBezTo>
                    <a:pt x="7674" y="6400"/>
                    <a:pt x="7733" y="6340"/>
                    <a:pt x="7733" y="6267"/>
                  </a:cubicBezTo>
                  <a:lnTo>
                    <a:pt x="7733" y="3600"/>
                  </a:lnTo>
                  <a:cubicBezTo>
                    <a:pt x="7733" y="3526"/>
                    <a:pt x="7674" y="3467"/>
                    <a:pt x="7600" y="3467"/>
                  </a:cubicBezTo>
                  <a:lnTo>
                    <a:pt x="6800" y="3467"/>
                  </a:lnTo>
                  <a:lnTo>
                    <a:pt x="6800" y="3382"/>
                  </a:lnTo>
                  <a:cubicBezTo>
                    <a:pt x="6937" y="3337"/>
                    <a:pt x="7066" y="3275"/>
                    <a:pt x="7186" y="3200"/>
                  </a:cubicBezTo>
                  <a:lnTo>
                    <a:pt x="7867" y="3200"/>
                  </a:lnTo>
                  <a:cubicBezTo>
                    <a:pt x="7940" y="3200"/>
                    <a:pt x="8000" y="3260"/>
                    <a:pt x="8000" y="3333"/>
                  </a:cubicBezTo>
                  <a:lnTo>
                    <a:pt x="8000" y="6533"/>
                  </a:lnTo>
                  <a:close/>
                  <a:moveTo>
                    <a:pt x="8000" y="6533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112">
              <a:extLst>
                <a:ext uri="{FF2B5EF4-FFF2-40B4-BE49-F238E27FC236}">
                  <a16:creationId xmlns:a16="http://schemas.microsoft.com/office/drawing/2014/main" id="{E363F703-7E37-405E-90B3-80E8D6F8AB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7538" y="2852738"/>
              <a:ext cx="331788" cy="331788"/>
            </a:xfrm>
            <a:custGeom>
              <a:avLst/>
              <a:gdLst>
                <a:gd name="T0" fmla="*/ 1600 w 3200"/>
                <a:gd name="T1" fmla="*/ 0 h 3200"/>
                <a:gd name="T2" fmla="*/ 0 w 3200"/>
                <a:gd name="T3" fmla="*/ 1600 h 3200"/>
                <a:gd name="T4" fmla="*/ 1600 w 3200"/>
                <a:gd name="T5" fmla="*/ 3200 h 3200"/>
                <a:gd name="T6" fmla="*/ 3200 w 3200"/>
                <a:gd name="T7" fmla="*/ 1600 h 3200"/>
                <a:gd name="T8" fmla="*/ 1600 w 3200"/>
                <a:gd name="T9" fmla="*/ 0 h 3200"/>
                <a:gd name="T10" fmla="*/ 1600 w 3200"/>
                <a:gd name="T11" fmla="*/ 2400 h 3200"/>
                <a:gd name="T12" fmla="*/ 800 w 3200"/>
                <a:gd name="T13" fmla="*/ 1600 h 3200"/>
                <a:gd name="T14" fmla="*/ 1600 w 3200"/>
                <a:gd name="T15" fmla="*/ 800 h 3200"/>
                <a:gd name="T16" fmla="*/ 2400 w 3200"/>
                <a:gd name="T17" fmla="*/ 1600 h 3200"/>
                <a:gd name="T18" fmla="*/ 1600 w 3200"/>
                <a:gd name="T19" fmla="*/ 2400 h 3200"/>
                <a:gd name="T20" fmla="*/ 1467 w 3200"/>
                <a:gd name="T21" fmla="*/ 543 h 3200"/>
                <a:gd name="T22" fmla="*/ 947 w 3200"/>
                <a:gd name="T23" fmla="*/ 758 h 3200"/>
                <a:gd name="T24" fmla="*/ 757 w 3200"/>
                <a:gd name="T25" fmla="*/ 568 h 3200"/>
                <a:gd name="T26" fmla="*/ 1467 w 3200"/>
                <a:gd name="T27" fmla="*/ 273 h 3200"/>
                <a:gd name="T28" fmla="*/ 1467 w 3200"/>
                <a:gd name="T29" fmla="*/ 543 h 3200"/>
                <a:gd name="T30" fmla="*/ 2253 w 3200"/>
                <a:gd name="T31" fmla="*/ 758 h 3200"/>
                <a:gd name="T32" fmla="*/ 1734 w 3200"/>
                <a:gd name="T33" fmla="*/ 543 h 3200"/>
                <a:gd name="T34" fmla="*/ 1734 w 3200"/>
                <a:gd name="T35" fmla="*/ 273 h 3200"/>
                <a:gd name="T36" fmla="*/ 2444 w 3200"/>
                <a:gd name="T37" fmla="*/ 568 h 3200"/>
                <a:gd name="T38" fmla="*/ 2253 w 3200"/>
                <a:gd name="T39" fmla="*/ 758 h 3200"/>
                <a:gd name="T40" fmla="*/ 569 w 3200"/>
                <a:gd name="T41" fmla="*/ 757 h 3200"/>
                <a:gd name="T42" fmla="*/ 759 w 3200"/>
                <a:gd name="T43" fmla="*/ 947 h 3200"/>
                <a:gd name="T44" fmla="*/ 534 w 3200"/>
                <a:gd name="T45" fmla="*/ 1600 h 3200"/>
                <a:gd name="T46" fmla="*/ 759 w 3200"/>
                <a:gd name="T47" fmla="*/ 2253 h 3200"/>
                <a:gd name="T48" fmla="*/ 568 w 3200"/>
                <a:gd name="T49" fmla="*/ 2443 h 3200"/>
                <a:gd name="T50" fmla="*/ 267 w 3200"/>
                <a:gd name="T51" fmla="*/ 1600 h 3200"/>
                <a:gd name="T52" fmla="*/ 569 w 3200"/>
                <a:gd name="T53" fmla="*/ 757 h 3200"/>
                <a:gd name="T54" fmla="*/ 757 w 3200"/>
                <a:gd name="T55" fmla="*/ 2632 h 3200"/>
                <a:gd name="T56" fmla="*/ 947 w 3200"/>
                <a:gd name="T57" fmla="*/ 2441 h 3200"/>
                <a:gd name="T58" fmla="*/ 1600 w 3200"/>
                <a:gd name="T59" fmla="*/ 2667 h 3200"/>
                <a:gd name="T60" fmla="*/ 2253 w 3200"/>
                <a:gd name="T61" fmla="*/ 2442 h 3200"/>
                <a:gd name="T62" fmla="*/ 2444 w 3200"/>
                <a:gd name="T63" fmla="*/ 2632 h 3200"/>
                <a:gd name="T64" fmla="*/ 1600 w 3200"/>
                <a:gd name="T65" fmla="*/ 2933 h 3200"/>
                <a:gd name="T66" fmla="*/ 757 w 3200"/>
                <a:gd name="T67" fmla="*/ 2632 h 3200"/>
                <a:gd name="T68" fmla="*/ 2632 w 3200"/>
                <a:gd name="T69" fmla="*/ 2443 h 3200"/>
                <a:gd name="T70" fmla="*/ 2442 w 3200"/>
                <a:gd name="T71" fmla="*/ 2253 h 3200"/>
                <a:gd name="T72" fmla="*/ 2667 w 3200"/>
                <a:gd name="T73" fmla="*/ 1600 h 3200"/>
                <a:gd name="T74" fmla="*/ 2442 w 3200"/>
                <a:gd name="T75" fmla="*/ 947 h 3200"/>
                <a:gd name="T76" fmla="*/ 2632 w 3200"/>
                <a:gd name="T77" fmla="*/ 757 h 3200"/>
                <a:gd name="T78" fmla="*/ 2934 w 3200"/>
                <a:gd name="T79" fmla="*/ 1600 h 3200"/>
                <a:gd name="T80" fmla="*/ 2632 w 3200"/>
                <a:gd name="T81" fmla="*/ 2443 h 3200"/>
                <a:gd name="T82" fmla="*/ 2632 w 3200"/>
                <a:gd name="T83" fmla="*/ 2443 h 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200" h="3200">
                  <a:moveTo>
                    <a:pt x="1600" y="0"/>
                  </a:moveTo>
                  <a:cubicBezTo>
                    <a:pt x="718" y="0"/>
                    <a:pt x="0" y="718"/>
                    <a:pt x="0" y="1600"/>
                  </a:cubicBezTo>
                  <a:cubicBezTo>
                    <a:pt x="0" y="2482"/>
                    <a:pt x="718" y="3200"/>
                    <a:pt x="1600" y="3200"/>
                  </a:cubicBezTo>
                  <a:cubicBezTo>
                    <a:pt x="2483" y="3200"/>
                    <a:pt x="3200" y="2482"/>
                    <a:pt x="3200" y="1600"/>
                  </a:cubicBezTo>
                  <a:cubicBezTo>
                    <a:pt x="3200" y="718"/>
                    <a:pt x="2483" y="0"/>
                    <a:pt x="1600" y="0"/>
                  </a:cubicBezTo>
                  <a:close/>
                  <a:moveTo>
                    <a:pt x="1600" y="2400"/>
                  </a:moveTo>
                  <a:cubicBezTo>
                    <a:pt x="1159" y="2400"/>
                    <a:pt x="800" y="2041"/>
                    <a:pt x="800" y="1600"/>
                  </a:cubicBezTo>
                  <a:cubicBezTo>
                    <a:pt x="800" y="1159"/>
                    <a:pt x="1159" y="800"/>
                    <a:pt x="1600" y="800"/>
                  </a:cubicBezTo>
                  <a:cubicBezTo>
                    <a:pt x="2042" y="800"/>
                    <a:pt x="2400" y="1159"/>
                    <a:pt x="2400" y="1600"/>
                  </a:cubicBezTo>
                  <a:cubicBezTo>
                    <a:pt x="2400" y="2041"/>
                    <a:pt x="2042" y="2400"/>
                    <a:pt x="1600" y="2400"/>
                  </a:cubicBezTo>
                  <a:close/>
                  <a:moveTo>
                    <a:pt x="1467" y="543"/>
                  </a:moveTo>
                  <a:cubicBezTo>
                    <a:pt x="1273" y="567"/>
                    <a:pt x="1095" y="644"/>
                    <a:pt x="947" y="758"/>
                  </a:cubicBezTo>
                  <a:lnTo>
                    <a:pt x="757" y="568"/>
                  </a:lnTo>
                  <a:cubicBezTo>
                    <a:pt x="955" y="406"/>
                    <a:pt x="1199" y="300"/>
                    <a:pt x="1467" y="273"/>
                  </a:cubicBezTo>
                  <a:lnTo>
                    <a:pt x="1467" y="543"/>
                  </a:lnTo>
                  <a:close/>
                  <a:moveTo>
                    <a:pt x="2253" y="758"/>
                  </a:moveTo>
                  <a:cubicBezTo>
                    <a:pt x="2106" y="644"/>
                    <a:pt x="1928" y="567"/>
                    <a:pt x="1734" y="543"/>
                  </a:cubicBezTo>
                  <a:lnTo>
                    <a:pt x="1734" y="273"/>
                  </a:lnTo>
                  <a:cubicBezTo>
                    <a:pt x="2001" y="300"/>
                    <a:pt x="2246" y="406"/>
                    <a:pt x="2444" y="568"/>
                  </a:cubicBezTo>
                  <a:lnTo>
                    <a:pt x="2253" y="758"/>
                  </a:lnTo>
                  <a:close/>
                  <a:moveTo>
                    <a:pt x="569" y="757"/>
                  </a:moveTo>
                  <a:lnTo>
                    <a:pt x="759" y="947"/>
                  </a:lnTo>
                  <a:cubicBezTo>
                    <a:pt x="618" y="1128"/>
                    <a:pt x="534" y="1354"/>
                    <a:pt x="534" y="1600"/>
                  </a:cubicBezTo>
                  <a:cubicBezTo>
                    <a:pt x="534" y="1846"/>
                    <a:pt x="618" y="2072"/>
                    <a:pt x="759" y="2253"/>
                  </a:cubicBezTo>
                  <a:lnTo>
                    <a:pt x="568" y="2443"/>
                  </a:lnTo>
                  <a:cubicBezTo>
                    <a:pt x="380" y="2213"/>
                    <a:pt x="267" y="1920"/>
                    <a:pt x="267" y="1600"/>
                  </a:cubicBezTo>
                  <a:cubicBezTo>
                    <a:pt x="267" y="1280"/>
                    <a:pt x="380" y="987"/>
                    <a:pt x="569" y="757"/>
                  </a:cubicBezTo>
                  <a:close/>
                  <a:moveTo>
                    <a:pt x="757" y="2632"/>
                  </a:moveTo>
                  <a:lnTo>
                    <a:pt x="947" y="2441"/>
                  </a:lnTo>
                  <a:cubicBezTo>
                    <a:pt x="1128" y="2582"/>
                    <a:pt x="1354" y="2667"/>
                    <a:pt x="1600" y="2667"/>
                  </a:cubicBezTo>
                  <a:cubicBezTo>
                    <a:pt x="1846" y="2667"/>
                    <a:pt x="2073" y="2582"/>
                    <a:pt x="2253" y="2442"/>
                  </a:cubicBezTo>
                  <a:lnTo>
                    <a:pt x="2444" y="2632"/>
                  </a:lnTo>
                  <a:cubicBezTo>
                    <a:pt x="2214" y="2820"/>
                    <a:pt x="1920" y="2933"/>
                    <a:pt x="1600" y="2933"/>
                  </a:cubicBezTo>
                  <a:cubicBezTo>
                    <a:pt x="1281" y="2933"/>
                    <a:pt x="987" y="2820"/>
                    <a:pt x="757" y="2632"/>
                  </a:cubicBezTo>
                  <a:close/>
                  <a:moveTo>
                    <a:pt x="2632" y="2443"/>
                  </a:moveTo>
                  <a:lnTo>
                    <a:pt x="2442" y="2253"/>
                  </a:lnTo>
                  <a:cubicBezTo>
                    <a:pt x="2582" y="2072"/>
                    <a:pt x="2667" y="1846"/>
                    <a:pt x="2667" y="1600"/>
                  </a:cubicBezTo>
                  <a:cubicBezTo>
                    <a:pt x="2667" y="1354"/>
                    <a:pt x="2582" y="1128"/>
                    <a:pt x="2442" y="947"/>
                  </a:cubicBezTo>
                  <a:lnTo>
                    <a:pt x="2632" y="757"/>
                  </a:lnTo>
                  <a:cubicBezTo>
                    <a:pt x="2820" y="987"/>
                    <a:pt x="2934" y="1280"/>
                    <a:pt x="2934" y="1600"/>
                  </a:cubicBezTo>
                  <a:cubicBezTo>
                    <a:pt x="2934" y="1920"/>
                    <a:pt x="2820" y="2213"/>
                    <a:pt x="2632" y="2443"/>
                  </a:cubicBezTo>
                  <a:close/>
                  <a:moveTo>
                    <a:pt x="2632" y="2443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113">
              <a:extLst>
                <a:ext uri="{FF2B5EF4-FFF2-40B4-BE49-F238E27FC236}">
                  <a16:creationId xmlns:a16="http://schemas.microsoft.com/office/drawing/2014/main" id="{614A5E38-BCEC-428E-B722-D4383A5883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7438" y="2741613"/>
              <a:ext cx="123825" cy="123825"/>
            </a:xfrm>
            <a:custGeom>
              <a:avLst/>
              <a:gdLst>
                <a:gd name="T0" fmla="*/ 1200 w 1200"/>
                <a:gd name="T1" fmla="*/ 267 h 1200"/>
                <a:gd name="T2" fmla="*/ 1200 w 1200"/>
                <a:gd name="T3" fmla="*/ 0 h 1200"/>
                <a:gd name="T4" fmla="*/ 0 w 1200"/>
                <a:gd name="T5" fmla="*/ 1200 h 1200"/>
                <a:gd name="T6" fmla="*/ 266 w 1200"/>
                <a:gd name="T7" fmla="*/ 1200 h 1200"/>
                <a:gd name="T8" fmla="*/ 1200 w 1200"/>
                <a:gd name="T9" fmla="*/ 267 h 1200"/>
                <a:gd name="T10" fmla="*/ 1200 w 1200"/>
                <a:gd name="T11" fmla="*/ 267 h 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0" h="1200">
                  <a:moveTo>
                    <a:pt x="1200" y="267"/>
                  </a:moveTo>
                  <a:lnTo>
                    <a:pt x="1200" y="0"/>
                  </a:lnTo>
                  <a:cubicBezTo>
                    <a:pt x="538" y="0"/>
                    <a:pt x="0" y="539"/>
                    <a:pt x="0" y="1200"/>
                  </a:cubicBezTo>
                  <a:lnTo>
                    <a:pt x="266" y="1200"/>
                  </a:lnTo>
                  <a:cubicBezTo>
                    <a:pt x="266" y="686"/>
                    <a:pt x="685" y="267"/>
                    <a:pt x="1200" y="267"/>
                  </a:cubicBezTo>
                  <a:close/>
                  <a:moveTo>
                    <a:pt x="1200" y="267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114">
              <a:extLst>
                <a:ext uri="{FF2B5EF4-FFF2-40B4-BE49-F238E27FC236}">
                  <a16:creationId xmlns:a16="http://schemas.microsoft.com/office/drawing/2014/main" id="{151C7D22-789E-4FD3-A529-8C1E13EC1C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1263" y="2865438"/>
              <a:ext cx="125413" cy="125413"/>
            </a:xfrm>
            <a:custGeom>
              <a:avLst/>
              <a:gdLst>
                <a:gd name="T0" fmla="*/ 0 w 1200"/>
                <a:gd name="T1" fmla="*/ 1200 h 1200"/>
                <a:gd name="T2" fmla="*/ 1200 w 1200"/>
                <a:gd name="T3" fmla="*/ 0 h 1200"/>
                <a:gd name="T4" fmla="*/ 933 w 1200"/>
                <a:gd name="T5" fmla="*/ 0 h 1200"/>
                <a:gd name="T6" fmla="*/ 0 w 1200"/>
                <a:gd name="T7" fmla="*/ 934 h 1200"/>
                <a:gd name="T8" fmla="*/ 0 w 1200"/>
                <a:gd name="T9" fmla="*/ 1200 h 1200"/>
                <a:gd name="T10" fmla="*/ 0 w 1200"/>
                <a:gd name="T11" fmla="*/ 1200 h 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0" h="1200">
                  <a:moveTo>
                    <a:pt x="0" y="1200"/>
                  </a:moveTo>
                  <a:cubicBezTo>
                    <a:pt x="661" y="1200"/>
                    <a:pt x="1200" y="662"/>
                    <a:pt x="1200" y="0"/>
                  </a:cubicBezTo>
                  <a:lnTo>
                    <a:pt x="933" y="0"/>
                  </a:lnTo>
                  <a:cubicBezTo>
                    <a:pt x="933" y="515"/>
                    <a:pt x="514" y="934"/>
                    <a:pt x="0" y="934"/>
                  </a:cubicBezTo>
                  <a:lnTo>
                    <a:pt x="0" y="1200"/>
                  </a:lnTo>
                  <a:close/>
                  <a:moveTo>
                    <a:pt x="0" y="120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115">
              <a:extLst>
                <a:ext uri="{FF2B5EF4-FFF2-40B4-BE49-F238E27FC236}">
                  <a16:creationId xmlns:a16="http://schemas.microsoft.com/office/drawing/2014/main" id="{A387401C-E51A-4935-92B0-810518FB28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7538" y="2741613"/>
              <a:ext cx="111125" cy="26988"/>
            </a:xfrm>
            <a:custGeom>
              <a:avLst/>
              <a:gdLst>
                <a:gd name="T0" fmla="*/ 0 w 1067"/>
                <a:gd name="T1" fmla="*/ 0 h 267"/>
                <a:gd name="T2" fmla="*/ 1067 w 1067"/>
                <a:gd name="T3" fmla="*/ 0 h 267"/>
                <a:gd name="T4" fmla="*/ 1067 w 1067"/>
                <a:gd name="T5" fmla="*/ 267 h 267"/>
                <a:gd name="T6" fmla="*/ 0 w 1067"/>
                <a:gd name="T7" fmla="*/ 267 h 267"/>
                <a:gd name="T8" fmla="*/ 0 w 1067"/>
                <a:gd name="T9" fmla="*/ 0 h 267"/>
                <a:gd name="T10" fmla="*/ 0 w 10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7" h="267">
                  <a:moveTo>
                    <a:pt x="0" y="0"/>
                  </a:moveTo>
                  <a:lnTo>
                    <a:pt x="1067" y="0"/>
                  </a:lnTo>
                  <a:lnTo>
                    <a:pt x="10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Freeform 116">
              <a:extLst>
                <a:ext uri="{FF2B5EF4-FFF2-40B4-BE49-F238E27FC236}">
                  <a16:creationId xmlns:a16="http://schemas.microsoft.com/office/drawing/2014/main" id="{358314B7-47A2-43D0-B0CC-8FF662126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7538" y="2797175"/>
              <a:ext cx="111125" cy="26988"/>
            </a:xfrm>
            <a:custGeom>
              <a:avLst/>
              <a:gdLst>
                <a:gd name="T0" fmla="*/ 0 w 1067"/>
                <a:gd name="T1" fmla="*/ 0 h 266"/>
                <a:gd name="T2" fmla="*/ 1067 w 1067"/>
                <a:gd name="T3" fmla="*/ 0 h 266"/>
                <a:gd name="T4" fmla="*/ 1067 w 1067"/>
                <a:gd name="T5" fmla="*/ 266 h 266"/>
                <a:gd name="T6" fmla="*/ 0 w 1067"/>
                <a:gd name="T7" fmla="*/ 266 h 266"/>
                <a:gd name="T8" fmla="*/ 0 w 1067"/>
                <a:gd name="T9" fmla="*/ 0 h 266"/>
                <a:gd name="T10" fmla="*/ 0 w 1067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7" h="266">
                  <a:moveTo>
                    <a:pt x="0" y="0"/>
                  </a:moveTo>
                  <a:lnTo>
                    <a:pt x="1067" y="0"/>
                  </a:lnTo>
                  <a:lnTo>
                    <a:pt x="1067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65" name="Picture 2">
            <a:extLst>
              <a:ext uri="{FF2B5EF4-FFF2-40B4-BE49-F238E27FC236}">
                <a16:creationId xmlns:a16="http://schemas.microsoft.com/office/drawing/2014/main" id="{6EA40A9E-A6B1-44F9-8E34-CCA5AF8F57BD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21" r="521"/>
          <a:stretch/>
        </p:blipFill>
        <p:spPr bwMode="auto">
          <a:xfrm>
            <a:off x="10811994" y="624763"/>
            <a:ext cx="612000" cy="612000"/>
          </a:xfrm>
          <a:prstGeom prst="flowChartConnector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65980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Kept">
      <a:dk1>
        <a:srgbClr val="531A56"/>
      </a:dk1>
      <a:lt1>
        <a:srgbClr val="FFFFFF"/>
      </a:lt1>
      <a:dk2>
        <a:srgbClr val="000000"/>
      </a:dk2>
      <a:lt2>
        <a:srgbClr val="CAC5F9"/>
      </a:lt2>
      <a:accent1>
        <a:srgbClr val="A39CFF"/>
      </a:accent1>
      <a:accent2>
        <a:srgbClr val="CDFF5D"/>
      </a:accent2>
      <a:accent3>
        <a:srgbClr val="00DD99"/>
      </a:accent3>
      <a:accent4>
        <a:srgbClr val="2ADBDB"/>
      </a:accent4>
      <a:accent5>
        <a:srgbClr val="FF605C"/>
      </a:accent5>
      <a:accent6>
        <a:srgbClr val="FFAB66"/>
      </a:accent6>
      <a:hlink>
        <a:srgbClr val="531A56"/>
      </a:hlink>
      <a:folHlink>
        <a:srgbClr val="3EBAFF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U_JSC_Widescreen.potx" id="{DCCA6DF8-0AB1-4F23-8A30-9BD0D164B9BB}" vid="{3266E5EF-05E3-4A0F-9B3D-04D8A0C2B4C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A0E98727E5EFD44A5B58152E2CC9F3C" ma:contentTypeVersion="14" ma:contentTypeDescription="Create a new document." ma:contentTypeScope="" ma:versionID="f2009fc5a916628040699b7c85b694dd">
  <xsd:schema xmlns:xsd="http://www.w3.org/2001/XMLSchema" xmlns:xs="http://www.w3.org/2001/XMLSchema" xmlns:p="http://schemas.microsoft.com/office/2006/metadata/properties" xmlns:ns2="59aa1991-5a37-4160-88e0-d5049aaad999" xmlns:ns3="731385d6-d2ef-4b26-bcca-2d305526e1a6" targetNamespace="http://schemas.microsoft.com/office/2006/metadata/properties" ma:root="true" ma:fieldsID="63542d400e5c892a4ca095b83df6e3fd" ns2:_="" ns3:_="">
    <xsd:import namespace="59aa1991-5a37-4160-88e0-d5049aaad999"/>
    <xsd:import namespace="731385d6-d2ef-4b26-bcca-2d305526e1a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aa1991-5a37-4160-88e0-d5049aaad99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8883d318-f35c-4577-94aa-4c8e836d27a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1385d6-d2ef-4b26-bcca-2d305526e1a6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775f47db-9fd9-45d8-b133-80d58496e81e}" ma:internalName="TaxCatchAll" ma:showField="CatchAllData" ma:web="731385d6-d2ef-4b26-bcca-2d305526e1a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31385d6-d2ef-4b26-bcca-2d305526e1a6" xsi:nil="true"/>
    <lcf76f155ced4ddcb4097134ff3c332f xmlns="59aa1991-5a37-4160-88e0-d5049aaad999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1B1E0909-AB93-4FF6-87C0-70B5AB080AF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342B020-ED05-42B5-9AD0-4DA4EE151FA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9aa1991-5a37-4160-88e0-d5049aaad999"/>
    <ds:schemaRef ds:uri="731385d6-d2ef-4b26-bcca-2d305526e1a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C39C0A3-0372-4DDE-A8DC-758A157E0E26}">
  <ds:schemaRefs>
    <ds:schemaRef ds:uri="http://purl.org/dc/elements/1.1/"/>
    <ds:schemaRef ds:uri="http://schemas.microsoft.com/office/2006/metadata/properties"/>
    <ds:schemaRef ds:uri="http://purl.org/dc/terms/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731385d6-d2ef-4b26-bcca-2d305526e1a6"/>
    <ds:schemaRef ds:uri="59aa1991-5a37-4160-88e0-d5049aaad999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136</TotalTime>
  <Words>4316</Words>
  <Application>Microsoft Office PowerPoint</Application>
  <PresentationFormat>Широкоэкранный</PresentationFormat>
  <Paragraphs>520</Paragraphs>
  <Slides>30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0</vt:i4>
      </vt:variant>
    </vt:vector>
  </HeadingPairs>
  <TitlesOfParts>
    <vt:vector size="34" baseType="lpstr">
      <vt:lpstr>Arial</vt:lpstr>
      <vt:lpstr>Calibri</vt:lpstr>
      <vt:lpstr>2_Office Theme</vt:lpstr>
      <vt:lpstr>think-cell Slide</vt:lpstr>
      <vt:lpstr>Давлат органлари ва муассасаларида коррупцияга қарши самарали комплаенс тизимларини яратиш ва жорий этиш</vt:lpstr>
      <vt:lpstr>Коррупцияга қарши курашиш тизимини мониторинг ва назорат қилиш: методология, ёндашув, қўлланиладиган воситалар</vt:lpstr>
      <vt:lpstr>Коррупцияга қарши курашиш тизимини мониторинг ва назорат қилиш ҳуқуқбузарликларни аниқлаш ва олдини олиш воситасидир (1/2)</vt:lpstr>
      <vt:lpstr>Коррупцияга қарши тизим (8 та элемент)</vt:lpstr>
      <vt:lpstr>Коррупциявий хавф-хатарларни баҳолаш соҳасидаги қонунчилик ва халқаро стандартлар </vt:lpstr>
      <vt:lpstr>Коррупцияга қарши курашиш тизимини мониторинг қилиш ва назорат қилиш соҳасидаги талабларни белгиловчи Ўзбекистон Республикаси қонунчилиги</vt:lpstr>
      <vt:lpstr>ISO 37001: 2016 “Порахўрликка қарши бошқарув тизимлари”: коррупцияга қарши курашиш тизимини мониторинг ва назорат қилиш  (1/4)</vt:lpstr>
      <vt:lpstr>ISO 37001: 2016 “Порахўрликка қарши бошқарув тизимлари”: коррупцияга қарши курашиш тизимини мониторинг ва назорат қилиш (2/4)</vt:lpstr>
      <vt:lpstr>ISO 37001: 2016 “Порахўрликка қарши бошқарув тизимлари”: коррупцияга қарши курашиш тизимини мониторинг ва назорат қилиш (3/4)</vt:lpstr>
      <vt:lpstr>ISO 37001: 2016 “Порахўрликка қарши бошқарув тизимлари”: коррупцияга қарши курашиш тизимини мониторинг ва назорат қилиш (4/4)</vt:lpstr>
      <vt:lpstr>Коррупцияга қарши курашиш тизимини мониторинг ва назорат қилиш: Ўзбекистон Республикасида амалга ошириш амалиёти (1/8)</vt:lpstr>
      <vt:lpstr>Коррупцияга қарши курашиш тизимини мониторинг ва назорат қилиш: Ўзбекистон Республикасида амалга ошириш амалиёти (2/8)</vt:lpstr>
      <vt:lpstr>Коррупцияга қарши курашиш тизимини мониторинг ва назорат қилиш: Ўзбекистон Республикасида амалга ошириш амалиёти (3/8)</vt:lpstr>
      <vt:lpstr>Коррупцияга қарши курашиш тизимини мониторинг ва назорат қилиш: Ўзбекистон Республикасида амалга ошириш амалиёти (4/8)</vt:lpstr>
      <vt:lpstr>Коррупцияга қарши курашиш тизимини мониторинг ва назорат қилиш: Ўзбекистон Республикасида амалга ошириш амалиёти (5/8)</vt:lpstr>
      <vt:lpstr>Коррупцияга қарши курашиш тизимини мониторинг ва назорат қилиш: Ўзбекистон Республикасида амалга ошириш амалиёти (6/8)</vt:lpstr>
      <vt:lpstr>Коррупцияга қарши курашиш тизимини мониторинг ва назорат қилиш: Ўзбекистон Республикасида амалга ошириш амалиёти (7/8)</vt:lpstr>
      <vt:lpstr>Коррупцияга қарши курашиш тизимини мониторинг ва назорат қилиш: Ўзбекистон Республикасида амалга ошириш амалиёти (8/8)</vt:lpstr>
      <vt:lpstr>Танлаб олиш учун тайёргарлик(1/4)</vt:lpstr>
      <vt:lpstr>Танлаб олиш учун тайёргарлик(2/4)</vt:lpstr>
      <vt:lpstr>Танлаб олиш учун тайёргарлик (3/4)   </vt:lpstr>
      <vt:lpstr>Танлаб олиш учун тайёргарлик (4/4)</vt:lpstr>
      <vt:lpstr>Танланган ҳужжатли текшириш  </vt:lpstr>
      <vt:lpstr>Давлат органининг коррупцияга қарши курашиш тизими ҳолатини мониторинг натижаларини рўйхатдан ўтказиш</vt:lpstr>
      <vt:lpstr>Ўзбекистон Республикаси давлат органларида ички аудитнинг функцияси</vt:lpstr>
      <vt:lpstr>Ҳулоса</vt:lpstr>
      <vt:lpstr>Амалий вазифа</vt:lpstr>
      <vt:lpstr>Амалий вазифа</vt:lpstr>
      <vt:lpstr>Саволлар?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учающая программа по вопросам создания и внедрения эффективных антикоррупционных комплаенс-систем в государственных органах и учреждениях</dc:title>
  <dc:creator>Kiryanova, Viktoria</dc:creator>
  <cp:lastModifiedBy>USER</cp:lastModifiedBy>
  <cp:revision>608</cp:revision>
  <dcterms:created xsi:type="dcterms:W3CDTF">2022-07-14T08:09:04Z</dcterms:created>
  <dcterms:modified xsi:type="dcterms:W3CDTF">2025-09-18T03:11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A0E98727E5EFD44A5B58152E2CC9F3C</vt:lpwstr>
  </property>
  <property fmtid="{D5CDD505-2E9C-101B-9397-08002B2CF9AE}" pid="3" name="MediaServiceImageTags">
    <vt:lpwstr/>
  </property>
</Properties>
</file>